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4.xml" ContentType="application/vnd.openxmlformats-officedocument.presentationml.tags+xml"/>
  <Override PartName="/ppt/theme/themeOverride4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28"/>
  </p:notesMasterIdLst>
  <p:handoutMasterIdLst>
    <p:handoutMasterId r:id="rId29"/>
  </p:handoutMasterIdLst>
  <p:sldIdLst>
    <p:sldId id="256" r:id="rId3"/>
    <p:sldId id="258" r:id="rId4"/>
    <p:sldId id="269" r:id="rId5"/>
    <p:sldId id="270" r:id="rId6"/>
    <p:sldId id="279" r:id="rId7"/>
    <p:sldId id="278" r:id="rId8"/>
    <p:sldId id="280" r:id="rId9"/>
    <p:sldId id="271" r:id="rId10"/>
    <p:sldId id="275" r:id="rId11"/>
    <p:sldId id="281" r:id="rId12"/>
    <p:sldId id="282" r:id="rId13"/>
    <p:sldId id="291" r:id="rId14"/>
    <p:sldId id="283" r:id="rId15"/>
    <p:sldId id="272" r:id="rId16"/>
    <p:sldId id="276" r:id="rId17"/>
    <p:sldId id="284" r:id="rId18"/>
    <p:sldId id="286" r:id="rId19"/>
    <p:sldId id="287" r:id="rId20"/>
    <p:sldId id="285" r:id="rId21"/>
    <p:sldId id="273" r:id="rId22"/>
    <p:sldId id="277" r:id="rId23"/>
    <p:sldId id="289" r:id="rId24"/>
    <p:sldId id="288" r:id="rId25"/>
    <p:sldId id="290" r:id="rId26"/>
    <p:sldId id="261" r:id="rId27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81" userDrawn="1">
          <p15:clr>
            <a:srgbClr val="A4A3A4"/>
          </p15:clr>
        </p15:guide>
        <p15:guide id="2" pos="1890" userDrawn="1">
          <p15:clr>
            <a:srgbClr val="A4A3A4"/>
          </p15:clr>
        </p15:guide>
        <p15:guide id="3" pos="438" userDrawn="1">
          <p15:clr>
            <a:srgbClr val="A4A3A4"/>
          </p15:clr>
        </p15:guide>
        <p15:guide id="4" pos="7083" userDrawn="1">
          <p15:clr>
            <a:srgbClr val="A4A3A4"/>
          </p15:clr>
        </p15:guide>
        <p15:guide id="5" orient="horz" pos="3317" userDrawn="1">
          <p15:clr>
            <a:srgbClr val="A4A3A4"/>
          </p15:clr>
        </p15:guide>
        <p15:guide id="6" orient="horz" pos="4292" userDrawn="1">
          <p15:clr>
            <a:srgbClr val="A4A3A4"/>
          </p15:clr>
        </p15:guide>
        <p15:guide id="7" orient="horz" pos="3928" userDrawn="1">
          <p15:clr>
            <a:srgbClr val="A4A3A4"/>
          </p15:clr>
        </p15:guide>
        <p15:guide id="8" orient="horz" pos="38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9DD1"/>
    <a:srgbClr val="070C41"/>
    <a:srgbClr val="6F85C5"/>
    <a:srgbClr val="55769C"/>
    <a:srgbClr val="516B91"/>
    <a:srgbClr val="4D6188"/>
    <a:srgbClr val="44B8DA"/>
    <a:srgbClr val="4BAED3"/>
    <a:srgbClr val="A20000"/>
    <a:srgbClr val="A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82" autoAdjust="0"/>
  </p:normalViewPr>
  <p:slideViewPr>
    <p:cSldViewPr snapToGrid="0">
      <p:cViewPr varScale="1">
        <p:scale>
          <a:sx n="72" d="100"/>
          <a:sy n="72" d="100"/>
        </p:scale>
        <p:origin x="618" y="54"/>
      </p:cViewPr>
      <p:guideLst>
        <p:guide orient="horz" pos="3181"/>
        <p:guide pos="1890"/>
        <p:guide pos="438"/>
        <p:guide pos="7083"/>
        <p:guide orient="horz" pos="3317"/>
        <p:guide orient="horz" pos="4292"/>
        <p:guide orient="horz" pos="3928"/>
        <p:guide orient="horz" pos="386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8/1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8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://www.1ppt.com/xiazai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14C43368-C990-463F-8EA0-1F2B37EF16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pic>
        <p:nvPicPr>
          <p:cNvPr id="39" name="图片 38" descr="线条02">
            <a:extLst>
              <a:ext uri="{FF2B5EF4-FFF2-40B4-BE49-F238E27FC236}">
                <a16:creationId xmlns:a16="http://schemas.microsoft.com/office/drawing/2014/main" id="{4721FAF8-A02D-4893-BDAD-5993DF8FA9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 flipH="1">
            <a:off x="6188075" y="-1"/>
            <a:ext cx="6019800" cy="2074687"/>
          </a:xfrm>
          <a:prstGeom prst="rect">
            <a:avLst/>
          </a:prstGeom>
        </p:spPr>
      </p:pic>
      <p:grpSp>
        <p:nvGrpSpPr>
          <p:cNvPr id="40" name="组合 39">
            <a:extLst>
              <a:ext uri="{FF2B5EF4-FFF2-40B4-BE49-F238E27FC236}">
                <a16:creationId xmlns:a16="http://schemas.microsoft.com/office/drawing/2014/main" id="{73B91E31-1FE0-467C-A67A-20B1F2E577C7}"/>
              </a:ext>
            </a:extLst>
          </p:cNvPr>
          <p:cNvGrpSpPr/>
          <p:nvPr userDrawn="1"/>
        </p:nvGrpSpPr>
        <p:grpSpPr>
          <a:xfrm flipH="1">
            <a:off x="-114300" y="1996070"/>
            <a:ext cx="12400280" cy="4811879"/>
            <a:chOff x="-1905" y="684529"/>
            <a:chExt cx="12285980" cy="6304280"/>
          </a:xfrm>
        </p:grpSpPr>
        <p:pic>
          <p:nvPicPr>
            <p:cNvPr id="41" name="图片 40" descr="线条02">
              <a:extLst>
                <a:ext uri="{FF2B5EF4-FFF2-40B4-BE49-F238E27FC236}">
                  <a16:creationId xmlns:a16="http://schemas.microsoft.com/office/drawing/2014/main" id="{C819DC03-B4D7-446C-A03B-557D0720B25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985" y="684529"/>
              <a:ext cx="12178030" cy="6304280"/>
            </a:xfrm>
            <a:prstGeom prst="rect">
              <a:avLst/>
            </a:prstGeom>
          </p:spPr>
        </p:pic>
        <p:pic>
          <p:nvPicPr>
            <p:cNvPr id="42" name="图片 41" descr="线条01">
              <a:extLst>
                <a:ext uri="{FF2B5EF4-FFF2-40B4-BE49-F238E27FC236}">
                  <a16:creationId xmlns:a16="http://schemas.microsoft.com/office/drawing/2014/main" id="{3182A4CA-235B-48A7-B609-E974924CC98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-1905" y="3650615"/>
              <a:ext cx="12285980" cy="3001010"/>
            </a:xfrm>
            <a:prstGeom prst="rect">
              <a:avLst/>
            </a:prstGeom>
          </p:spPr>
        </p:pic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59199" y="1594694"/>
            <a:ext cx="7759699" cy="558799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3759199" y="1946020"/>
            <a:ext cx="7759699" cy="1597569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8830234" y="5328537"/>
            <a:ext cx="2688663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200" b="0">
                <a:solidFill>
                  <a:schemeClr val="accent2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178395" y="5328537"/>
            <a:ext cx="361314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r">
              <a:buNone/>
              <a:defRPr sz="1200" b="0">
                <a:solidFill>
                  <a:schemeClr val="accent2">
                    <a:lumMod val="75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/>
              <a:t>2021/8/18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1018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7623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îďê">
            <a:extLst>
              <a:ext uri="{FF2B5EF4-FFF2-40B4-BE49-F238E27FC236}">
                <a16:creationId xmlns:a16="http://schemas.microsoft.com/office/drawing/2014/main" id="{5F69464E-FC1D-4CBF-9A58-2ABDCC7BADD6}"/>
              </a:ext>
            </a:extLst>
          </p:cNvPr>
          <p:cNvSpPr/>
          <p:nvPr userDrawn="1"/>
        </p:nvSpPr>
        <p:spPr>
          <a:xfrm>
            <a:off x="0" y="-9733"/>
            <a:ext cx="12207875" cy="6867733"/>
          </a:xfrm>
          <a:prstGeom prst="rect">
            <a:avLst/>
          </a:prstGeom>
          <a:solidFill>
            <a:srgbClr val="070C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07356" y="2026395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08472" y="2921745"/>
            <a:ext cx="5419185" cy="101562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6B307EA-10AC-4E04-8D21-2F54BD7BE7D1}"/>
              </a:ext>
            </a:extLst>
          </p:cNvPr>
          <p:cNvGrpSpPr/>
          <p:nvPr userDrawn="1"/>
        </p:nvGrpSpPr>
        <p:grpSpPr>
          <a:xfrm rot="20981405" flipH="1">
            <a:off x="-104140" y="2591156"/>
            <a:ext cx="12400280" cy="4811879"/>
            <a:chOff x="-1905" y="684529"/>
            <a:chExt cx="12285980" cy="6304280"/>
          </a:xfrm>
        </p:grpSpPr>
        <p:pic>
          <p:nvPicPr>
            <p:cNvPr id="7" name="图片 6" descr="线条02">
              <a:extLst>
                <a:ext uri="{FF2B5EF4-FFF2-40B4-BE49-F238E27FC236}">
                  <a16:creationId xmlns:a16="http://schemas.microsoft.com/office/drawing/2014/main" id="{6BE51B50-D7B3-437A-9C84-D2F1F6B3CE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985" y="684529"/>
              <a:ext cx="12178030" cy="6304280"/>
            </a:xfrm>
            <a:prstGeom prst="rect">
              <a:avLst/>
            </a:prstGeom>
          </p:spPr>
        </p:pic>
        <p:pic>
          <p:nvPicPr>
            <p:cNvPr id="8" name="图片 7" descr="线条01">
              <a:extLst>
                <a:ext uri="{FF2B5EF4-FFF2-40B4-BE49-F238E27FC236}">
                  <a16:creationId xmlns:a16="http://schemas.microsoft.com/office/drawing/2014/main" id="{76FD7410-F6CC-4C8E-B2E6-0868D865D07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-1905" y="3650615"/>
              <a:ext cx="12285980" cy="3001010"/>
            </a:xfrm>
            <a:prstGeom prst="rect">
              <a:avLst/>
            </a:prstGeom>
          </p:spPr>
        </p:pic>
      </p:grpSp>
      <p:grpSp>
        <p:nvGrpSpPr>
          <p:cNvPr id="3" name="组合 2">
            <a:extLst>
              <a:ext uri="{FF2B5EF4-FFF2-40B4-BE49-F238E27FC236}">
                <a16:creationId xmlns:a16="http://schemas.microsoft.com/office/drawing/2014/main" id="{8767B2A0-3C1A-4C64-8194-A7C9D8A51675}"/>
              </a:ext>
            </a:extLst>
          </p:cNvPr>
          <p:cNvGrpSpPr/>
          <p:nvPr userDrawn="1"/>
        </p:nvGrpSpPr>
        <p:grpSpPr>
          <a:xfrm>
            <a:off x="515258" y="0"/>
            <a:ext cx="11161485" cy="6293757"/>
            <a:chOff x="515258" y="0"/>
            <a:chExt cx="11161485" cy="6293757"/>
          </a:xfrm>
        </p:grpSpPr>
        <p:sp>
          <p:nvSpPr>
            <p:cNvPr id="10" name="ísļïdè">
              <a:extLst>
                <a:ext uri="{FF2B5EF4-FFF2-40B4-BE49-F238E27FC236}">
                  <a16:creationId xmlns:a16="http://schemas.microsoft.com/office/drawing/2014/main" id="{A4DC8FDA-63D4-458A-AE47-BD40EFF5833B}"/>
                </a:ext>
              </a:extLst>
            </p:cNvPr>
            <p:cNvSpPr/>
            <p:nvPr userDrawn="1"/>
          </p:nvSpPr>
          <p:spPr>
            <a:xfrm>
              <a:off x="515258" y="564243"/>
              <a:ext cx="11161485" cy="5729514"/>
            </a:xfrm>
            <a:prstGeom prst="rect">
              <a:avLst/>
            </a:prstGeom>
            <a:noFill/>
            <a:ln w="76200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B1F556F0-B2B5-4973-9787-269C5AEB40F4}"/>
                </a:ext>
              </a:extLst>
            </p:cNvPr>
            <p:cNvSpPr/>
            <p:nvPr userDrawn="1"/>
          </p:nvSpPr>
          <p:spPr>
            <a:xfrm>
              <a:off x="2948618" y="0"/>
              <a:ext cx="6310072" cy="2802577"/>
            </a:xfrm>
            <a:custGeom>
              <a:avLst/>
              <a:gdLst>
                <a:gd name="connsiteX0" fmla="*/ 0 w 6310072"/>
                <a:gd name="connsiteY0" fmla="*/ 0 h 2802577"/>
                <a:gd name="connsiteX1" fmla="*/ 6310072 w 6310072"/>
                <a:gd name="connsiteY1" fmla="*/ 0 h 2802577"/>
                <a:gd name="connsiteX2" fmla="*/ 6269783 w 6310072"/>
                <a:gd name="connsiteY2" fmla="*/ 263985 h 2802577"/>
                <a:gd name="connsiteX3" fmla="*/ 3155036 w 6310072"/>
                <a:gd name="connsiteY3" fmla="*/ 2802577 h 2802577"/>
                <a:gd name="connsiteX4" fmla="*/ 40289 w 6310072"/>
                <a:gd name="connsiteY4" fmla="*/ 263985 h 2802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0072" h="2802577">
                  <a:moveTo>
                    <a:pt x="0" y="0"/>
                  </a:moveTo>
                  <a:lnTo>
                    <a:pt x="6310072" y="0"/>
                  </a:lnTo>
                  <a:lnTo>
                    <a:pt x="6269783" y="263985"/>
                  </a:lnTo>
                  <a:cubicBezTo>
                    <a:pt x="5973322" y="1712757"/>
                    <a:pt x="4691450" y="2802577"/>
                    <a:pt x="3155036" y="2802577"/>
                  </a:cubicBezTo>
                  <a:cubicBezTo>
                    <a:pt x="1618623" y="2802577"/>
                    <a:pt x="336751" y="1712757"/>
                    <a:pt x="40289" y="263985"/>
                  </a:cubicBezTo>
                  <a:close/>
                </a:path>
              </a:pathLst>
            </a:custGeom>
            <a:solidFill>
              <a:srgbClr val="070C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>
            <a:extLst>
              <a:ext uri="{FF2B5EF4-FFF2-40B4-BE49-F238E27FC236}">
                <a16:creationId xmlns:a16="http://schemas.microsoft.com/office/drawing/2014/main" id="{2463446A-9F65-4A67-9357-25ABAE4BC6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0" y="588318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0" y="2741412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2" y="2445141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FEBF7AAE-853A-43F8-9B46-38CC28684E8C}"/>
              </a:ext>
            </a:extLst>
          </p:cNvPr>
          <p:cNvGrpSpPr/>
          <p:nvPr userDrawn="1"/>
        </p:nvGrpSpPr>
        <p:grpSpPr>
          <a:xfrm rot="20981405" flipH="1">
            <a:off x="-104140" y="1502584"/>
            <a:ext cx="12400280" cy="4811879"/>
            <a:chOff x="-1905" y="684529"/>
            <a:chExt cx="12285980" cy="6304280"/>
          </a:xfrm>
        </p:grpSpPr>
        <p:pic>
          <p:nvPicPr>
            <p:cNvPr id="8" name="图片 7" descr="线条02">
              <a:extLst>
                <a:ext uri="{FF2B5EF4-FFF2-40B4-BE49-F238E27FC236}">
                  <a16:creationId xmlns:a16="http://schemas.microsoft.com/office/drawing/2014/main" id="{900461B5-4E8C-44B2-A7DF-0095D58C41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985" y="684529"/>
              <a:ext cx="12178030" cy="6304280"/>
            </a:xfrm>
            <a:prstGeom prst="rect">
              <a:avLst/>
            </a:prstGeom>
          </p:spPr>
        </p:pic>
        <p:pic>
          <p:nvPicPr>
            <p:cNvPr id="9" name="图片 8" descr="线条01">
              <a:extLst>
                <a:ext uri="{FF2B5EF4-FFF2-40B4-BE49-F238E27FC236}">
                  <a16:creationId xmlns:a16="http://schemas.microsoft.com/office/drawing/2014/main" id="{5926E89F-76D4-4C08-B672-4015CF6148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-1905" y="3650615"/>
              <a:ext cx="12285980" cy="30010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1907704" y="5560039"/>
            <a:ext cx="1224136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hlinkClick r:id="rId2"/>
              </a:rPr>
              <a:t>下载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xiazai/</a:t>
            </a:r>
          </a:p>
        </p:txBody>
      </p:sp>
      <p:pic>
        <p:nvPicPr>
          <p:cNvPr id="5" name="图片 4">
            <a:extLst>
              <a:ext uri="{FF2B5EF4-FFF2-40B4-BE49-F238E27FC236}">
                <a16:creationId xmlns:a16="http://schemas.microsoft.com/office/drawing/2014/main" id="{2463446A-9F65-4A67-9357-25ABAE4BC65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346200" y="588318"/>
            <a:ext cx="10845798" cy="162150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346200" y="2741412"/>
            <a:ext cx="10845798" cy="3108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46202" y="2445141"/>
            <a:ext cx="10845798" cy="29627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FEBF7AAE-853A-43F8-9B46-38CC28684E8C}"/>
              </a:ext>
            </a:extLst>
          </p:cNvPr>
          <p:cNvGrpSpPr/>
          <p:nvPr userDrawn="1"/>
        </p:nvGrpSpPr>
        <p:grpSpPr>
          <a:xfrm rot="20981405" flipH="1">
            <a:off x="-104140" y="1502584"/>
            <a:ext cx="12400280" cy="4811879"/>
            <a:chOff x="-1905" y="684529"/>
            <a:chExt cx="12285980" cy="6304280"/>
          </a:xfrm>
        </p:grpSpPr>
        <p:pic>
          <p:nvPicPr>
            <p:cNvPr id="8" name="图片 7" descr="线条02">
              <a:extLst>
                <a:ext uri="{FF2B5EF4-FFF2-40B4-BE49-F238E27FC236}">
                  <a16:creationId xmlns:a16="http://schemas.microsoft.com/office/drawing/2014/main" id="{900461B5-4E8C-44B2-A7DF-0095D58C41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985" y="684529"/>
              <a:ext cx="12178030" cy="6304280"/>
            </a:xfrm>
            <a:prstGeom prst="rect">
              <a:avLst/>
            </a:prstGeom>
          </p:spPr>
        </p:pic>
        <p:pic>
          <p:nvPicPr>
            <p:cNvPr id="9" name="图片 8" descr="线条01">
              <a:extLst>
                <a:ext uri="{FF2B5EF4-FFF2-40B4-BE49-F238E27FC236}">
                  <a16:creationId xmlns:a16="http://schemas.microsoft.com/office/drawing/2014/main" id="{5926E89F-76D4-4C08-B672-4015CF6148E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-1905" y="3650615"/>
              <a:ext cx="12285980" cy="30010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204747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92A195-2F4D-4B2A-988A-94D6FD1CD4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828636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2E3AAC11-D570-4EA9-AFC0-30FB72BA45EB}" type="datetimeFigureOut">
              <a:rPr lang="zh-CN" altLang="en-US" smtClean="0">
                <a:solidFill>
                  <a:prstClr val="black"/>
                </a:solidFill>
              </a:rPr>
              <a:pPr/>
              <a:t>2021/8/18</a:t>
            </a:fld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5ECCFAA-F4FB-487C-9F1E-C8836D0C3DC9}" type="slidenum">
              <a:rPr lang="zh-CN" altLang="en-US" smtClean="0">
                <a:solidFill>
                  <a:prstClr val="black"/>
                </a:solidFill>
              </a:rPr>
              <a:pPr/>
              <a:t>‹#›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024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í$1îḍè">
            <a:extLst>
              <a:ext uri="{FF2B5EF4-FFF2-40B4-BE49-F238E27FC236}">
                <a16:creationId xmlns:a16="http://schemas.microsoft.com/office/drawing/2014/main" id="{53D53C90-434C-43C4-90DA-46E5B49D9E20}"/>
              </a:ext>
            </a:extLst>
          </p:cNvPr>
          <p:cNvSpPr/>
          <p:nvPr userDrawn="1"/>
        </p:nvSpPr>
        <p:spPr>
          <a:xfrm>
            <a:off x="0" y="-9733"/>
            <a:ext cx="12207875" cy="6867733"/>
          </a:xfrm>
          <a:prstGeom prst="rect">
            <a:avLst/>
          </a:prstGeom>
          <a:solidFill>
            <a:srgbClr val="070C4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5" name="图片 14" descr="线条01">
            <a:extLst>
              <a:ext uri="{FF2B5EF4-FFF2-40B4-BE49-F238E27FC236}">
                <a16:creationId xmlns:a16="http://schemas.microsoft.com/office/drawing/2014/main" id="{57B9ED43-D025-4362-BB6F-3AF38E0F48E5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20981405" flipH="1">
            <a:off x="75420" y="4838887"/>
            <a:ext cx="12400280" cy="2290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  <p:sldLayoutId id="2147483671" r:id="rId7"/>
    <p:sldLayoutId id="2147483670" r:id="rId8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416" userDrawn="1">
          <p15:clr>
            <a:srgbClr val="F26B43"/>
          </p15:clr>
        </p15:guide>
        <p15:guide id="4" pos="7256" userDrawn="1">
          <p15:clr>
            <a:srgbClr val="F26B43"/>
          </p15:clr>
        </p15:guide>
        <p15:guide id="5" orient="horz" pos="648" userDrawn="1">
          <p15:clr>
            <a:srgbClr val="F26B43"/>
          </p15:clr>
        </p15:guide>
        <p15:guide id="6" orient="horz" pos="712" userDrawn="1">
          <p15:clr>
            <a:srgbClr val="F26B43"/>
          </p15:clr>
        </p15:guide>
        <p15:guide id="7" orient="horz" pos="3928" userDrawn="1">
          <p15:clr>
            <a:srgbClr val="F26B43"/>
          </p15:clr>
        </p15:guide>
        <p15:guide id="8" orient="horz" pos="386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2242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hyperlink" Target="https://www.freeppt7.com/" TargetMode="External"/><Relationship Id="rId2" Type="http://schemas.openxmlformats.org/officeDocument/2006/relationships/tags" Target="../tags/tag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hyperlink" Target="https://www.freeppt7.com/" TargetMode="External"/><Relationship Id="rId2" Type="http://schemas.openxmlformats.org/officeDocument/2006/relationships/tags" Target="../tags/tag5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slï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ṧlïď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iš1íd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šlîďè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íŝļîdê"/>
          <p:cNvSpPr>
            <a:spLocks noGrp="1"/>
          </p:cNvSpPr>
          <p:nvPr>
            <p:ph type="ctrTitle"/>
          </p:nvPr>
        </p:nvSpPr>
        <p:spPr>
          <a:xfrm>
            <a:off x="1630017" y="1946020"/>
            <a:ext cx="9888881" cy="1597569"/>
          </a:xfrm>
        </p:spPr>
        <p:txBody>
          <a:bodyPr>
            <a:noAutofit/>
          </a:bodyPr>
          <a:lstStyle/>
          <a:p>
            <a:pPr lvl="0"/>
            <a:r>
              <a:rPr lang="zh-CN" altLang="en-US" sz="7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Fine </a:t>
            </a:r>
            <a:r>
              <a:rPr lang="en-US" altLang="zh-CN" sz="7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PPT T</a:t>
            </a:r>
            <a:r>
              <a:rPr lang="zh-CN" altLang="en-US" sz="7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emplate</a:t>
            </a:r>
            <a:r>
              <a:rPr lang="en-US" altLang="zh-CN" sz="7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s</a:t>
            </a:r>
            <a:endParaRPr lang="zh-CN" altLang="en-US" sz="72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î$1ïḑê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zh-CN" altLang="en-US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Time:</a:t>
            </a:r>
            <a:r>
              <a:rPr lang="en-US" altLang="zh-CN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2020.XX.XX</a:t>
            </a:r>
          </a:p>
        </p:txBody>
      </p:sp>
      <p:sp>
        <p:nvSpPr>
          <p:cNvPr id="7" name="ïşlîḋé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lvl="0"/>
            <a:r>
              <a:rPr lang="zh-CN" altLang="en-US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Reporter:</a:t>
            </a:r>
            <a:r>
              <a:rPr lang="en-US" altLang="zh-CN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freeppt7.com</a:t>
            </a:r>
            <a:endParaRPr lang="en-US" altLang="en-US" dirty="0">
              <a:solidFill>
                <a:schemeClr val="accent2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" name="iśḷiḓê">
            <a:extLst>
              <a:ext uri="{FF2B5EF4-FFF2-40B4-BE49-F238E27FC236}">
                <a16:creationId xmlns:a16="http://schemas.microsoft.com/office/drawing/2014/main" id="{DE9BB791-2880-4A53-BABE-1B68995A6FFB}"/>
              </a:ext>
            </a:extLst>
          </p:cNvPr>
          <p:cNvSpPr txBox="1"/>
          <p:nvPr/>
        </p:nvSpPr>
        <p:spPr>
          <a:xfrm>
            <a:off x="642106" y="687108"/>
            <a:ext cx="1780680" cy="4616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2400" b="1" i="1" spc="-150" dirty="0">
                <a:solidFill>
                  <a:schemeClr val="bg1"/>
                </a:solidFill>
                <a:cs typeface="+mn-ea"/>
                <a:sym typeface="+mn-lt"/>
              </a:rPr>
              <a:t>LOGO</a:t>
            </a:r>
            <a:r>
              <a:rPr lang="en-US" altLang="zh-CN" sz="2400" i="1" spc="-150" dirty="0">
                <a:solidFill>
                  <a:schemeClr val="bg1"/>
                </a:solidFill>
                <a:cs typeface="+mn-ea"/>
                <a:sym typeface="+mn-lt"/>
              </a:rPr>
              <a:t> HERE</a:t>
            </a:r>
            <a:endParaRPr lang="zh-CN" altLang="en-US" sz="2400" i="1" spc="-15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7C7B5A01-9CBE-4A50-A6D9-1CFABC1FDAB4}"/>
              </a:ext>
            </a:extLst>
          </p:cNvPr>
          <p:cNvGrpSpPr/>
          <p:nvPr/>
        </p:nvGrpSpPr>
        <p:grpSpPr>
          <a:xfrm>
            <a:off x="8311488" y="1448997"/>
            <a:ext cx="2946009" cy="524319"/>
            <a:chOff x="8297840" y="1448997"/>
            <a:chExt cx="2946009" cy="524319"/>
          </a:xfrm>
        </p:grpSpPr>
        <p:grpSp>
          <p:nvGrpSpPr>
            <p:cNvPr id="16" name="îsḻîḋé">
              <a:extLst>
                <a:ext uri="{FF2B5EF4-FFF2-40B4-BE49-F238E27FC236}">
                  <a16:creationId xmlns:a16="http://schemas.microsoft.com/office/drawing/2014/main" id="{5A150FDB-010C-4FA4-8EAF-C2215CB03756}"/>
                </a:ext>
              </a:extLst>
            </p:cNvPr>
            <p:cNvGrpSpPr/>
            <p:nvPr/>
          </p:nvGrpSpPr>
          <p:grpSpPr>
            <a:xfrm>
              <a:off x="8420670" y="1448997"/>
              <a:ext cx="2727644" cy="524319"/>
              <a:chOff x="5623208" y="2201818"/>
              <a:chExt cx="5820229" cy="524319"/>
            </a:xfrm>
          </p:grpSpPr>
          <p:cxnSp>
            <p:nvCxnSpPr>
              <p:cNvPr id="17" name="í$lïdê">
                <a:extLst>
                  <a:ext uri="{FF2B5EF4-FFF2-40B4-BE49-F238E27FC236}">
                    <a16:creationId xmlns:a16="http://schemas.microsoft.com/office/drawing/2014/main" id="{DD4FD98F-5C71-49F0-8472-8BF982EF42C2}"/>
                  </a:ext>
                </a:extLst>
              </p:cNvPr>
              <p:cNvCxnSpPr/>
              <p:nvPr/>
            </p:nvCxnSpPr>
            <p:spPr>
              <a:xfrm>
                <a:off x="5623208" y="2201818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8" name="iṩľïḑe">
                <a:extLst>
                  <a:ext uri="{FF2B5EF4-FFF2-40B4-BE49-F238E27FC236}">
                    <a16:creationId xmlns:a16="http://schemas.microsoft.com/office/drawing/2014/main" id="{DE50AAF1-BFAC-462B-8C39-6B2B36C3AD8C}"/>
                  </a:ext>
                </a:extLst>
              </p:cNvPr>
              <p:cNvCxnSpPr/>
              <p:nvPr/>
            </p:nvCxnSpPr>
            <p:spPr>
              <a:xfrm>
                <a:off x="5623208" y="2726137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E78B263-F118-4B77-8B36-887E78A211C1}"/>
                </a:ext>
              </a:extLst>
            </p:cNvPr>
            <p:cNvSpPr/>
            <p:nvPr/>
          </p:nvSpPr>
          <p:spPr>
            <a:xfrm>
              <a:off x="8297840" y="1540138"/>
              <a:ext cx="29460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pc="300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</p:grpSp>
      <p:sp>
        <p:nvSpPr>
          <p:cNvPr id="14" name="副标题 4">
            <a:extLst>
              <a:ext uri="{FF2B5EF4-FFF2-40B4-BE49-F238E27FC236}">
                <a16:creationId xmlns:a16="http://schemas.microsoft.com/office/drawing/2014/main" id="{B198015C-9497-4C50-AD41-DE4C31A3515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58525" y="3672788"/>
            <a:ext cx="7001491" cy="558799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20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Insert the Subtitle of Your Presentation</a:t>
            </a:r>
          </a:p>
        </p:txBody>
      </p:sp>
      <p:sp>
        <p:nvSpPr>
          <p:cNvPr id="15" name="ïṥḻíďê">
            <a:extLst>
              <a:ext uri="{FF2B5EF4-FFF2-40B4-BE49-F238E27FC236}">
                <a16:creationId xmlns:a16="http://schemas.microsoft.com/office/drawing/2014/main" id="{2475FA12-3BE3-4C6F-8D1C-F4F335A0483F}"/>
              </a:ext>
            </a:extLst>
          </p:cNvPr>
          <p:cNvSpPr/>
          <p:nvPr/>
        </p:nvSpPr>
        <p:spPr>
          <a:xfrm flipV="1">
            <a:off x="8482231" y="4600220"/>
            <a:ext cx="2977785" cy="92357"/>
          </a:xfrm>
          <a:custGeom>
            <a:avLst/>
            <a:gdLst>
              <a:gd name="connsiteX0" fmla="*/ 4835643 w 4911814"/>
              <a:gd name="connsiteY0" fmla="*/ 0 h 152342"/>
              <a:gd name="connsiteX1" fmla="*/ 4911814 w 4911814"/>
              <a:gd name="connsiteY1" fmla="*/ 76171 h 152342"/>
              <a:gd name="connsiteX2" fmla="*/ 4835643 w 4911814"/>
              <a:gd name="connsiteY2" fmla="*/ 152342 h 152342"/>
              <a:gd name="connsiteX3" fmla="*/ 4759472 w 4911814"/>
              <a:gd name="connsiteY3" fmla="*/ 76171 h 152342"/>
              <a:gd name="connsiteX4" fmla="*/ 4402961 w 4911814"/>
              <a:gd name="connsiteY4" fmla="*/ 0 h 152342"/>
              <a:gd name="connsiteX5" fmla="*/ 4479132 w 4911814"/>
              <a:gd name="connsiteY5" fmla="*/ 76171 h 152342"/>
              <a:gd name="connsiteX6" fmla="*/ 4402961 w 4911814"/>
              <a:gd name="connsiteY6" fmla="*/ 152342 h 152342"/>
              <a:gd name="connsiteX7" fmla="*/ 4326790 w 4911814"/>
              <a:gd name="connsiteY7" fmla="*/ 76171 h 152342"/>
              <a:gd name="connsiteX8" fmla="*/ 3970282 w 4911814"/>
              <a:gd name="connsiteY8" fmla="*/ 0 h 152342"/>
              <a:gd name="connsiteX9" fmla="*/ 4046453 w 4911814"/>
              <a:gd name="connsiteY9" fmla="*/ 76171 h 152342"/>
              <a:gd name="connsiteX10" fmla="*/ 3970282 w 4911814"/>
              <a:gd name="connsiteY10" fmla="*/ 152342 h 152342"/>
              <a:gd name="connsiteX11" fmla="*/ 3894111 w 4911814"/>
              <a:gd name="connsiteY11" fmla="*/ 76171 h 152342"/>
              <a:gd name="connsiteX12" fmla="*/ 3537603 w 4911814"/>
              <a:gd name="connsiteY12" fmla="*/ 0 h 152342"/>
              <a:gd name="connsiteX13" fmla="*/ 3613774 w 4911814"/>
              <a:gd name="connsiteY13" fmla="*/ 76171 h 152342"/>
              <a:gd name="connsiteX14" fmla="*/ 3537603 w 4911814"/>
              <a:gd name="connsiteY14" fmla="*/ 152342 h 152342"/>
              <a:gd name="connsiteX15" fmla="*/ 3461432 w 4911814"/>
              <a:gd name="connsiteY15" fmla="*/ 76171 h 152342"/>
              <a:gd name="connsiteX16" fmla="*/ 3104924 w 4911814"/>
              <a:gd name="connsiteY16" fmla="*/ 0 h 152342"/>
              <a:gd name="connsiteX17" fmla="*/ 3181095 w 4911814"/>
              <a:gd name="connsiteY17" fmla="*/ 76171 h 152342"/>
              <a:gd name="connsiteX18" fmla="*/ 3104924 w 4911814"/>
              <a:gd name="connsiteY18" fmla="*/ 152342 h 152342"/>
              <a:gd name="connsiteX19" fmla="*/ 3028753 w 4911814"/>
              <a:gd name="connsiteY19" fmla="*/ 76171 h 152342"/>
              <a:gd name="connsiteX20" fmla="*/ 2672245 w 4911814"/>
              <a:gd name="connsiteY20" fmla="*/ 0 h 152342"/>
              <a:gd name="connsiteX21" fmla="*/ 2748416 w 4911814"/>
              <a:gd name="connsiteY21" fmla="*/ 76171 h 152342"/>
              <a:gd name="connsiteX22" fmla="*/ 2672245 w 4911814"/>
              <a:gd name="connsiteY22" fmla="*/ 152342 h 152342"/>
              <a:gd name="connsiteX23" fmla="*/ 2596074 w 4911814"/>
              <a:gd name="connsiteY23" fmla="*/ 76171 h 152342"/>
              <a:gd name="connsiteX24" fmla="*/ 2239566 w 4911814"/>
              <a:gd name="connsiteY24" fmla="*/ 0 h 152342"/>
              <a:gd name="connsiteX25" fmla="*/ 2315737 w 4911814"/>
              <a:gd name="connsiteY25" fmla="*/ 76171 h 152342"/>
              <a:gd name="connsiteX26" fmla="*/ 2239566 w 4911814"/>
              <a:gd name="connsiteY26" fmla="*/ 152342 h 152342"/>
              <a:gd name="connsiteX27" fmla="*/ 2163395 w 4911814"/>
              <a:gd name="connsiteY27" fmla="*/ 76171 h 152342"/>
              <a:gd name="connsiteX28" fmla="*/ 1806887 w 4911814"/>
              <a:gd name="connsiteY28" fmla="*/ 0 h 152342"/>
              <a:gd name="connsiteX29" fmla="*/ 1883058 w 4911814"/>
              <a:gd name="connsiteY29" fmla="*/ 76171 h 152342"/>
              <a:gd name="connsiteX30" fmla="*/ 1806887 w 4911814"/>
              <a:gd name="connsiteY30" fmla="*/ 152342 h 152342"/>
              <a:gd name="connsiteX31" fmla="*/ 1730716 w 4911814"/>
              <a:gd name="connsiteY31" fmla="*/ 76171 h 152342"/>
              <a:gd name="connsiteX32" fmla="*/ 1374208 w 4911814"/>
              <a:gd name="connsiteY32" fmla="*/ 0 h 152342"/>
              <a:gd name="connsiteX33" fmla="*/ 1450379 w 4911814"/>
              <a:gd name="connsiteY33" fmla="*/ 76171 h 152342"/>
              <a:gd name="connsiteX34" fmla="*/ 1374208 w 4911814"/>
              <a:gd name="connsiteY34" fmla="*/ 152342 h 152342"/>
              <a:gd name="connsiteX35" fmla="*/ 1298037 w 4911814"/>
              <a:gd name="connsiteY35" fmla="*/ 76171 h 152342"/>
              <a:gd name="connsiteX36" fmla="*/ 941529 w 4911814"/>
              <a:gd name="connsiteY36" fmla="*/ 0 h 152342"/>
              <a:gd name="connsiteX37" fmla="*/ 1017700 w 4911814"/>
              <a:gd name="connsiteY37" fmla="*/ 76171 h 152342"/>
              <a:gd name="connsiteX38" fmla="*/ 941529 w 4911814"/>
              <a:gd name="connsiteY38" fmla="*/ 152342 h 152342"/>
              <a:gd name="connsiteX39" fmla="*/ 865358 w 4911814"/>
              <a:gd name="connsiteY39" fmla="*/ 76171 h 152342"/>
              <a:gd name="connsiteX40" fmla="*/ 508850 w 4911814"/>
              <a:gd name="connsiteY40" fmla="*/ 0 h 152342"/>
              <a:gd name="connsiteX41" fmla="*/ 585021 w 4911814"/>
              <a:gd name="connsiteY41" fmla="*/ 76171 h 152342"/>
              <a:gd name="connsiteX42" fmla="*/ 508850 w 4911814"/>
              <a:gd name="connsiteY42" fmla="*/ 152342 h 152342"/>
              <a:gd name="connsiteX43" fmla="*/ 432679 w 4911814"/>
              <a:gd name="connsiteY43" fmla="*/ 76171 h 152342"/>
              <a:gd name="connsiteX44" fmla="*/ 76171 w 4911814"/>
              <a:gd name="connsiteY44" fmla="*/ 0 h 152342"/>
              <a:gd name="connsiteX45" fmla="*/ 152342 w 4911814"/>
              <a:gd name="connsiteY45" fmla="*/ 76171 h 152342"/>
              <a:gd name="connsiteX46" fmla="*/ 76171 w 4911814"/>
              <a:gd name="connsiteY46" fmla="*/ 152342 h 152342"/>
              <a:gd name="connsiteX47" fmla="*/ 0 w 4911814"/>
              <a:gd name="connsiteY47" fmla="*/ 76171 h 152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4911814" h="152342">
                <a:moveTo>
                  <a:pt x="4835643" y="0"/>
                </a:moveTo>
                <a:lnTo>
                  <a:pt x="4911814" y="76171"/>
                </a:lnTo>
                <a:lnTo>
                  <a:pt x="4835643" y="152342"/>
                </a:lnTo>
                <a:lnTo>
                  <a:pt x="4759472" y="76171"/>
                </a:lnTo>
                <a:close/>
                <a:moveTo>
                  <a:pt x="4402961" y="0"/>
                </a:moveTo>
                <a:lnTo>
                  <a:pt x="4479132" y="76171"/>
                </a:lnTo>
                <a:lnTo>
                  <a:pt x="4402961" y="152342"/>
                </a:lnTo>
                <a:lnTo>
                  <a:pt x="4326790" y="76171"/>
                </a:lnTo>
                <a:close/>
                <a:moveTo>
                  <a:pt x="3970282" y="0"/>
                </a:moveTo>
                <a:lnTo>
                  <a:pt x="4046453" y="76171"/>
                </a:lnTo>
                <a:lnTo>
                  <a:pt x="3970282" y="152342"/>
                </a:lnTo>
                <a:lnTo>
                  <a:pt x="3894111" y="76171"/>
                </a:lnTo>
                <a:close/>
                <a:moveTo>
                  <a:pt x="3537603" y="0"/>
                </a:moveTo>
                <a:lnTo>
                  <a:pt x="3613774" y="76171"/>
                </a:lnTo>
                <a:lnTo>
                  <a:pt x="3537603" y="152342"/>
                </a:lnTo>
                <a:lnTo>
                  <a:pt x="3461432" y="76171"/>
                </a:lnTo>
                <a:close/>
                <a:moveTo>
                  <a:pt x="3104924" y="0"/>
                </a:moveTo>
                <a:lnTo>
                  <a:pt x="3181095" y="76171"/>
                </a:lnTo>
                <a:lnTo>
                  <a:pt x="3104924" y="152342"/>
                </a:lnTo>
                <a:lnTo>
                  <a:pt x="3028753" y="76171"/>
                </a:lnTo>
                <a:close/>
                <a:moveTo>
                  <a:pt x="2672245" y="0"/>
                </a:moveTo>
                <a:lnTo>
                  <a:pt x="2748416" y="76171"/>
                </a:lnTo>
                <a:lnTo>
                  <a:pt x="2672245" y="152342"/>
                </a:lnTo>
                <a:lnTo>
                  <a:pt x="2596074" y="76171"/>
                </a:lnTo>
                <a:close/>
                <a:moveTo>
                  <a:pt x="2239566" y="0"/>
                </a:moveTo>
                <a:lnTo>
                  <a:pt x="2315737" y="76171"/>
                </a:lnTo>
                <a:lnTo>
                  <a:pt x="2239566" y="152342"/>
                </a:lnTo>
                <a:lnTo>
                  <a:pt x="2163395" y="76171"/>
                </a:lnTo>
                <a:close/>
                <a:moveTo>
                  <a:pt x="1806887" y="0"/>
                </a:moveTo>
                <a:lnTo>
                  <a:pt x="1883058" y="76171"/>
                </a:lnTo>
                <a:lnTo>
                  <a:pt x="1806887" y="152342"/>
                </a:lnTo>
                <a:lnTo>
                  <a:pt x="1730716" y="76171"/>
                </a:lnTo>
                <a:close/>
                <a:moveTo>
                  <a:pt x="1374208" y="0"/>
                </a:moveTo>
                <a:lnTo>
                  <a:pt x="1450379" y="76171"/>
                </a:lnTo>
                <a:lnTo>
                  <a:pt x="1374208" y="152342"/>
                </a:lnTo>
                <a:lnTo>
                  <a:pt x="1298037" y="76171"/>
                </a:lnTo>
                <a:close/>
                <a:moveTo>
                  <a:pt x="941529" y="0"/>
                </a:moveTo>
                <a:lnTo>
                  <a:pt x="1017700" y="76171"/>
                </a:lnTo>
                <a:lnTo>
                  <a:pt x="941529" y="152342"/>
                </a:lnTo>
                <a:lnTo>
                  <a:pt x="865358" y="76171"/>
                </a:lnTo>
                <a:close/>
                <a:moveTo>
                  <a:pt x="508850" y="0"/>
                </a:moveTo>
                <a:lnTo>
                  <a:pt x="585021" y="76171"/>
                </a:lnTo>
                <a:lnTo>
                  <a:pt x="508850" y="152342"/>
                </a:lnTo>
                <a:lnTo>
                  <a:pt x="432679" y="76171"/>
                </a:lnTo>
                <a:close/>
                <a:moveTo>
                  <a:pt x="76171" y="0"/>
                </a:moveTo>
                <a:lnTo>
                  <a:pt x="152342" y="76171"/>
                </a:lnTo>
                <a:lnTo>
                  <a:pt x="76171" y="152342"/>
                </a:lnTo>
                <a:lnTo>
                  <a:pt x="0" y="76171"/>
                </a:lnTo>
                <a:close/>
              </a:path>
            </a:pathLst>
          </a:custGeom>
          <a:solidFill>
            <a:srgbClr val="F8C381">
              <a:alpha val="71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TextBox 3">
            <a:hlinkClick r:id="rId7"/>
            <a:extLst>
              <a:ext uri="{FF2B5EF4-FFF2-40B4-BE49-F238E27FC236}">
                <a16:creationId xmlns:a16="http://schemas.microsoft.com/office/drawing/2014/main" id="{593EC32E-E737-42F8-97F9-E16DFEB7CBBF}"/>
              </a:ext>
            </a:extLst>
          </p:cNvPr>
          <p:cNvSpPr txBox="1"/>
          <p:nvPr/>
        </p:nvSpPr>
        <p:spPr>
          <a:xfrm>
            <a:off x="6349284" y="6392048"/>
            <a:ext cx="51696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cs typeface="Arial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reeppt7.com</a:t>
            </a:r>
            <a:endParaRPr lang="ko-KR" altLang="en-US" sz="1000" dirty="0">
              <a:solidFill>
                <a:schemeClr val="bg1">
                  <a:lumMod val="85000"/>
                </a:scheme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hyp="http://schemas.microsoft.com/office/drawing/2018/hyperlinkcolor" xmlns:v="urn:schemas-microsoft-com:vml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250"/>
                            </p:stCondLst>
                            <p:childTnLst>
                              <p:par>
                                <p:cTn id="15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250"/>
                            </p:stCondLst>
                            <p:childTnLst>
                              <p:par>
                                <p:cTn id="2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75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25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7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 build="p"/>
      <p:bldP spid="7" grpId="0" build="p"/>
      <p:bldP spid="11" grpId="0" animBg="1"/>
      <p:bldP spid="14" grpId="0" build="p"/>
      <p:bldP spid="15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04026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Main busines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2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A7B84729-DE03-42D4-B95E-A0DB554B0709}"/>
              </a:ext>
            </a:extLst>
          </p:cNvPr>
          <p:cNvCxnSpPr>
            <a:cxnSpLocks/>
          </p:cNvCxnSpPr>
          <p:nvPr/>
        </p:nvCxnSpPr>
        <p:spPr>
          <a:xfrm>
            <a:off x="4952064" y="3813134"/>
            <a:ext cx="0" cy="2077826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BEC9724B-01B0-4E52-91AE-A26CA8FE685E}"/>
              </a:ext>
            </a:extLst>
          </p:cNvPr>
          <p:cNvCxnSpPr>
            <a:cxnSpLocks/>
          </p:cNvCxnSpPr>
          <p:nvPr/>
        </p:nvCxnSpPr>
        <p:spPr>
          <a:xfrm>
            <a:off x="7502996" y="3412291"/>
            <a:ext cx="0" cy="2478667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işḷïḍê">
            <a:extLst>
              <a:ext uri="{FF2B5EF4-FFF2-40B4-BE49-F238E27FC236}">
                <a16:creationId xmlns:a16="http://schemas.microsoft.com/office/drawing/2014/main" id="{17CDAF46-3647-4CE3-8712-0AA612D1859D}"/>
              </a:ext>
            </a:extLst>
          </p:cNvPr>
          <p:cNvGrpSpPr/>
          <p:nvPr/>
        </p:nvGrpSpPr>
        <p:grpSpPr>
          <a:xfrm>
            <a:off x="2898237" y="1650841"/>
            <a:ext cx="5766579" cy="2478667"/>
            <a:chOff x="2325552" y="1365409"/>
            <a:chExt cx="6863120" cy="2949994"/>
          </a:xfrm>
        </p:grpSpPr>
        <p:sp>
          <p:nvSpPr>
            <p:cNvPr id="28" name="iṡḻïďé">
              <a:extLst>
                <a:ext uri="{FF2B5EF4-FFF2-40B4-BE49-F238E27FC236}">
                  <a16:creationId xmlns:a16="http://schemas.microsoft.com/office/drawing/2014/main" id="{AF0EDA66-1E18-4B61-A035-3349590AF8FD}"/>
                </a:ext>
              </a:extLst>
            </p:cNvPr>
            <p:cNvSpPr/>
            <p:nvPr/>
          </p:nvSpPr>
          <p:spPr bwMode="auto">
            <a:xfrm>
              <a:off x="2325552" y="1365409"/>
              <a:ext cx="6863120" cy="2949994"/>
            </a:xfrm>
            <a:custGeom>
              <a:avLst/>
              <a:gdLst/>
              <a:ahLst/>
              <a:cxnLst>
                <a:cxn ang="0">
                  <a:pos x="1532" y="272"/>
                </a:cxn>
                <a:cxn ang="0">
                  <a:pos x="984" y="0"/>
                </a:cxn>
                <a:cxn ang="0">
                  <a:pos x="984" y="162"/>
                </a:cxn>
                <a:cxn ang="0">
                  <a:pos x="0" y="658"/>
                </a:cxn>
                <a:cxn ang="0">
                  <a:pos x="984" y="388"/>
                </a:cxn>
                <a:cxn ang="0">
                  <a:pos x="984" y="385"/>
                </a:cxn>
                <a:cxn ang="0">
                  <a:pos x="984" y="533"/>
                </a:cxn>
                <a:cxn ang="0">
                  <a:pos x="1532" y="272"/>
                </a:cxn>
              </a:cxnLst>
              <a:rect l="0" t="0" r="r" b="b"/>
              <a:pathLst>
                <a:path w="1532" h="658">
                  <a:moveTo>
                    <a:pt x="1532" y="272"/>
                  </a:moveTo>
                  <a:cubicBezTo>
                    <a:pt x="984" y="0"/>
                    <a:pt x="984" y="0"/>
                    <a:pt x="984" y="0"/>
                  </a:cubicBezTo>
                  <a:cubicBezTo>
                    <a:pt x="984" y="162"/>
                    <a:pt x="984" y="162"/>
                    <a:pt x="984" y="162"/>
                  </a:cubicBezTo>
                  <a:cubicBezTo>
                    <a:pt x="914" y="167"/>
                    <a:pt x="243" y="222"/>
                    <a:pt x="0" y="658"/>
                  </a:cubicBezTo>
                  <a:cubicBezTo>
                    <a:pt x="0" y="658"/>
                    <a:pt x="302" y="350"/>
                    <a:pt x="984" y="388"/>
                  </a:cubicBezTo>
                  <a:cubicBezTo>
                    <a:pt x="984" y="385"/>
                    <a:pt x="984" y="385"/>
                    <a:pt x="984" y="385"/>
                  </a:cubicBezTo>
                  <a:cubicBezTo>
                    <a:pt x="984" y="533"/>
                    <a:pt x="984" y="533"/>
                    <a:pt x="984" y="533"/>
                  </a:cubicBezTo>
                  <a:lnTo>
                    <a:pt x="1532" y="272"/>
                  </a:ln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accent1">
                  <a:lumMod val="20000"/>
                  <a:lumOff val="80000"/>
                </a:schemeClr>
              </a:solidFill>
              <a:round/>
              <a:headEnd/>
              <a:tailEnd/>
            </a:ln>
            <a:effectLst>
              <a:outerShdw dist="38100" dir="5400000" sx="102000" sy="102000" algn="t" rotWithShape="0">
                <a:schemeClr val="tx1">
                  <a:lumMod val="50000"/>
                  <a:lumOff val="50000"/>
                  <a:alpha val="84000"/>
                </a:schemeClr>
              </a:outerShdw>
            </a:effectLst>
          </p:spPr>
          <p:txBody>
            <a:bodyPr anchor="ctr"/>
            <a:lstStyle/>
            <a:p>
              <a:pPr algn="ctr"/>
              <a:endParaRPr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îṧḻïḍê">
              <a:extLst>
                <a:ext uri="{FF2B5EF4-FFF2-40B4-BE49-F238E27FC236}">
                  <a16:creationId xmlns:a16="http://schemas.microsoft.com/office/drawing/2014/main" id="{7C16A8EC-CA16-4434-914D-B5C004C3B45F}"/>
                </a:ext>
              </a:extLst>
            </p:cNvPr>
            <p:cNvSpPr/>
            <p:nvPr/>
          </p:nvSpPr>
          <p:spPr>
            <a:xfrm>
              <a:off x="3692303" y="2978858"/>
              <a:ext cx="410235" cy="410384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50800">
              <a:noFill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64000"/>
                </a:schemeClr>
              </a:outerShdw>
            </a:effectLst>
            <a:scene3d>
              <a:camera prst="orthographicFront"/>
              <a:lightRig rig="threePt" dir="t"/>
            </a:scene3d>
            <a:sp3d prstMaterial="softEdge">
              <a:bevelT w="31750" h="63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 fontScale="40000" lnSpcReduction="20000"/>
            </a:bodyPr>
            <a:lstStyle/>
            <a:p>
              <a:pPr algn="ctr"/>
              <a:r>
                <a:rPr lang="en-US" altLang="zh-CN" sz="3066" dirty="0">
                  <a:solidFill>
                    <a:schemeClr val="bg1"/>
                  </a:solidFill>
                  <a:cs typeface="+mn-ea"/>
                  <a:sym typeface="+mn-lt"/>
                </a:rPr>
                <a:t>1</a:t>
              </a:r>
            </a:p>
          </p:txBody>
        </p:sp>
        <p:sp>
          <p:nvSpPr>
            <p:cNvPr id="30" name="íṣ1îdé">
              <a:extLst>
                <a:ext uri="{FF2B5EF4-FFF2-40B4-BE49-F238E27FC236}">
                  <a16:creationId xmlns:a16="http://schemas.microsoft.com/office/drawing/2014/main" id="{83DF480A-717B-4031-B3D6-A2C7F1CA39A7}"/>
                </a:ext>
              </a:extLst>
            </p:cNvPr>
            <p:cNvSpPr/>
            <p:nvPr/>
          </p:nvSpPr>
          <p:spPr>
            <a:xfrm>
              <a:off x="5028022" y="2427593"/>
              <a:ext cx="609804" cy="610025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50800">
              <a:noFill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64000"/>
                </a:schemeClr>
              </a:outerShdw>
            </a:effectLst>
            <a:scene3d>
              <a:camera prst="orthographicFront"/>
              <a:lightRig rig="threePt" dir="t"/>
            </a:scene3d>
            <a:sp3d prstMaterial="softEdge">
              <a:bevelT w="31750" h="63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 fontScale="70000" lnSpcReduction="20000"/>
            </a:bodyPr>
            <a:lstStyle/>
            <a:p>
              <a:pPr algn="ctr"/>
              <a:r>
                <a:rPr lang="en-US" altLang="zh-CN" sz="3066" dirty="0">
                  <a:solidFill>
                    <a:schemeClr val="bg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31" name="ïŝ1íḋe">
              <a:extLst>
                <a:ext uri="{FF2B5EF4-FFF2-40B4-BE49-F238E27FC236}">
                  <a16:creationId xmlns:a16="http://schemas.microsoft.com/office/drawing/2014/main" id="{250371AD-B711-42E8-B9BF-71B49B114673}"/>
                </a:ext>
              </a:extLst>
            </p:cNvPr>
            <p:cNvSpPr/>
            <p:nvPr/>
          </p:nvSpPr>
          <p:spPr>
            <a:xfrm>
              <a:off x="6968464" y="2203998"/>
              <a:ext cx="868027" cy="8683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50800">
              <a:noFill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64000"/>
                </a:schemeClr>
              </a:outerShdw>
            </a:effectLst>
            <a:scene3d>
              <a:camera prst="orthographicFront"/>
              <a:lightRig rig="threePt" dir="t"/>
            </a:scene3d>
            <a:sp3d prstMaterial="softEdge">
              <a:bevelT w="31750" h="63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anchor="ctr">
              <a:normAutofit fontScale="92500" lnSpcReduction="10000"/>
            </a:bodyPr>
            <a:lstStyle/>
            <a:p>
              <a:pPr algn="ctr"/>
              <a:r>
                <a:rPr lang="en-US" altLang="zh-CN" sz="3066" dirty="0">
                  <a:solidFill>
                    <a:schemeClr val="bg1"/>
                  </a:solidFill>
                  <a:cs typeface="+mn-ea"/>
                  <a:sym typeface="+mn-lt"/>
                </a:rPr>
                <a:t>3</a:t>
              </a:r>
            </a:p>
          </p:txBody>
        </p:sp>
      </p:grpSp>
      <p:grpSp>
        <p:nvGrpSpPr>
          <p:cNvPr id="9" name="íṧḷíḓé">
            <a:extLst>
              <a:ext uri="{FF2B5EF4-FFF2-40B4-BE49-F238E27FC236}">
                <a16:creationId xmlns:a16="http://schemas.microsoft.com/office/drawing/2014/main" id="{51987392-DE76-40D3-9ECC-3FF0C9F08422}"/>
              </a:ext>
            </a:extLst>
          </p:cNvPr>
          <p:cNvGrpSpPr/>
          <p:nvPr/>
        </p:nvGrpSpPr>
        <p:grpSpPr>
          <a:xfrm>
            <a:off x="2763801" y="4884792"/>
            <a:ext cx="2108063" cy="970279"/>
            <a:chOff x="1490599" y="3163804"/>
            <a:chExt cx="2108063" cy="970279"/>
          </a:xfrm>
        </p:grpSpPr>
        <p:sp>
          <p:nvSpPr>
            <p:cNvPr id="26" name="iSļïďé">
              <a:extLst>
                <a:ext uri="{FF2B5EF4-FFF2-40B4-BE49-F238E27FC236}">
                  <a16:creationId xmlns:a16="http://schemas.microsoft.com/office/drawing/2014/main" id="{579D13F9-3F72-4282-B3B8-6F46C7685C16}"/>
                </a:ext>
              </a:extLst>
            </p:cNvPr>
            <p:cNvSpPr/>
            <p:nvPr/>
          </p:nvSpPr>
          <p:spPr bwMode="auto">
            <a:xfrm>
              <a:off x="1490599" y="3576684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7" name="ïšľíḋê">
              <a:extLst>
                <a:ext uri="{FF2B5EF4-FFF2-40B4-BE49-F238E27FC236}">
                  <a16:creationId xmlns:a16="http://schemas.microsoft.com/office/drawing/2014/main" id="{5D77E3DD-B912-444C-B300-A6FDF273F6A3}"/>
                </a:ext>
              </a:extLst>
            </p:cNvPr>
            <p:cNvSpPr txBox="1"/>
            <p:nvPr/>
          </p:nvSpPr>
          <p:spPr bwMode="auto">
            <a:xfrm>
              <a:off x="1490599" y="3163804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</a:p>
          </p:txBody>
        </p:sp>
      </p:grpSp>
      <p:grpSp>
        <p:nvGrpSpPr>
          <p:cNvPr id="10" name="iṣḻîḓe">
            <a:extLst>
              <a:ext uri="{FF2B5EF4-FFF2-40B4-BE49-F238E27FC236}">
                <a16:creationId xmlns:a16="http://schemas.microsoft.com/office/drawing/2014/main" id="{2AC84D9A-C0E7-4A6A-A037-9CE660D110C2}"/>
              </a:ext>
            </a:extLst>
          </p:cNvPr>
          <p:cNvGrpSpPr/>
          <p:nvPr/>
        </p:nvGrpSpPr>
        <p:grpSpPr>
          <a:xfrm>
            <a:off x="5284081" y="4648168"/>
            <a:ext cx="2108063" cy="970279"/>
            <a:chOff x="1490599" y="3163804"/>
            <a:chExt cx="2108063" cy="970279"/>
          </a:xfrm>
        </p:grpSpPr>
        <p:sp>
          <p:nvSpPr>
            <p:cNvPr id="24" name="îṡḷïḍê">
              <a:extLst>
                <a:ext uri="{FF2B5EF4-FFF2-40B4-BE49-F238E27FC236}">
                  <a16:creationId xmlns:a16="http://schemas.microsoft.com/office/drawing/2014/main" id="{2297CAB4-7E5A-4E5A-A21D-08356821F127}"/>
                </a:ext>
              </a:extLst>
            </p:cNvPr>
            <p:cNvSpPr/>
            <p:nvPr/>
          </p:nvSpPr>
          <p:spPr bwMode="auto">
            <a:xfrm>
              <a:off x="1490599" y="3576684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ísḷiḓè">
              <a:extLst>
                <a:ext uri="{FF2B5EF4-FFF2-40B4-BE49-F238E27FC236}">
                  <a16:creationId xmlns:a16="http://schemas.microsoft.com/office/drawing/2014/main" id="{9B520B3D-0DD8-4953-B272-A19B043535CB}"/>
                </a:ext>
              </a:extLst>
            </p:cNvPr>
            <p:cNvSpPr txBox="1"/>
            <p:nvPr/>
          </p:nvSpPr>
          <p:spPr bwMode="auto">
            <a:xfrm>
              <a:off x="1490599" y="3163804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</a:p>
          </p:txBody>
        </p:sp>
      </p:grpSp>
      <p:grpSp>
        <p:nvGrpSpPr>
          <p:cNvPr id="11" name="íšḻîdê">
            <a:extLst>
              <a:ext uri="{FF2B5EF4-FFF2-40B4-BE49-F238E27FC236}">
                <a16:creationId xmlns:a16="http://schemas.microsoft.com/office/drawing/2014/main" id="{CAAAB04F-2E9C-472F-975D-4F59242499FF}"/>
              </a:ext>
            </a:extLst>
          </p:cNvPr>
          <p:cNvGrpSpPr/>
          <p:nvPr/>
        </p:nvGrpSpPr>
        <p:grpSpPr>
          <a:xfrm>
            <a:off x="7804361" y="4411543"/>
            <a:ext cx="2108063" cy="970279"/>
            <a:chOff x="1490599" y="3163804"/>
            <a:chExt cx="2108063" cy="970279"/>
          </a:xfrm>
        </p:grpSpPr>
        <p:sp>
          <p:nvSpPr>
            <p:cNvPr id="22" name="iṩḻíḑé">
              <a:extLst>
                <a:ext uri="{FF2B5EF4-FFF2-40B4-BE49-F238E27FC236}">
                  <a16:creationId xmlns:a16="http://schemas.microsoft.com/office/drawing/2014/main" id="{D69AC4AC-382D-43B2-A27F-50E9EB18C042}"/>
                </a:ext>
              </a:extLst>
            </p:cNvPr>
            <p:cNvSpPr/>
            <p:nvPr/>
          </p:nvSpPr>
          <p:spPr bwMode="auto">
            <a:xfrm>
              <a:off x="1490599" y="3576684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iŝ1îďê">
              <a:extLst>
                <a:ext uri="{FF2B5EF4-FFF2-40B4-BE49-F238E27FC236}">
                  <a16:creationId xmlns:a16="http://schemas.microsoft.com/office/drawing/2014/main" id="{2AB5EC5E-BB59-4F3C-A322-576AB15325E8}"/>
                </a:ext>
              </a:extLst>
            </p:cNvPr>
            <p:cNvSpPr txBox="1"/>
            <p:nvPr/>
          </p:nvSpPr>
          <p:spPr bwMode="auto">
            <a:xfrm>
              <a:off x="1490599" y="3163804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</a:p>
          </p:txBody>
        </p:sp>
      </p:grpSp>
      <p:grpSp>
        <p:nvGrpSpPr>
          <p:cNvPr id="12" name="işľîde">
            <a:extLst>
              <a:ext uri="{FF2B5EF4-FFF2-40B4-BE49-F238E27FC236}">
                <a16:creationId xmlns:a16="http://schemas.microsoft.com/office/drawing/2014/main" id="{F3CA83FF-79A2-4E70-B3D2-BEA4D08F2312}"/>
              </a:ext>
            </a:extLst>
          </p:cNvPr>
          <p:cNvGrpSpPr/>
          <p:nvPr/>
        </p:nvGrpSpPr>
        <p:grpSpPr>
          <a:xfrm>
            <a:off x="8812418" y="2235110"/>
            <a:ext cx="2746610" cy="970279"/>
            <a:chOff x="5159896" y="3071603"/>
            <a:chExt cx="2746610" cy="970279"/>
          </a:xfrm>
        </p:grpSpPr>
        <p:sp>
          <p:nvSpPr>
            <p:cNvPr id="19" name="ïŝḷídè">
              <a:extLst>
                <a:ext uri="{FF2B5EF4-FFF2-40B4-BE49-F238E27FC236}">
                  <a16:creationId xmlns:a16="http://schemas.microsoft.com/office/drawing/2014/main" id="{10E05C57-D6C7-4BF0-96CB-04A60F1706AD}"/>
                </a:ext>
              </a:extLst>
            </p:cNvPr>
            <p:cNvSpPr/>
            <p:nvPr/>
          </p:nvSpPr>
          <p:spPr bwMode="auto">
            <a:xfrm>
              <a:off x="5798443" y="3484483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î$líďé">
              <a:extLst>
                <a:ext uri="{FF2B5EF4-FFF2-40B4-BE49-F238E27FC236}">
                  <a16:creationId xmlns:a16="http://schemas.microsoft.com/office/drawing/2014/main" id="{450DA317-7FE5-4C1C-BD8F-4CC3BFDE0969}"/>
                </a:ext>
              </a:extLst>
            </p:cNvPr>
            <p:cNvSpPr txBox="1"/>
            <p:nvPr/>
          </p:nvSpPr>
          <p:spPr bwMode="auto">
            <a:xfrm>
              <a:off x="5798443" y="3071603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</a:p>
          </p:txBody>
        </p:sp>
        <p:sp>
          <p:nvSpPr>
            <p:cNvPr id="21" name="ïşľiďe">
              <a:extLst>
                <a:ext uri="{FF2B5EF4-FFF2-40B4-BE49-F238E27FC236}">
                  <a16:creationId xmlns:a16="http://schemas.microsoft.com/office/drawing/2014/main" id="{5994A2AB-5739-4271-8EF7-5A4B044417EA}"/>
                </a:ext>
              </a:extLst>
            </p:cNvPr>
            <p:cNvSpPr/>
            <p:nvPr/>
          </p:nvSpPr>
          <p:spPr bwMode="auto">
            <a:xfrm>
              <a:off x="5159896" y="3212204"/>
              <a:ext cx="461080" cy="365375"/>
            </a:xfrm>
            <a:custGeom>
              <a:avLst/>
              <a:gdLst>
                <a:gd name="connsiteX0" fmla="*/ 511657 w 606157"/>
                <a:gd name="connsiteY0" fmla="*/ 343654 h 480339"/>
                <a:gd name="connsiteX1" fmla="*/ 521432 w 606157"/>
                <a:gd name="connsiteY1" fmla="*/ 353421 h 480339"/>
                <a:gd name="connsiteX2" fmla="*/ 521432 w 606157"/>
                <a:gd name="connsiteY2" fmla="*/ 376178 h 480339"/>
                <a:gd name="connsiteX3" fmla="*/ 544305 w 606157"/>
                <a:gd name="connsiteY3" fmla="*/ 376178 h 480339"/>
                <a:gd name="connsiteX4" fmla="*/ 554080 w 606157"/>
                <a:gd name="connsiteY4" fmla="*/ 385945 h 480339"/>
                <a:gd name="connsiteX5" fmla="*/ 544305 w 606157"/>
                <a:gd name="connsiteY5" fmla="*/ 395712 h 480339"/>
                <a:gd name="connsiteX6" fmla="*/ 521432 w 606157"/>
                <a:gd name="connsiteY6" fmla="*/ 395712 h 480339"/>
                <a:gd name="connsiteX7" fmla="*/ 521432 w 606157"/>
                <a:gd name="connsiteY7" fmla="*/ 418566 h 480339"/>
                <a:gd name="connsiteX8" fmla="*/ 511657 w 606157"/>
                <a:gd name="connsiteY8" fmla="*/ 428333 h 480339"/>
                <a:gd name="connsiteX9" fmla="*/ 501882 w 606157"/>
                <a:gd name="connsiteY9" fmla="*/ 418566 h 480339"/>
                <a:gd name="connsiteX10" fmla="*/ 501882 w 606157"/>
                <a:gd name="connsiteY10" fmla="*/ 395712 h 480339"/>
                <a:gd name="connsiteX11" fmla="*/ 479106 w 606157"/>
                <a:gd name="connsiteY11" fmla="*/ 395712 h 480339"/>
                <a:gd name="connsiteX12" fmla="*/ 469331 w 606157"/>
                <a:gd name="connsiteY12" fmla="*/ 385945 h 480339"/>
                <a:gd name="connsiteX13" fmla="*/ 479106 w 606157"/>
                <a:gd name="connsiteY13" fmla="*/ 376178 h 480339"/>
                <a:gd name="connsiteX14" fmla="*/ 501882 w 606157"/>
                <a:gd name="connsiteY14" fmla="*/ 376178 h 480339"/>
                <a:gd name="connsiteX15" fmla="*/ 501882 w 606157"/>
                <a:gd name="connsiteY15" fmla="*/ 353421 h 480339"/>
                <a:gd name="connsiteX16" fmla="*/ 511657 w 606157"/>
                <a:gd name="connsiteY16" fmla="*/ 343654 h 480339"/>
                <a:gd name="connsiteX17" fmla="*/ 511621 w 606157"/>
                <a:gd name="connsiteY17" fmla="*/ 311170 h 480339"/>
                <a:gd name="connsiteX18" fmla="*/ 436735 w 606157"/>
                <a:gd name="connsiteY18" fmla="*/ 385944 h 480339"/>
                <a:gd name="connsiteX19" fmla="*/ 511621 w 606157"/>
                <a:gd name="connsiteY19" fmla="*/ 460816 h 480339"/>
                <a:gd name="connsiteX20" fmla="*/ 586605 w 606157"/>
                <a:gd name="connsiteY20" fmla="*/ 385944 h 480339"/>
                <a:gd name="connsiteX21" fmla="*/ 511621 w 606157"/>
                <a:gd name="connsiteY21" fmla="*/ 311170 h 480339"/>
                <a:gd name="connsiteX22" fmla="*/ 511621 w 606157"/>
                <a:gd name="connsiteY22" fmla="*/ 291647 h 480339"/>
                <a:gd name="connsiteX23" fmla="*/ 606157 w 606157"/>
                <a:gd name="connsiteY23" fmla="*/ 385944 h 480339"/>
                <a:gd name="connsiteX24" fmla="*/ 511621 w 606157"/>
                <a:gd name="connsiteY24" fmla="*/ 480339 h 480339"/>
                <a:gd name="connsiteX25" fmla="*/ 417183 w 606157"/>
                <a:gd name="connsiteY25" fmla="*/ 385944 h 480339"/>
                <a:gd name="connsiteX26" fmla="*/ 511621 w 606157"/>
                <a:gd name="connsiteY26" fmla="*/ 291647 h 480339"/>
                <a:gd name="connsiteX27" fmla="*/ 368279 w 606157"/>
                <a:gd name="connsiteY27" fmla="*/ 200476 h 480339"/>
                <a:gd name="connsiteX28" fmla="*/ 489505 w 606157"/>
                <a:gd name="connsiteY28" fmla="*/ 259991 h 480339"/>
                <a:gd name="connsiteX29" fmla="*/ 487746 w 606157"/>
                <a:gd name="connsiteY29" fmla="*/ 273650 h 480339"/>
                <a:gd name="connsiteX30" fmla="*/ 481782 w 606157"/>
                <a:gd name="connsiteY30" fmla="*/ 275699 h 480339"/>
                <a:gd name="connsiteX31" fmla="*/ 474059 w 606157"/>
                <a:gd name="connsiteY31" fmla="*/ 271894 h 480339"/>
                <a:gd name="connsiteX32" fmla="*/ 368279 w 606157"/>
                <a:gd name="connsiteY32" fmla="*/ 219989 h 480339"/>
                <a:gd name="connsiteX33" fmla="*/ 293588 w 606157"/>
                <a:gd name="connsiteY33" fmla="*/ 242819 h 480339"/>
                <a:gd name="connsiteX34" fmla="*/ 279999 w 606157"/>
                <a:gd name="connsiteY34" fmla="*/ 240185 h 480339"/>
                <a:gd name="connsiteX35" fmla="*/ 282639 w 606157"/>
                <a:gd name="connsiteY35" fmla="*/ 226623 h 480339"/>
                <a:gd name="connsiteX36" fmla="*/ 368279 w 606157"/>
                <a:gd name="connsiteY36" fmla="*/ 200476 h 480339"/>
                <a:gd name="connsiteX37" fmla="*/ 153211 w 606157"/>
                <a:gd name="connsiteY37" fmla="*/ 200476 h 480339"/>
                <a:gd name="connsiteX38" fmla="*/ 306325 w 606157"/>
                <a:gd name="connsiteY38" fmla="*/ 353439 h 480339"/>
                <a:gd name="connsiteX39" fmla="*/ 296547 w 606157"/>
                <a:gd name="connsiteY39" fmla="*/ 363200 h 480339"/>
                <a:gd name="connsiteX40" fmla="*/ 286770 w 606157"/>
                <a:gd name="connsiteY40" fmla="*/ 353439 h 480339"/>
                <a:gd name="connsiteX41" fmla="*/ 153211 w 606157"/>
                <a:gd name="connsiteY41" fmla="*/ 219999 h 480339"/>
                <a:gd name="connsiteX42" fmla="*/ 19554 w 606157"/>
                <a:gd name="connsiteY42" fmla="*/ 353439 h 480339"/>
                <a:gd name="connsiteX43" fmla="*/ 9777 w 606157"/>
                <a:gd name="connsiteY43" fmla="*/ 363200 h 480339"/>
                <a:gd name="connsiteX44" fmla="*/ 0 w 606157"/>
                <a:gd name="connsiteY44" fmla="*/ 353439 h 480339"/>
                <a:gd name="connsiteX45" fmla="*/ 153211 w 606157"/>
                <a:gd name="connsiteY45" fmla="*/ 200476 h 480339"/>
                <a:gd name="connsiteX46" fmla="*/ 368295 w 606157"/>
                <a:gd name="connsiteY46" fmla="*/ 19531 h 480339"/>
                <a:gd name="connsiteX47" fmla="*/ 306326 w 606157"/>
                <a:gd name="connsiteY47" fmla="*/ 81348 h 480339"/>
                <a:gd name="connsiteX48" fmla="*/ 368295 w 606157"/>
                <a:gd name="connsiteY48" fmla="*/ 143262 h 480339"/>
                <a:gd name="connsiteX49" fmla="*/ 430165 w 606157"/>
                <a:gd name="connsiteY49" fmla="*/ 81348 h 480339"/>
                <a:gd name="connsiteX50" fmla="*/ 368295 w 606157"/>
                <a:gd name="connsiteY50" fmla="*/ 19531 h 480339"/>
                <a:gd name="connsiteX51" fmla="*/ 153211 w 606157"/>
                <a:gd name="connsiteY51" fmla="*/ 19531 h 480339"/>
                <a:gd name="connsiteX52" fmla="*/ 91242 w 606157"/>
                <a:gd name="connsiteY52" fmla="*/ 81348 h 480339"/>
                <a:gd name="connsiteX53" fmla="*/ 153211 w 606157"/>
                <a:gd name="connsiteY53" fmla="*/ 143262 h 480339"/>
                <a:gd name="connsiteX54" fmla="*/ 215081 w 606157"/>
                <a:gd name="connsiteY54" fmla="*/ 81348 h 480339"/>
                <a:gd name="connsiteX55" fmla="*/ 153211 w 606157"/>
                <a:gd name="connsiteY55" fmla="*/ 19531 h 480339"/>
                <a:gd name="connsiteX56" fmla="*/ 368295 w 606157"/>
                <a:gd name="connsiteY56" fmla="*/ 0 h 480339"/>
                <a:gd name="connsiteX57" fmla="*/ 449714 w 606157"/>
                <a:gd name="connsiteY57" fmla="*/ 81348 h 480339"/>
                <a:gd name="connsiteX58" fmla="*/ 368295 w 606157"/>
                <a:gd name="connsiteY58" fmla="*/ 162794 h 480339"/>
                <a:gd name="connsiteX59" fmla="*/ 286778 w 606157"/>
                <a:gd name="connsiteY59" fmla="*/ 81348 h 480339"/>
                <a:gd name="connsiteX60" fmla="*/ 368295 w 606157"/>
                <a:gd name="connsiteY60" fmla="*/ 0 h 480339"/>
                <a:gd name="connsiteX61" fmla="*/ 153211 w 606157"/>
                <a:gd name="connsiteY61" fmla="*/ 0 h 480339"/>
                <a:gd name="connsiteX62" fmla="*/ 234630 w 606157"/>
                <a:gd name="connsiteY62" fmla="*/ 81348 h 480339"/>
                <a:gd name="connsiteX63" fmla="*/ 153211 w 606157"/>
                <a:gd name="connsiteY63" fmla="*/ 162794 h 480339"/>
                <a:gd name="connsiteX64" fmla="*/ 71694 w 606157"/>
                <a:gd name="connsiteY64" fmla="*/ 81348 h 480339"/>
                <a:gd name="connsiteX65" fmla="*/ 153211 w 606157"/>
                <a:gd name="connsiteY65" fmla="*/ 0 h 480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606157" h="480339">
                  <a:moveTo>
                    <a:pt x="511657" y="343654"/>
                  </a:moveTo>
                  <a:cubicBezTo>
                    <a:pt x="517131" y="343654"/>
                    <a:pt x="521432" y="348049"/>
                    <a:pt x="521432" y="353421"/>
                  </a:cubicBezTo>
                  <a:lnTo>
                    <a:pt x="521432" y="376178"/>
                  </a:lnTo>
                  <a:lnTo>
                    <a:pt x="544305" y="376178"/>
                  </a:lnTo>
                  <a:cubicBezTo>
                    <a:pt x="549682" y="376178"/>
                    <a:pt x="554080" y="380573"/>
                    <a:pt x="554080" y="385945"/>
                  </a:cubicBezTo>
                  <a:cubicBezTo>
                    <a:pt x="554080" y="391414"/>
                    <a:pt x="549682" y="395712"/>
                    <a:pt x="544305" y="395712"/>
                  </a:cubicBezTo>
                  <a:lnTo>
                    <a:pt x="521432" y="395712"/>
                  </a:lnTo>
                  <a:lnTo>
                    <a:pt x="521432" y="418566"/>
                  </a:lnTo>
                  <a:cubicBezTo>
                    <a:pt x="521432" y="423938"/>
                    <a:pt x="517131" y="428333"/>
                    <a:pt x="511657" y="428333"/>
                  </a:cubicBezTo>
                  <a:cubicBezTo>
                    <a:pt x="506281" y="428333"/>
                    <a:pt x="501882" y="423938"/>
                    <a:pt x="501882" y="418566"/>
                  </a:cubicBezTo>
                  <a:lnTo>
                    <a:pt x="501882" y="395712"/>
                  </a:lnTo>
                  <a:lnTo>
                    <a:pt x="479106" y="395712"/>
                  </a:lnTo>
                  <a:cubicBezTo>
                    <a:pt x="473730" y="395712"/>
                    <a:pt x="469331" y="391414"/>
                    <a:pt x="469331" y="385945"/>
                  </a:cubicBezTo>
                  <a:cubicBezTo>
                    <a:pt x="469331" y="380573"/>
                    <a:pt x="473730" y="376178"/>
                    <a:pt x="479106" y="376178"/>
                  </a:cubicBezTo>
                  <a:lnTo>
                    <a:pt x="501882" y="376178"/>
                  </a:lnTo>
                  <a:lnTo>
                    <a:pt x="501882" y="353421"/>
                  </a:lnTo>
                  <a:cubicBezTo>
                    <a:pt x="501882" y="348049"/>
                    <a:pt x="506281" y="343654"/>
                    <a:pt x="511657" y="343654"/>
                  </a:cubicBezTo>
                  <a:close/>
                  <a:moveTo>
                    <a:pt x="511621" y="311170"/>
                  </a:moveTo>
                  <a:cubicBezTo>
                    <a:pt x="470366" y="311170"/>
                    <a:pt x="436735" y="344750"/>
                    <a:pt x="436735" y="385944"/>
                  </a:cubicBezTo>
                  <a:cubicBezTo>
                    <a:pt x="436735" y="427236"/>
                    <a:pt x="470366" y="460816"/>
                    <a:pt x="511621" y="460816"/>
                  </a:cubicBezTo>
                  <a:cubicBezTo>
                    <a:pt x="552975" y="460816"/>
                    <a:pt x="586605" y="427236"/>
                    <a:pt x="586605" y="385944"/>
                  </a:cubicBezTo>
                  <a:cubicBezTo>
                    <a:pt x="586605" y="344750"/>
                    <a:pt x="552975" y="311170"/>
                    <a:pt x="511621" y="311170"/>
                  </a:cubicBezTo>
                  <a:close/>
                  <a:moveTo>
                    <a:pt x="511621" y="291647"/>
                  </a:moveTo>
                  <a:cubicBezTo>
                    <a:pt x="563729" y="291647"/>
                    <a:pt x="606157" y="333915"/>
                    <a:pt x="606157" y="385944"/>
                  </a:cubicBezTo>
                  <a:cubicBezTo>
                    <a:pt x="606157" y="437974"/>
                    <a:pt x="563729" y="480339"/>
                    <a:pt x="511621" y="480339"/>
                  </a:cubicBezTo>
                  <a:cubicBezTo>
                    <a:pt x="459514" y="480339"/>
                    <a:pt x="417183" y="437974"/>
                    <a:pt x="417183" y="385944"/>
                  </a:cubicBezTo>
                  <a:cubicBezTo>
                    <a:pt x="417183" y="333915"/>
                    <a:pt x="459514" y="291647"/>
                    <a:pt x="511621" y="291647"/>
                  </a:cubicBezTo>
                  <a:close/>
                  <a:moveTo>
                    <a:pt x="368279" y="200476"/>
                  </a:moveTo>
                  <a:cubicBezTo>
                    <a:pt x="416085" y="200476"/>
                    <a:pt x="460274" y="222135"/>
                    <a:pt x="489505" y="259991"/>
                  </a:cubicBezTo>
                  <a:cubicBezTo>
                    <a:pt x="492829" y="264284"/>
                    <a:pt x="492047" y="270333"/>
                    <a:pt x="487746" y="273650"/>
                  </a:cubicBezTo>
                  <a:cubicBezTo>
                    <a:pt x="485986" y="275016"/>
                    <a:pt x="483835" y="275699"/>
                    <a:pt x="481782" y="275699"/>
                  </a:cubicBezTo>
                  <a:cubicBezTo>
                    <a:pt x="478849" y="275699"/>
                    <a:pt x="475916" y="274430"/>
                    <a:pt x="474059" y="271894"/>
                  </a:cubicBezTo>
                  <a:cubicBezTo>
                    <a:pt x="448542" y="238917"/>
                    <a:pt x="409926" y="219989"/>
                    <a:pt x="368279" y="219989"/>
                  </a:cubicBezTo>
                  <a:cubicBezTo>
                    <a:pt x="341492" y="219989"/>
                    <a:pt x="315683" y="227892"/>
                    <a:pt x="293588" y="242819"/>
                  </a:cubicBezTo>
                  <a:cubicBezTo>
                    <a:pt x="289091" y="245844"/>
                    <a:pt x="283030" y="244673"/>
                    <a:pt x="279999" y="240185"/>
                  </a:cubicBezTo>
                  <a:cubicBezTo>
                    <a:pt x="276969" y="235697"/>
                    <a:pt x="278142" y="229648"/>
                    <a:pt x="282639" y="226623"/>
                  </a:cubicBezTo>
                  <a:cubicBezTo>
                    <a:pt x="307960" y="209549"/>
                    <a:pt x="337582" y="200476"/>
                    <a:pt x="368279" y="200476"/>
                  </a:cubicBezTo>
                  <a:close/>
                  <a:moveTo>
                    <a:pt x="153211" y="200476"/>
                  </a:moveTo>
                  <a:cubicBezTo>
                    <a:pt x="237688" y="200476"/>
                    <a:pt x="306325" y="269099"/>
                    <a:pt x="306325" y="353439"/>
                  </a:cubicBezTo>
                  <a:cubicBezTo>
                    <a:pt x="306325" y="358808"/>
                    <a:pt x="302023" y="363200"/>
                    <a:pt x="296547" y="363200"/>
                  </a:cubicBezTo>
                  <a:cubicBezTo>
                    <a:pt x="291170" y="363200"/>
                    <a:pt x="286770" y="358808"/>
                    <a:pt x="286770" y="353439"/>
                  </a:cubicBezTo>
                  <a:cubicBezTo>
                    <a:pt x="286770" y="279837"/>
                    <a:pt x="226835" y="219999"/>
                    <a:pt x="153211" y="219999"/>
                  </a:cubicBezTo>
                  <a:cubicBezTo>
                    <a:pt x="79490" y="219999"/>
                    <a:pt x="19554" y="279837"/>
                    <a:pt x="19554" y="353439"/>
                  </a:cubicBezTo>
                  <a:cubicBezTo>
                    <a:pt x="19554" y="358808"/>
                    <a:pt x="15155" y="363200"/>
                    <a:pt x="9777" y="363200"/>
                  </a:cubicBezTo>
                  <a:cubicBezTo>
                    <a:pt x="4400" y="363200"/>
                    <a:pt x="0" y="358808"/>
                    <a:pt x="0" y="353439"/>
                  </a:cubicBezTo>
                  <a:cubicBezTo>
                    <a:pt x="0" y="269099"/>
                    <a:pt x="68735" y="200476"/>
                    <a:pt x="153211" y="200476"/>
                  </a:cubicBezTo>
                  <a:close/>
                  <a:moveTo>
                    <a:pt x="368295" y="19531"/>
                  </a:moveTo>
                  <a:cubicBezTo>
                    <a:pt x="334085" y="19531"/>
                    <a:pt x="306326" y="47266"/>
                    <a:pt x="306326" y="81348"/>
                  </a:cubicBezTo>
                  <a:cubicBezTo>
                    <a:pt x="306326" y="115528"/>
                    <a:pt x="334085" y="143262"/>
                    <a:pt x="368295" y="143262"/>
                  </a:cubicBezTo>
                  <a:cubicBezTo>
                    <a:pt x="402407" y="143262"/>
                    <a:pt x="430165" y="115528"/>
                    <a:pt x="430165" y="81348"/>
                  </a:cubicBezTo>
                  <a:cubicBezTo>
                    <a:pt x="430165" y="47266"/>
                    <a:pt x="402407" y="19531"/>
                    <a:pt x="368295" y="19531"/>
                  </a:cubicBezTo>
                  <a:close/>
                  <a:moveTo>
                    <a:pt x="153211" y="19531"/>
                  </a:moveTo>
                  <a:cubicBezTo>
                    <a:pt x="119001" y="19531"/>
                    <a:pt x="91242" y="47266"/>
                    <a:pt x="91242" y="81348"/>
                  </a:cubicBezTo>
                  <a:cubicBezTo>
                    <a:pt x="91242" y="115528"/>
                    <a:pt x="119001" y="143262"/>
                    <a:pt x="153211" y="143262"/>
                  </a:cubicBezTo>
                  <a:cubicBezTo>
                    <a:pt x="187323" y="143262"/>
                    <a:pt x="215081" y="115528"/>
                    <a:pt x="215081" y="81348"/>
                  </a:cubicBezTo>
                  <a:cubicBezTo>
                    <a:pt x="215081" y="47266"/>
                    <a:pt x="187323" y="19531"/>
                    <a:pt x="153211" y="19531"/>
                  </a:cubicBezTo>
                  <a:close/>
                  <a:moveTo>
                    <a:pt x="368295" y="0"/>
                  </a:moveTo>
                  <a:cubicBezTo>
                    <a:pt x="413158" y="0"/>
                    <a:pt x="449714" y="36523"/>
                    <a:pt x="449714" y="81348"/>
                  </a:cubicBezTo>
                  <a:cubicBezTo>
                    <a:pt x="449714" y="126270"/>
                    <a:pt x="413158" y="162794"/>
                    <a:pt x="368295" y="162794"/>
                  </a:cubicBezTo>
                  <a:cubicBezTo>
                    <a:pt x="323333" y="162794"/>
                    <a:pt x="286778" y="126270"/>
                    <a:pt x="286778" y="81348"/>
                  </a:cubicBezTo>
                  <a:cubicBezTo>
                    <a:pt x="286778" y="36523"/>
                    <a:pt x="323333" y="0"/>
                    <a:pt x="368295" y="0"/>
                  </a:cubicBezTo>
                  <a:close/>
                  <a:moveTo>
                    <a:pt x="153211" y="0"/>
                  </a:moveTo>
                  <a:cubicBezTo>
                    <a:pt x="198074" y="0"/>
                    <a:pt x="234630" y="36523"/>
                    <a:pt x="234630" y="81348"/>
                  </a:cubicBezTo>
                  <a:cubicBezTo>
                    <a:pt x="234630" y="126270"/>
                    <a:pt x="198074" y="162794"/>
                    <a:pt x="153211" y="162794"/>
                  </a:cubicBezTo>
                  <a:cubicBezTo>
                    <a:pt x="108249" y="162794"/>
                    <a:pt x="71694" y="126270"/>
                    <a:pt x="71694" y="81348"/>
                  </a:cubicBezTo>
                  <a:cubicBezTo>
                    <a:pt x="71694" y="36523"/>
                    <a:pt x="108249" y="0"/>
                    <a:pt x="153211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3" name="iṡ1îḓe">
            <a:extLst>
              <a:ext uri="{FF2B5EF4-FFF2-40B4-BE49-F238E27FC236}">
                <a16:creationId xmlns:a16="http://schemas.microsoft.com/office/drawing/2014/main" id="{34C0483B-832A-46E1-B700-FA69EA82E554}"/>
              </a:ext>
            </a:extLst>
          </p:cNvPr>
          <p:cNvGrpSpPr/>
          <p:nvPr/>
        </p:nvGrpSpPr>
        <p:grpSpPr>
          <a:xfrm>
            <a:off x="769062" y="3743310"/>
            <a:ext cx="2746610" cy="970279"/>
            <a:chOff x="5159896" y="3071603"/>
            <a:chExt cx="2746610" cy="970279"/>
          </a:xfrm>
        </p:grpSpPr>
        <p:sp>
          <p:nvSpPr>
            <p:cNvPr id="16" name="íşliďé">
              <a:extLst>
                <a:ext uri="{FF2B5EF4-FFF2-40B4-BE49-F238E27FC236}">
                  <a16:creationId xmlns:a16="http://schemas.microsoft.com/office/drawing/2014/main" id="{ABA670F4-42EF-4513-A4DB-E47BF5722AC1}"/>
                </a:ext>
              </a:extLst>
            </p:cNvPr>
            <p:cNvSpPr/>
            <p:nvPr/>
          </p:nvSpPr>
          <p:spPr bwMode="auto">
            <a:xfrm>
              <a:off x="5798443" y="3484483"/>
              <a:ext cx="2108063" cy="5573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 fontScale="92500" lnSpcReduction="10000"/>
            </a:bodyPr>
            <a:lstStyle/>
            <a:p>
              <a:pPr>
                <a:lnSpc>
                  <a:spcPct val="120000"/>
                </a:lnSpc>
              </a:pPr>
              <a:r>
                <a:rPr lang="zh-CN" altLang="en-US" sz="10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0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îṥlïḋé">
              <a:extLst>
                <a:ext uri="{FF2B5EF4-FFF2-40B4-BE49-F238E27FC236}">
                  <a16:creationId xmlns:a16="http://schemas.microsoft.com/office/drawing/2014/main" id="{CAD20D6E-92C0-4F9A-80B7-7FFCE65A91A1}"/>
                </a:ext>
              </a:extLst>
            </p:cNvPr>
            <p:cNvSpPr txBox="1"/>
            <p:nvPr/>
          </p:nvSpPr>
          <p:spPr bwMode="auto">
            <a:xfrm>
              <a:off x="5798443" y="3071603"/>
              <a:ext cx="2108063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/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</a:p>
          </p:txBody>
        </p:sp>
        <p:sp>
          <p:nvSpPr>
            <p:cNvPr id="18" name="îšľïdé">
              <a:extLst>
                <a:ext uri="{FF2B5EF4-FFF2-40B4-BE49-F238E27FC236}">
                  <a16:creationId xmlns:a16="http://schemas.microsoft.com/office/drawing/2014/main" id="{86DDD793-FBFA-41EA-BFEC-4CBB44BB73D4}"/>
                </a:ext>
              </a:extLst>
            </p:cNvPr>
            <p:cNvSpPr/>
            <p:nvPr/>
          </p:nvSpPr>
          <p:spPr bwMode="auto">
            <a:xfrm>
              <a:off x="5159896" y="3237575"/>
              <a:ext cx="461080" cy="314632"/>
            </a:xfrm>
            <a:custGeom>
              <a:avLst/>
              <a:gdLst>
                <a:gd name="connsiteX0" fmla="*/ 20293 w 607639"/>
                <a:gd name="connsiteY0" fmla="*/ 364067 h 414642"/>
                <a:gd name="connsiteX1" fmla="*/ 20293 w 607639"/>
                <a:gd name="connsiteY1" fmla="*/ 384244 h 414642"/>
                <a:gd name="connsiteX2" fmla="*/ 30351 w 607639"/>
                <a:gd name="connsiteY2" fmla="*/ 394377 h 414642"/>
                <a:gd name="connsiteX3" fmla="*/ 577199 w 607639"/>
                <a:gd name="connsiteY3" fmla="*/ 394377 h 414642"/>
                <a:gd name="connsiteX4" fmla="*/ 587346 w 607639"/>
                <a:gd name="connsiteY4" fmla="*/ 384244 h 414642"/>
                <a:gd name="connsiteX5" fmla="*/ 587346 w 607639"/>
                <a:gd name="connsiteY5" fmla="*/ 364067 h 414642"/>
                <a:gd name="connsiteX6" fmla="*/ 556995 w 607639"/>
                <a:gd name="connsiteY6" fmla="*/ 364067 h 414642"/>
                <a:gd name="connsiteX7" fmla="*/ 394916 w 607639"/>
                <a:gd name="connsiteY7" fmla="*/ 364067 h 414642"/>
                <a:gd name="connsiteX8" fmla="*/ 394916 w 607639"/>
                <a:gd name="connsiteY8" fmla="*/ 374200 h 414642"/>
                <a:gd name="connsiteX9" fmla="*/ 384859 w 607639"/>
                <a:gd name="connsiteY9" fmla="*/ 384244 h 414642"/>
                <a:gd name="connsiteX10" fmla="*/ 222780 w 607639"/>
                <a:gd name="connsiteY10" fmla="*/ 384244 h 414642"/>
                <a:gd name="connsiteX11" fmla="*/ 212634 w 607639"/>
                <a:gd name="connsiteY11" fmla="*/ 374200 h 414642"/>
                <a:gd name="connsiteX12" fmla="*/ 212634 w 607639"/>
                <a:gd name="connsiteY12" fmla="*/ 364067 h 414642"/>
                <a:gd name="connsiteX13" fmla="*/ 50644 w 607639"/>
                <a:gd name="connsiteY13" fmla="*/ 364067 h 414642"/>
                <a:gd name="connsiteX14" fmla="*/ 141754 w 607639"/>
                <a:gd name="connsiteY14" fmla="*/ 232583 h 414642"/>
                <a:gd name="connsiteX15" fmla="*/ 161961 w 607639"/>
                <a:gd name="connsiteY15" fmla="*/ 232583 h 414642"/>
                <a:gd name="connsiteX16" fmla="*/ 172110 w 607639"/>
                <a:gd name="connsiteY16" fmla="*/ 242719 h 414642"/>
                <a:gd name="connsiteX17" fmla="*/ 161961 w 607639"/>
                <a:gd name="connsiteY17" fmla="*/ 252765 h 414642"/>
                <a:gd name="connsiteX18" fmla="*/ 141754 w 607639"/>
                <a:gd name="connsiteY18" fmla="*/ 252765 h 414642"/>
                <a:gd name="connsiteX19" fmla="*/ 131605 w 607639"/>
                <a:gd name="connsiteY19" fmla="*/ 242719 h 414642"/>
                <a:gd name="connsiteX20" fmla="*/ 141754 w 607639"/>
                <a:gd name="connsiteY20" fmla="*/ 232583 h 414642"/>
                <a:gd name="connsiteX21" fmla="*/ 141758 w 607639"/>
                <a:gd name="connsiteY21" fmla="*/ 192149 h 414642"/>
                <a:gd name="connsiteX22" fmla="*/ 182279 w 607639"/>
                <a:gd name="connsiteY22" fmla="*/ 192149 h 414642"/>
                <a:gd name="connsiteX23" fmla="*/ 192432 w 607639"/>
                <a:gd name="connsiteY23" fmla="*/ 202196 h 414642"/>
                <a:gd name="connsiteX24" fmla="*/ 182279 w 607639"/>
                <a:gd name="connsiteY24" fmla="*/ 212331 h 414642"/>
                <a:gd name="connsiteX25" fmla="*/ 141758 w 607639"/>
                <a:gd name="connsiteY25" fmla="*/ 212331 h 414642"/>
                <a:gd name="connsiteX26" fmla="*/ 131605 w 607639"/>
                <a:gd name="connsiteY26" fmla="*/ 202196 h 414642"/>
                <a:gd name="connsiteX27" fmla="*/ 141758 w 607639"/>
                <a:gd name="connsiteY27" fmla="*/ 192149 h 414642"/>
                <a:gd name="connsiteX28" fmla="*/ 141754 w 607639"/>
                <a:gd name="connsiteY28" fmla="*/ 151716 h 414642"/>
                <a:gd name="connsiteX29" fmla="*/ 161961 w 607639"/>
                <a:gd name="connsiteY29" fmla="*/ 151716 h 414642"/>
                <a:gd name="connsiteX30" fmla="*/ 172110 w 607639"/>
                <a:gd name="connsiteY30" fmla="*/ 161763 h 414642"/>
                <a:gd name="connsiteX31" fmla="*/ 161961 w 607639"/>
                <a:gd name="connsiteY31" fmla="*/ 171898 h 414642"/>
                <a:gd name="connsiteX32" fmla="*/ 141754 w 607639"/>
                <a:gd name="connsiteY32" fmla="*/ 171898 h 414642"/>
                <a:gd name="connsiteX33" fmla="*/ 131605 w 607639"/>
                <a:gd name="connsiteY33" fmla="*/ 161763 h 414642"/>
                <a:gd name="connsiteX34" fmla="*/ 141754 w 607639"/>
                <a:gd name="connsiteY34" fmla="*/ 151716 h 414642"/>
                <a:gd name="connsiteX35" fmla="*/ 141758 w 607639"/>
                <a:gd name="connsiteY35" fmla="*/ 111211 h 414642"/>
                <a:gd name="connsiteX36" fmla="*/ 182279 w 607639"/>
                <a:gd name="connsiteY36" fmla="*/ 111211 h 414642"/>
                <a:gd name="connsiteX37" fmla="*/ 192432 w 607639"/>
                <a:gd name="connsiteY37" fmla="*/ 121337 h 414642"/>
                <a:gd name="connsiteX38" fmla="*/ 182279 w 607639"/>
                <a:gd name="connsiteY38" fmla="*/ 131463 h 414642"/>
                <a:gd name="connsiteX39" fmla="*/ 141758 w 607639"/>
                <a:gd name="connsiteY39" fmla="*/ 131463 h 414642"/>
                <a:gd name="connsiteX40" fmla="*/ 131605 w 607639"/>
                <a:gd name="connsiteY40" fmla="*/ 121337 h 414642"/>
                <a:gd name="connsiteX41" fmla="*/ 141758 w 607639"/>
                <a:gd name="connsiteY41" fmla="*/ 111211 h 414642"/>
                <a:gd name="connsiteX42" fmla="*/ 425367 w 607639"/>
                <a:gd name="connsiteY42" fmla="*/ 101191 h 414642"/>
                <a:gd name="connsiteX43" fmla="*/ 496228 w 607639"/>
                <a:gd name="connsiteY43" fmla="*/ 101191 h 414642"/>
                <a:gd name="connsiteX44" fmla="*/ 506377 w 607639"/>
                <a:gd name="connsiteY44" fmla="*/ 111231 h 414642"/>
                <a:gd name="connsiteX45" fmla="*/ 506377 w 607639"/>
                <a:gd name="connsiteY45" fmla="*/ 182042 h 414642"/>
                <a:gd name="connsiteX46" fmla="*/ 496228 w 607639"/>
                <a:gd name="connsiteY46" fmla="*/ 192171 h 414642"/>
                <a:gd name="connsiteX47" fmla="*/ 486080 w 607639"/>
                <a:gd name="connsiteY47" fmla="*/ 182042 h 414642"/>
                <a:gd name="connsiteX48" fmla="*/ 486080 w 607639"/>
                <a:gd name="connsiteY48" fmla="*/ 135575 h 414642"/>
                <a:gd name="connsiteX49" fmla="*/ 402043 w 607639"/>
                <a:gd name="connsiteY49" fmla="*/ 219447 h 414642"/>
                <a:gd name="connsiteX50" fmla="*/ 394921 w 607639"/>
                <a:gd name="connsiteY50" fmla="*/ 222468 h 414642"/>
                <a:gd name="connsiteX51" fmla="*/ 387889 w 607639"/>
                <a:gd name="connsiteY51" fmla="*/ 219447 h 414642"/>
                <a:gd name="connsiteX52" fmla="*/ 344268 w 607639"/>
                <a:gd name="connsiteY52" fmla="*/ 176001 h 414642"/>
                <a:gd name="connsiteX53" fmla="*/ 270380 w 607639"/>
                <a:gd name="connsiteY53" fmla="*/ 249744 h 414642"/>
                <a:gd name="connsiteX54" fmla="*/ 263258 w 607639"/>
                <a:gd name="connsiteY54" fmla="*/ 252765 h 414642"/>
                <a:gd name="connsiteX55" fmla="*/ 256225 w 607639"/>
                <a:gd name="connsiteY55" fmla="*/ 249744 h 414642"/>
                <a:gd name="connsiteX56" fmla="*/ 256225 w 607639"/>
                <a:gd name="connsiteY56" fmla="*/ 235617 h 414642"/>
                <a:gd name="connsiteX57" fmla="*/ 337235 w 607639"/>
                <a:gd name="connsiteY57" fmla="*/ 154766 h 414642"/>
                <a:gd name="connsiteX58" fmla="*/ 338837 w 607639"/>
                <a:gd name="connsiteY58" fmla="*/ 153433 h 414642"/>
                <a:gd name="connsiteX59" fmla="*/ 340618 w 607639"/>
                <a:gd name="connsiteY59" fmla="*/ 152456 h 414642"/>
                <a:gd name="connsiteX60" fmla="*/ 341508 w 607639"/>
                <a:gd name="connsiteY60" fmla="*/ 152101 h 414642"/>
                <a:gd name="connsiteX61" fmla="*/ 343378 w 607639"/>
                <a:gd name="connsiteY61" fmla="*/ 151745 h 414642"/>
                <a:gd name="connsiteX62" fmla="*/ 344268 w 607639"/>
                <a:gd name="connsiteY62" fmla="*/ 151745 h 414642"/>
                <a:gd name="connsiteX63" fmla="*/ 346226 w 607639"/>
                <a:gd name="connsiteY63" fmla="*/ 151923 h 414642"/>
                <a:gd name="connsiteX64" fmla="*/ 351390 w 607639"/>
                <a:gd name="connsiteY64" fmla="*/ 154766 h 414642"/>
                <a:gd name="connsiteX65" fmla="*/ 394921 w 607639"/>
                <a:gd name="connsiteY65" fmla="*/ 198213 h 414642"/>
                <a:gd name="connsiteX66" fmla="*/ 471925 w 607639"/>
                <a:gd name="connsiteY66" fmla="*/ 121359 h 414642"/>
                <a:gd name="connsiteX67" fmla="*/ 425367 w 607639"/>
                <a:gd name="connsiteY67" fmla="*/ 121359 h 414642"/>
                <a:gd name="connsiteX68" fmla="*/ 415218 w 607639"/>
                <a:gd name="connsiteY68" fmla="*/ 111231 h 414642"/>
                <a:gd name="connsiteX69" fmla="*/ 425367 w 607639"/>
                <a:gd name="connsiteY69" fmla="*/ 101191 h 414642"/>
                <a:gd name="connsiteX70" fmla="*/ 101297 w 607639"/>
                <a:gd name="connsiteY70" fmla="*/ 91029 h 414642"/>
                <a:gd name="connsiteX71" fmla="*/ 111423 w 607639"/>
                <a:gd name="connsiteY71" fmla="*/ 101159 h 414642"/>
                <a:gd name="connsiteX72" fmla="*/ 111423 w 607639"/>
                <a:gd name="connsiteY72" fmla="*/ 262887 h 414642"/>
                <a:gd name="connsiteX73" fmla="*/ 101297 w 607639"/>
                <a:gd name="connsiteY73" fmla="*/ 273017 h 414642"/>
                <a:gd name="connsiteX74" fmla="*/ 91171 w 607639"/>
                <a:gd name="connsiteY74" fmla="*/ 262887 h 414642"/>
                <a:gd name="connsiteX75" fmla="*/ 91171 w 607639"/>
                <a:gd name="connsiteY75" fmla="*/ 101159 h 414642"/>
                <a:gd name="connsiteX76" fmla="*/ 101297 w 607639"/>
                <a:gd name="connsiteY76" fmla="*/ 91029 h 414642"/>
                <a:gd name="connsiteX77" fmla="*/ 70848 w 607639"/>
                <a:gd name="connsiteY77" fmla="*/ 20177 h 414642"/>
                <a:gd name="connsiteX78" fmla="*/ 60791 w 607639"/>
                <a:gd name="connsiteY78" fmla="*/ 30309 h 414642"/>
                <a:gd name="connsiteX79" fmla="*/ 60791 w 607639"/>
                <a:gd name="connsiteY79" fmla="*/ 343802 h 414642"/>
                <a:gd name="connsiteX80" fmla="*/ 222780 w 607639"/>
                <a:gd name="connsiteY80" fmla="*/ 343802 h 414642"/>
                <a:gd name="connsiteX81" fmla="*/ 232927 w 607639"/>
                <a:gd name="connsiteY81" fmla="*/ 353935 h 414642"/>
                <a:gd name="connsiteX82" fmla="*/ 232927 w 607639"/>
                <a:gd name="connsiteY82" fmla="*/ 364067 h 414642"/>
                <a:gd name="connsiteX83" fmla="*/ 374712 w 607639"/>
                <a:gd name="connsiteY83" fmla="*/ 364067 h 414642"/>
                <a:gd name="connsiteX84" fmla="*/ 374712 w 607639"/>
                <a:gd name="connsiteY84" fmla="*/ 353935 h 414642"/>
                <a:gd name="connsiteX85" fmla="*/ 384859 w 607639"/>
                <a:gd name="connsiteY85" fmla="*/ 343802 h 414642"/>
                <a:gd name="connsiteX86" fmla="*/ 546848 w 607639"/>
                <a:gd name="connsiteY86" fmla="*/ 343802 h 414642"/>
                <a:gd name="connsiteX87" fmla="*/ 546848 w 607639"/>
                <a:gd name="connsiteY87" fmla="*/ 30309 h 414642"/>
                <a:gd name="connsiteX88" fmla="*/ 536702 w 607639"/>
                <a:gd name="connsiteY88" fmla="*/ 20177 h 414642"/>
                <a:gd name="connsiteX89" fmla="*/ 70848 w 607639"/>
                <a:gd name="connsiteY89" fmla="*/ 0 h 414642"/>
                <a:gd name="connsiteX90" fmla="*/ 536702 w 607639"/>
                <a:gd name="connsiteY90" fmla="*/ 0 h 414642"/>
                <a:gd name="connsiteX91" fmla="*/ 567142 w 607639"/>
                <a:gd name="connsiteY91" fmla="*/ 30309 h 414642"/>
                <a:gd name="connsiteX92" fmla="*/ 567142 w 607639"/>
                <a:gd name="connsiteY92" fmla="*/ 343802 h 414642"/>
                <a:gd name="connsiteX93" fmla="*/ 597492 w 607639"/>
                <a:gd name="connsiteY93" fmla="*/ 343802 h 414642"/>
                <a:gd name="connsiteX94" fmla="*/ 607639 w 607639"/>
                <a:gd name="connsiteY94" fmla="*/ 353935 h 414642"/>
                <a:gd name="connsiteX95" fmla="*/ 607639 w 607639"/>
                <a:gd name="connsiteY95" fmla="*/ 384244 h 414642"/>
                <a:gd name="connsiteX96" fmla="*/ 577199 w 607639"/>
                <a:gd name="connsiteY96" fmla="*/ 414642 h 414642"/>
                <a:gd name="connsiteX97" fmla="*/ 30351 w 607639"/>
                <a:gd name="connsiteY97" fmla="*/ 414642 h 414642"/>
                <a:gd name="connsiteX98" fmla="*/ 0 w 607639"/>
                <a:gd name="connsiteY98" fmla="*/ 384244 h 414642"/>
                <a:gd name="connsiteX99" fmla="*/ 0 w 607639"/>
                <a:gd name="connsiteY99" fmla="*/ 353935 h 414642"/>
                <a:gd name="connsiteX100" fmla="*/ 10147 w 607639"/>
                <a:gd name="connsiteY100" fmla="*/ 343802 h 414642"/>
                <a:gd name="connsiteX101" fmla="*/ 40497 w 607639"/>
                <a:gd name="connsiteY101" fmla="*/ 343802 h 414642"/>
                <a:gd name="connsiteX102" fmla="*/ 40497 w 607639"/>
                <a:gd name="connsiteY102" fmla="*/ 30309 h 414642"/>
                <a:gd name="connsiteX103" fmla="*/ 70848 w 607639"/>
                <a:gd name="connsiteY103" fmla="*/ 0 h 414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607639" h="414642">
                  <a:moveTo>
                    <a:pt x="20293" y="364067"/>
                  </a:moveTo>
                  <a:lnTo>
                    <a:pt x="20293" y="384244"/>
                  </a:lnTo>
                  <a:cubicBezTo>
                    <a:pt x="20293" y="390377"/>
                    <a:pt x="24298" y="394377"/>
                    <a:pt x="30351" y="394377"/>
                  </a:cubicBezTo>
                  <a:lnTo>
                    <a:pt x="577199" y="394377"/>
                  </a:lnTo>
                  <a:cubicBezTo>
                    <a:pt x="583341" y="394377"/>
                    <a:pt x="587346" y="390377"/>
                    <a:pt x="587346" y="384244"/>
                  </a:cubicBezTo>
                  <a:lnTo>
                    <a:pt x="587346" y="364067"/>
                  </a:lnTo>
                  <a:lnTo>
                    <a:pt x="556995" y="364067"/>
                  </a:lnTo>
                  <a:lnTo>
                    <a:pt x="394916" y="364067"/>
                  </a:lnTo>
                  <a:lnTo>
                    <a:pt x="394916" y="374200"/>
                  </a:lnTo>
                  <a:cubicBezTo>
                    <a:pt x="394916" y="380244"/>
                    <a:pt x="390911" y="384244"/>
                    <a:pt x="384859" y="384244"/>
                  </a:cubicBezTo>
                  <a:lnTo>
                    <a:pt x="222780" y="384244"/>
                  </a:lnTo>
                  <a:cubicBezTo>
                    <a:pt x="216728" y="384244"/>
                    <a:pt x="212634" y="380244"/>
                    <a:pt x="212634" y="374200"/>
                  </a:cubicBezTo>
                  <a:lnTo>
                    <a:pt x="212634" y="364067"/>
                  </a:lnTo>
                  <a:lnTo>
                    <a:pt x="50644" y="364067"/>
                  </a:lnTo>
                  <a:close/>
                  <a:moveTo>
                    <a:pt x="141754" y="232583"/>
                  </a:moveTo>
                  <a:lnTo>
                    <a:pt x="161961" y="232583"/>
                  </a:lnTo>
                  <a:cubicBezTo>
                    <a:pt x="168104" y="232583"/>
                    <a:pt x="172110" y="236584"/>
                    <a:pt x="172110" y="242719"/>
                  </a:cubicBezTo>
                  <a:cubicBezTo>
                    <a:pt x="172110" y="248764"/>
                    <a:pt x="168104" y="252765"/>
                    <a:pt x="161961" y="252765"/>
                  </a:cubicBezTo>
                  <a:lnTo>
                    <a:pt x="141754" y="252765"/>
                  </a:lnTo>
                  <a:cubicBezTo>
                    <a:pt x="135700" y="252765"/>
                    <a:pt x="131605" y="248764"/>
                    <a:pt x="131605" y="242719"/>
                  </a:cubicBezTo>
                  <a:cubicBezTo>
                    <a:pt x="131605" y="236584"/>
                    <a:pt x="135700" y="232583"/>
                    <a:pt x="141754" y="232583"/>
                  </a:cubicBezTo>
                  <a:close/>
                  <a:moveTo>
                    <a:pt x="141758" y="192149"/>
                  </a:moveTo>
                  <a:lnTo>
                    <a:pt x="182279" y="192149"/>
                  </a:lnTo>
                  <a:cubicBezTo>
                    <a:pt x="188335" y="192149"/>
                    <a:pt x="192432" y="196150"/>
                    <a:pt x="192432" y="202196"/>
                  </a:cubicBezTo>
                  <a:cubicBezTo>
                    <a:pt x="192432" y="208330"/>
                    <a:pt x="188335" y="212331"/>
                    <a:pt x="182279" y="212331"/>
                  </a:cubicBezTo>
                  <a:lnTo>
                    <a:pt x="141758" y="212331"/>
                  </a:lnTo>
                  <a:cubicBezTo>
                    <a:pt x="135702" y="212331"/>
                    <a:pt x="131605" y="208330"/>
                    <a:pt x="131605" y="202196"/>
                  </a:cubicBezTo>
                  <a:cubicBezTo>
                    <a:pt x="131605" y="196150"/>
                    <a:pt x="135702" y="192149"/>
                    <a:pt x="141758" y="192149"/>
                  </a:cubicBezTo>
                  <a:close/>
                  <a:moveTo>
                    <a:pt x="141754" y="151716"/>
                  </a:moveTo>
                  <a:lnTo>
                    <a:pt x="161961" y="151716"/>
                  </a:lnTo>
                  <a:cubicBezTo>
                    <a:pt x="168104" y="151716"/>
                    <a:pt x="172110" y="155717"/>
                    <a:pt x="172110" y="161763"/>
                  </a:cubicBezTo>
                  <a:cubicBezTo>
                    <a:pt x="172110" y="167897"/>
                    <a:pt x="168104" y="171898"/>
                    <a:pt x="161961" y="171898"/>
                  </a:cubicBezTo>
                  <a:lnTo>
                    <a:pt x="141754" y="171898"/>
                  </a:lnTo>
                  <a:cubicBezTo>
                    <a:pt x="135700" y="171898"/>
                    <a:pt x="131605" y="167897"/>
                    <a:pt x="131605" y="161763"/>
                  </a:cubicBezTo>
                  <a:cubicBezTo>
                    <a:pt x="131605" y="155717"/>
                    <a:pt x="135700" y="151716"/>
                    <a:pt x="141754" y="151716"/>
                  </a:cubicBezTo>
                  <a:close/>
                  <a:moveTo>
                    <a:pt x="141758" y="111211"/>
                  </a:moveTo>
                  <a:lnTo>
                    <a:pt x="182279" y="111211"/>
                  </a:lnTo>
                  <a:cubicBezTo>
                    <a:pt x="188335" y="111211"/>
                    <a:pt x="192432" y="115297"/>
                    <a:pt x="192432" y="121337"/>
                  </a:cubicBezTo>
                  <a:cubicBezTo>
                    <a:pt x="192432" y="127377"/>
                    <a:pt x="188335" y="131463"/>
                    <a:pt x="182279" y="131463"/>
                  </a:cubicBezTo>
                  <a:lnTo>
                    <a:pt x="141758" y="131463"/>
                  </a:lnTo>
                  <a:cubicBezTo>
                    <a:pt x="135702" y="131463"/>
                    <a:pt x="131605" y="127377"/>
                    <a:pt x="131605" y="121337"/>
                  </a:cubicBezTo>
                  <a:cubicBezTo>
                    <a:pt x="131605" y="115297"/>
                    <a:pt x="135702" y="111211"/>
                    <a:pt x="141758" y="111211"/>
                  </a:cubicBezTo>
                  <a:close/>
                  <a:moveTo>
                    <a:pt x="425367" y="101191"/>
                  </a:moveTo>
                  <a:lnTo>
                    <a:pt x="496228" y="101191"/>
                  </a:lnTo>
                  <a:cubicBezTo>
                    <a:pt x="502282" y="101191"/>
                    <a:pt x="506377" y="105189"/>
                    <a:pt x="506377" y="111231"/>
                  </a:cubicBezTo>
                  <a:lnTo>
                    <a:pt x="506377" y="182042"/>
                  </a:lnTo>
                  <a:cubicBezTo>
                    <a:pt x="506377" y="188084"/>
                    <a:pt x="502282" y="192171"/>
                    <a:pt x="496228" y="192171"/>
                  </a:cubicBezTo>
                  <a:cubicBezTo>
                    <a:pt x="490175" y="192171"/>
                    <a:pt x="486080" y="188084"/>
                    <a:pt x="486080" y="182042"/>
                  </a:cubicBezTo>
                  <a:lnTo>
                    <a:pt x="486080" y="135575"/>
                  </a:lnTo>
                  <a:lnTo>
                    <a:pt x="402043" y="219447"/>
                  </a:lnTo>
                  <a:cubicBezTo>
                    <a:pt x="399996" y="221491"/>
                    <a:pt x="397948" y="222468"/>
                    <a:pt x="394921" y="222468"/>
                  </a:cubicBezTo>
                  <a:cubicBezTo>
                    <a:pt x="391895" y="222468"/>
                    <a:pt x="389847" y="221491"/>
                    <a:pt x="387889" y="219447"/>
                  </a:cubicBezTo>
                  <a:lnTo>
                    <a:pt x="344268" y="176001"/>
                  </a:lnTo>
                  <a:lnTo>
                    <a:pt x="270380" y="249744"/>
                  </a:lnTo>
                  <a:cubicBezTo>
                    <a:pt x="268332" y="251788"/>
                    <a:pt x="266285" y="252765"/>
                    <a:pt x="263258" y="252765"/>
                  </a:cubicBezTo>
                  <a:cubicBezTo>
                    <a:pt x="260231" y="252765"/>
                    <a:pt x="258184" y="251788"/>
                    <a:pt x="256225" y="249744"/>
                  </a:cubicBezTo>
                  <a:cubicBezTo>
                    <a:pt x="252130" y="245746"/>
                    <a:pt x="252130" y="239616"/>
                    <a:pt x="256225" y="235617"/>
                  </a:cubicBezTo>
                  <a:lnTo>
                    <a:pt x="337235" y="154766"/>
                  </a:lnTo>
                  <a:cubicBezTo>
                    <a:pt x="337769" y="154233"/>
                    <a:pt x="338303" y="153789"/>
                    <a:pt x="338837" y="153433"/>
                  </a:cubicBezTo>
                  <a:cubicBezTo>
                    <a:pt x="339372" y="152989"/>
                    <a:pt x="339995" y="152723"/>
                    <a:pt x="340618" y="152456"/>
                  </a:cubicBezTo>
                  <a:cubicBezTo>
                    <a:pt x="340885" y="152367"/>
                    <a:pt x="341152" y="152190"/>
                    <a:pt x="341508" y="152101"/>
                  </a:cubicBezTo>
                  <a:cubicBezTo>
                    <a:pt x="342131" y="151923"/>
                    <a:pt x="342754" y="151834"/>
                    <a:pt x="343378" y="151745"/>
                  </a:cubicBezTo>
                  <a:cubicBezTo>
                    <a:pt x="343645" y="151745"/>
                    <a:pt x="344001" y="151745"/>
                    <a:pt x="344268" y="151745"/>
                  </a:cubicBezTo>
                  <a:cubicBezTo>
                    <a:pt x="344980" y="151745"/>
                    <a:pt x="345603" y="151745"/>
                    <a:pt x="346226" y="151923"/>
                  </a:cubicBezTo>
                  <a:cubicBezTo>
                    <a:pt x="348096" y="152278"/>
                    <a:pt x="349876" y="153256"/>
                    <a:pt x="351390" y="154766"/>
                  </a:cubicBezTo>
                  <a:lnTo>
                    <a:pt x="394921" y="198213"/>
                  </a:lnTo>
                  <a:lnTo>
                    <a:pt x="471925" y="121359"/>
                  </a:lnTo>
                  <a:lnTo>
                    <a:pt x="425367" y="121359"/>
                  </a:lnTo>
                  <a:cubicBezTo>
                    <a:pt x="419224" y="121359"/>
                    <a:pt x="415218" y="117361"/>
                    <a:pt x="415218" y="111231"/>
                  </a:cubicBezTo>
                  <a:cubicBezTo>
                    <a:pt x="415218" y="105189"/>
                    <a:pt x="419224" y="101191"/>
                    <a:pt x="425367" y="101191"/>
                  </a:cubicBezTo>
                  <a:close/>
                  <a:moveTo>
                    <a:pt x="101297" y="91029"/>
                  </a:moveTo>
                  <a:cubicBezTo>
                    <a:pt x="107337" y="91029"/>
                    <a:pt x="111423" y="95028"/>
                    <a:pt x="111423" y="101159"/>
                  </a:cubicBezTo>
                  <a:lnTo>
                    <a:pt x="111423" y="262887"/>
                  </a:lnTo>
                  <a:cubicBezTo>
                    <a:pt x="111423" y="268929"/>
                    <a:pt x="107337" y="273017"/>
                    <a:pt x="101297" y="273017"/>
                  </a:cubicBezTo>
                  <a:cubicBezTo>
                    <a:pt x="95257" y="273017"/>
                    <a:pt x="91171" y="268929"/>
                    <a:pt x="91171" y="262887"/>
                  </a:cubicBezTo>
                  <a:lnTo>
                    <a:pt x="91171" y="101159"/>
                  </a:lnTo>
                  <a:cubicBezTo>
                    <a:pt x="91171" y="95028"/>
                    <a:pt x="95257" y="91029"/>
                    <a:pt x="101297" y="91029"/>
                  </a:cubicBezTo>
                  <a:close/>
                  <a:moveTo>
                    <a:pt x="70848" y="20177"/>
                  </a:moveTo>
                  <a:cubicBezTo>
                    <a:pt x="64796" y="20177"/>
                    <a:pt x="60791" y="24265"/>
                    <a:pt x="60791" y="30309"/>
                  </a:cubicBezTo>
                  <a:lnTo>
                    <a:pt x="60791" y="343802"/>
                  </a:lnTo>
                  <a:lnTo>
                    <a:pt x="222780" y="343802"/>
                  </a:lnTo>
                  <a:cubicBezTo>
                    <a:pt x="228833" y="343802"/>
                    <a:pt x="232927" y="347890"/>
                    <a:pt x="232927" y="353935"/>
                  </a:cubicBezTo>
                  <a:lnTo>
                    <a:pt x="232927" y="364067"/>
                  </a:lnTo>
                  <a:lnTo>
                    <a:pt x="374712" y="364067"/>
                  </a:lnTo>
                  <a:lnTo>
                    <a:pt x="374712" y="353935"/>
                  </a:lnTo>
                  <a:cubicBezTo>
                    <a:pt x="374712" y="347890"/>
                    <a:pt x="378717" y="343802"/>
                    <a:pt x="384859" y="343802"/>
                  </a:cubicBezTo>
                  <a:lnTo>
                    <a:pt x="546848" y="343802"/>
                  </a:lnTo>
                  <a:lnTo>
                    <a:pt x="546848" y="30309"/>
                  </a:lnTo>
                  <a:cubicBezTo>
                    <a:pt x="546848" y="24265"/>
                    <a:pt x="542754" y="20177"/>
                    <a:pt x="536702" y="20177"/>
                  </a:cubicBezTo>
                  <a:close/>
                  <a:moveTo>
                    <a:pt x="70848" y="0"/>
                  </a:moveTo>
                  <a:lnTo>
                    <a:pt x="536702" y="0"/>
                  </a:lnTo>
                  <a:cubicBezTo>
                    <a:pt x="553969" y="0"/>
                    <a:pt x="567142" y="13155"/>
                    <a:pt x="567142" y="30309"/>
                  </a:cubicBezTo>
                  <a:lnTo>
                    <a:pt x="567142" y="343802"/>
                  </a:lnTo>
                  <a:lnTo>
                    <a:pt x="597492" y="343802"/>
                  </a:lnTo>
                  <a:cubicBezTo>
                    <a:pt x="603545" y="343802"/>
                    <a:pt x="607639" y="347890"/>
                    <a:pt x="607639" y="353935"/>
                  </a:cubicBezTo>
                  <a:lnTo>
                    <a:pt x="607639" y="384244"/>
                  </a:lnTo>
                  <a:cubicBezTo>
                    <a:pt x="607639" y="401487"/>
                    <a:pt x="594466" y="414642"/>
                    <a:pt x="577199" y="414642"/>
                  </a:cubicBezTo>
                  <a:lnTo>
                    <a:pt x="30351" y="414642"/>
                  </a:lnTo>
                  <a:cubicBezTo>
                    <a:pt x="13173" y="414642"/>
                    <a:pt x="0" y="401487"/>
                    <a:pt x="0" y="384244"/>
                  </a:cubicBezTo>
                  <a:lnTo>
                    <a:pt x="0" y="353935"/>
                  </a:lnTo>
                  <a:cubicBezTo>
                    <a:pt x="0" y="347890"/>
                    <a:pt x="4094" y="343802"/>
                    <a:pt x="10147" y="343802"/>
                  </a:cubicBezTo>
                  <a:lnTo>
                    <a:pt x="40497" y="343802"/>
                  </a:lnTo>
                  <a:lnTo>
                    <a:pt x="40497" y="30309"/>
                  </a:lnTo>
                  <a:cubicBezTo>
                    <a:pt x="40497" y="13155"/>
                    <a:pt x="53670" y="0"/>
                    <a:pt x="7084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73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250"/>
                            </p:stCondLst>
                            <p:childTnLst>
                              <p:par>
                                <p:cTn id="3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000"/>
                            </p:stCondLst>
                            <p:childTnLst>
                              <p:par>
                                <p:cTn id="3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750"/>
                            </p:stCondLst>
                            <p:childTnLst>
                              <p:par>
                                <p:cTn id="4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500"/>
                            </p:stCondLst>
                            <p:childTnLst>
                              <p:par>
                                <p:cTn id="4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9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28653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Main busines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2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5" name="îṩľîḓè">
            <a:extLst>
              <a:ext uri="{FF2B5EF4-FFF2-40B4-BE49-F238E27FC236}">
                <a16:creationId xmlns:a16="http://schemas.microsoft.com/office/drawing/2014/main" id="{1A6AC892-A37A-4310-903A-8F33889CFAF2}"/>
              </a:ext>
            </a:extLst>
          </p:cNvPr>
          <p:cNvSpPr/>
          <p:nvPr/>
        </p:nvSpPr>
        <p:spPr bwMode="auto">
          <a:xfrm>
            <a:off x="2801633" y="1405472"/>
            <a:ext cx="6588732" cy="3555384"/>
          </a:xfrm>
          <a:custGeom>
            <a:avLst/>
            <a:gdLst>
              <a:gd name="T0" fmla="*/ 6611938 w 21596"/>
              <a:gd name="T1" fmla="*/ 3568732 h 21597"/>
              <a:gd name="T2" fmla="*/ 6611938 w 21596"/>
              <a:gd name="T3" fmla="*/ 3568732 h 21597"/>
              <a:gd name="T4" fmla="*/ 6611938 w 21596"/>
              <a:gd name="T5" fmla="*/ 3568732 h 21597"/>
              <a:gd name="T6" fmla="*/ 6611938 w 21596"/>
              <a:gd name="T7" fmla="*/ 3568732 h 21597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96" h="21597">
                <a:moveTo>
                  <a:pt x="7764" y="1"/>
                </a:moveTo>
                <a:cubicBezTo>
                  <a:pt x="7757" y="6"/>
                  <a:pt x="7757" y="19"/>
                  <a:pt x="7749" y="24"/>
                </a:cubicBezTo>
                <a:cubicBezTo>
                  <a:pt x="7734" y="22"/>
                  <a:pt x="7728" y="6"/>
                  <a:pt x="7712" y="6"/>
                </a:cubicBezTo>
                <a:cubicBezTo>
                  <a:pt x="7675" y="6"/>
                  <a:pt x="7631" y="35"/>
                  <a:pt x="7606" y="55"/>
                </a:cubicBezTo>
                <a:cubicBezTo>
                  <a:pt x="7600" y="60"/>
                  <a:pt x="7583" y="69"/>
                  <a:pt x="7580" y="77"/>
                </a:cubicBezTo>
                <a:cubicBezTo>
                  <a:pt x="7577" y="85"/>
                  <a:pt x="7584" y="101"/>
                  <a:pt x="7587" y="108"/>
                </a:cubicBezTo>
                <a:cubicBezTo>
                  <a:pt x="7577" y="104"/>
                  <a:pt x="7570" y="100"/>
                  <a:pt x="7558" y="100"/>
                </a:cubicBezTo>
                <a:cubicBezTo>
                  <a:pt x="7559" y="107"/>
                  <a:pt x="7560" y="114"/>
                  <a:pt x="7560" y="120"/>
                </a:cubicBezTo>
                <a:cubicBezTo>
                  <a:pt x="7556" y="123"/>
                  <a:pt x="7550" y="117"/>
                  <a:pt x="7546" y="122"/>
                </a:cubicBezTo>
                <a:cubicBezTo>
                  <a:pt x="7534" y="137"/>
                  <a:pt x="7566" y="164"/>
                  <a:pt x="7571" y="169"/>
                </a:cubicBezTo>
                <a:cubicBezTo>
                  <a:pt x="7568" y="173"/>
                  <a:pt x="7565" y="177"/>
                  <a:pt x="7562" y="180"/>
                </a:cubicBezTo>
                <a:cubicBezTo>
                  <a:pt x="7548" y="200"/>
                  <a:pt x="7549" y="213"/>
                  <a:pt x="7557" y="241"/>
                </a:cubicBezTo>
                <a:cubicBezTo>
                  <a:pt x="7557" y="242"/>
                  <a:pt x="7556" y="241"/>
                  <a:pt x="7556" y="241"/>
                </a:cubicBezTo>
                <a:cubicBezTo>
                  <a:pt x="7550" y="240"/>
                  <a:pt x="7547" y="233"/>
                  <a:pt x="7540" y="232"/>
                </a:cubicBezTo>
                <a:cubicBezTo>
                  <a:pt x="7533" y="231"/>
                  <a:pt x="7524" y="237"/>
                  <a:pt x="7515" y="238"/>
                </a:cubicBezTo>
                <a:cubicBezTo>
                  <a:pt x="7503" y="240"/>
                  <a:pt x="7490" y="234"/>
                  <a:pt x="7483" y="225"/>
                </a:cubicBezTo>
                <a:cubicBezTo>
                  <a:pt x="7482" y="215"/>
                  <a:pt x="7485" y="212"/>
                  <a:pt x="7485" y="205"/>
                </a:cubicBezTo>
                <a:cubicBezTo>
                  <a:pt x="7485" y="191"/>
                  <a:pt x="7465" y="192"/>
                  <a:pt x="7458" y="190"/>
                </a:cubicBezTo>
                <a:cubicBezTo>
                  <a:pt x="7457" y="195"/>
                  <a:pt x="7462" y="205"/>
                  <a:pt x="7461" y="211"/>
                </a:cubicBezTo>
                <a:cubicBezTo>
                  <a:pt x="7460" y="216"/>
                  <a:pt x="7455" y="220"/>
                  <a:pt x="7449" y="220"/>
                </a:cubicBezTo>
                <a:cubicBezTo>
                  <a:pt x="7442" y="220"/>
                  <a:pt x="7431" y="213"/>
                  <a:pt x="7423" y="220"/>
                </a:cubicBezTo>
                <a:cubicBezTo>
                  <a:pt x="7421" y="222"/>
                  <a:pt x="7420" y="226"/>
                  <a:pt x="7418" y="228"/>
                </a:cubicBezTo>
                <a:cubicBezTo>
                  <a:pt x="7415" y="229"/>
                  <a:pt x="7412" y="230"/>
                  <a:pt x="7409" y="231"/>
                </a:cubicBezTo>
                <a:cubicBezTo>
                  <a:pt x="7391" y="249"/>
                  <a:pt x="7435" y="261"/>
                  <a:pt x="7443" y="261"/>
                </a:cubicBezTo>
                <a:cubicBezTo>
                  <a:pt x="7443" y="261"/>
                  <a:pt x="7443" y="261"/>
                  <a:pt x="7443" y="262"/>
                </a:cubicBezTo>
                <a:cubicBezTo>
                  <a:pt x="7443" y="263"/>
                  <a:pt x="7443" y="264"/>
                  <a:pt x="7442" y="264"/>
                </a:cubicBezTo>
                <a:cubicBezTo>
                  <a:pt x="7431" y="274"/>
                  <a:pt x="7411" y="267"/>
                  <a:pt x="7405" y="262"/>
                </a:cubicBezTo>
                <a:cubicBezTo>
                  <a:pt x="7402" y="258"/>
                  <a:pt x="7398" y="256"/>
                  <a:pt x="7395" y="252"/>
                </a:cubicBezTo>
                <a:cubicBezTo>
                  <a:pt x="7389" y="251"/>
                  <a:pt x="7376" y="267"/>
                  <a:pt x="7372" y="271"/>
                </a:cubicBezTo>
                <a:cubicBezTo>
                  <a:pt x="7383" y="273"/>
                  <a:pt x="7393" y="274"/>
                  <a:pt x="7403" y="275"/>
                </a:cubicBezTo>
                <a:cubicBezTo>
                  <a:pt x="7416" y="279"/>
                  <a:pt x="7426" y="290"/>
                  <a:pt x="7442" y="289"/>
                </a:cubicBezTo>
                <a:cubicBezTo>
                  <a:pt x="7454" y="289"/>
                  <a:pt x="7468" y="279"/>
                  <a:pt x="7481" y="277"/>
                </a:cubicBezTo>
                <a:cubicBezTo>
                  <a:pt x="7499" y="275"/>
                  <a:pt x="7531" y="288"/>
                  <a:pt x="7536" y="310"/>
                </a:cubicBezTo>
                <a:cubicBezTo>
                  <a:pt x="7527" y="321"/>
                  <a:pt x="7519" y="329"/>
                  <a:pt x="7508" y="340"/>
                </a:cubicBezTo>
                <a:cubicBezTo>
                  <a:pt x="7508" y="340"/>
                  <a:pt x="7508" y="340"/>
                  <a:pt x="7508" y="340"/>
                </a:cubicBezTo>
                <a:cubicBezTo>
                  <a:pt x="7505" y="331"/>
                  <a:pt x="7502" y="317"/>
                  <a:pt x="7497" y="312"/>
                </a:cubicBezTo>
                <a:cubicBezTo>
                  <a:pt x="7492" y="307"/>
                  <a:pt x="7483" y="312"/>
                  <a:pt x="7475" y="311"/>
                </a:cubicBezTo>
                <a:cubicBezTo>
                  <a:pt x="7457" y="309"/>
                  <a:pt x="7425" y="300"/>
                  <a:pt x="7405" y="311"/>
                </a:cubicBezTo>
                <a:cubicBezTo>
                  <a:pt x="7402" y="324"/>
                  <a:pt x="7416" y="330"/>
                  <a:pt x="7421" y="336"/>
                </a:cubicBezTo>
                <a:cubicBezTo>
                  <a:pt x="7432" y="351"/>
                  <a:pt x="7441" y="372"/>
                  <a:pt x="7455" y="384"/>
                </a:cubicBezTo>
                <a:cubicBezTo>
                  <a:pt x="7463" y="392"/>
                  <a:pt x="7476" y="391"/>
                  <a:pt x="7484" y="400"/>
                </a:cubicBezTo>
                <a:cubicBezTo>
                  <a:pt x="7480" y="403"/>
                  <a:pt x="7477" y="406"/>
                  <a:pt x="7474" y="408"/>
                </a:cubicBezTo>
                <a:cubicBezTo>
                  <a:pt x="7467" y="418"/>
                  <a:pt x="7455" y="473"/>
                  <a:pt x="7455" y="488"/>
                </a:cubicBezTo>
                <a:cubicBezTo>
                  <a:pt x="7455" y="493"/>
                  <a:pt x="7458" y="496"/>
                  <a:pt x="7457" y="502"/>
                </a:cubicBezTo>
                <a:cubicBezTo>
                  <a:pt x="7456" y="505"/>
                  <a:pt x="7457" y="504"/>
                  <a:pt x="7455" y="504"/>
                </a:cubicBezTo>
                <a:cubicBezTo>
                  <a:pt x="7455" y="510"/>
                  <a:pt x="7451" y="519"/>
                  <a:pt x="7448" y="522"/>
                </a:cubicBezTo>
                <a:cubicBezTo>
                  <a:pt x="7447" y="523"/>
                  <a:pt x="7447" y="524"/>
                  <a:pt x="7447" y="525"/>
                </a:cubicBezTo>
                <a:cubicBezTo>
                  <a:pt x="7429" y="517"/>
                  <a:pt x="7412" y="479"/>
                  <a:pt x="7397" y="462"/>
                </a:cubicBezTo>
                <a:cubicBezTo>
                  <a:pt x="7388" y="451"/>
                  <a:pt x="7377" y="452"/>
                  <a:pt x="7368" y="443"/>
                </a:cubicBezTo>
                <a:cubicBezTo>
                  <a:pt x="7362" y="438"/>
                  <a:pt x="7356" y="432"/>
                  <a:pt x="7350" y="426"/>
                </a:cubicBezTo>
                <a:cubicBezTo>
                  <a:pt x="7346" y="425"/>
                  <a:pt x="7342" y="425"/>
                  <a:pt x="7339" y="423"/>
                </a:cubicBezTo>
                <a:cubicBezTo>
                  <a:pt x="7330" y="414"/>
                  <a:pt x="7322" y="381"/>
                  <a:pt x="7304" y="396"/>
                </a:cubicBezTo>
                <a:cubicBezTo>
                  <a:pt x="7290" y="406"/>
                  <a:pt x="7274" y="459"/>
                  <a:pt x="7289" y="482"/>
                </a:cubicBezTo>
                <a:cubicBezTo>
                  <a:pt x="7298" y="496"/>
                  <a:pt x="7322" y="494"/>
                  <a:pt x="7318" y="521"/>
                </a:cubicBezTo>
                <a:cubicBezTo>
                  <a:pt x="7310" y="533"/>
                  <a:pt x="7298" y="520"/>
                  <a:pt x="7286" y="521"/>
                </a:cubicBezTo>
                <a:cubicBezTo>
                  <a:pt x="7291" y="530"/>
                  <a:pt x="7295" y="539"/>
                  <a:pt x="7301" y="546"/>
                </a:cubicBezTo>
                <a:cubicBezTo>
                  <a:pt x="7307" y="553"/>
                  <a:pt x="7315" y="560"/>
                  <a:pt x="7318" y="571"/>
                </a:cubicBezTo>
                <a:cubicBezTo>
                  <a:pt x="7315" y="574"/>
                  <a:pt x="7311" y="578"/>
                  <a:pt x="7308" y="581"/>
                </a:cubicBezTo>
                <a:cubicBezTo>
                  <a:pt x="7307" y="582"/>
                  <a:pt x="7307" y="584"/>
                  <a:pt x="7307" y="585"/>
                </a:cubicBezTo>
                <a:cubicBezTo>
                  <a:pt x="7289" y="559"/>
                  <a:pt x="7263" y="514"/>
                  <a:pt x="7235" y="510"/>
                </a:cubicBezTo>
                <a:cubicBezTo>
                  <a:pt x="7231" y="516"/>
                  <a:pt x="7233" y="526"/>
                  <a:pt x="7228" y="531"/>
                </a:cubicBezTo>
                <a:cubicBezTo>
                  <a:pt x="7228" y="531"/>
                  <a:pt x="7227" y="530"/>
                  <a:pt x="7226" y="531"/>
                </a:cubicBezTo>
                <a:cubicBezTo>
                  <a:pt x="7215" y="508"/>
                  <a:pt x="7206" y="394"/>
                  <a:pt x="7171" y="447"/>
                </a:cubicBezTo>
                <a:cubicBezTo>
                  <a:pt x="7170" y="455"/>
                  <a:pt x="7173" y="464"/>
                  <a:pt x="7175" y="472"/>
                </a:cubicBezTo>
                <a:cubicBezTo>
                  <a:pt x="7158" y="476"/>
                  <a:pt x="7152" y="463"/>
                  <a:pt x="7138" y="462"/>
                </a:cubicBezTo>
                <a:cubicBezTo>
                  <a:pt x="7134" y="465"/>
                  <a:pt x="7130" y="466"/>
                  <a:pt x="7126" y="468"/>
                </a:cubicBezTo>
                <a:cubicBezTo>
                  <a:pt x="7115" y="475"/>
                  <a:pt x="7105" y="479"/>
                  <a:pt x="7097" y="486"/>
                </a:cubicBezTo>
                <a:cubicBezTo>
                  <a:pt x="7087" y="495"/>
                  <a:pt x="7079" y="506"/>
                  <a:pt x="7066" y="512"/>
                </a:cubicBezTo>
                <a:cubicBezTo>
                  <a:pt x="7065" y="512"/>
                  <a:pt x="7065" y="513"/>
                  <a:pt x="7065" y="513"/>
                </a:cubicBezTo>
                <a:cubicBezTo>
                  <a:pt x="7072" y="528"/>
                  <a:pt x="7080" y="543"/>
                  <a:pt x="7088" y="557"/>
                </a:cubicBezTo>
                <a:cubicBezTo>
                  <a:pt x="7092" y="570"/>
                  <a:pt x="7084" y="578"/>
                  <a:pt x="7092" y="593"/>
                </a:cubicBezTo>
                <a:cubicBezTo>
                  <a:pt x="7092" y="595"/>
                  <a:pt x="7092" y="597"/>
                  <a:pt x="7093" y="599"/>
                </a:cubicBezTo>
                <a:cubicBezTo>
                  <a:pt x="7068" y="601"/>
                  <a:pt x="7076" y="540"/>
                  <a:pt x="7054" y="531"/>
                </a:cubicBezTo>
                <a:cubicBezTo>
                  <a:pt x="7047" y="528"/>
                  <a:pt x="7033" y="532"/>
                  <a:pt x="7027" y="539"/>
                </a:cubicBezTo>
                <a:cubicBezTo>
                  <a:pt x="7022" y="547"/>
                  <a:pt x="7005" y="601"/>
                  <a:pt x="7005" y="613"/>
                </a:cubicBezTo>
                <a:cubicBezTo>
                  <a:pt x="7009" y="616"/>
                  <a:pt x="7012" y="618"/>
                  <a:pt x="7015" y="621"/>
                </a:cubicBezTo>
                <a:cubicBezTo>
                  <a:pt x="7016" y="633"/>
                  <a:pt x="7002" y="654"/>
                  <a:pt x="6994" y="661"/>
                </a:cubicBezTo>
                <a:cubicBezTo>
                  <a:pt x="6995" y="664"/>
                  <a:pt x="6998" y="670"/>
                  <a:pt x="6998" y="677"/>
                </a:cubicBezTo>
                <a:cubicBezTo>
                  <a:pt x="6998" y="687"/>
                  <a:pt x="7002" y="693"/>
                  <a:pt x="6999" y="700"/>
                </a:cubicBezTo>
                <a:cubicBezTo>
                  <a:pt x="6995" y="708"/>
                  <a:pt x="6981" y="709"/>
                  <a:pt x="6974" y="709"/>
                </a:cubicBezTo>
                <a:cubicBezTo>
                  <a:pt x="6958" y="706"/>
                  <a:pt x="6942" y="690"/>
                  <a:pt x="6922" y="697"/>
                </a:cubicBezTo>
                <a:cubicBezTo>
                  <a:pt x="6919" y="703"/>
                  <a:pt x="6917" y="710"/>
                  <a:pt x="6914" y="716"/>
                </a:cubicBezTo>
                <a:cubicBezTo>
                  <a:pt x="6909" y="722"/>
                  <a:pt x="6891" y="726"/>
                  <a:pt x="6885" y="730"/>
                </a:cubicBezTo>
                <a:cubicBezTo>
                  <a:pt x="6881" y="746"/>
                  <a:pt x="6871" y="760"/>
                  <a:pt x="6860" y="772"/>
                </a:cubicBezTo>
                <a:cubicBezTo>
                  <a:pt x="6855" y="765"/>
                  <a:pt x="6849" y="758"/>
                  <a:pt x="6844" y="751"/>
                </a:cubicBezTo>
                <a:cubicBezTo>
                  <a:pt x="6827" y="750"/>
                  <a:pt x="6809" y="749"/>
                  <a:pt x="6792" y="748"/>
                </a:cubicBezTo>
                <a:cubicBezTo>
                  <a:pt x="6776" y="735"/>
                  <a:pt x="6761" y="723"/>
                  <a:pt x="6745" y="710"/>
                </a:cubicBezTo>
                <a:cubicBezTo>
                  <a:pt x="6731" y="707"/>
                  <a:pt x="6717" y="704"/>
                  <a:pt x="6703" y="700"/>
                </a:cubicBezTo>
                <a:cubicBezTo>
                  <a:pt x="6687" y="692"/>
                  <a:pt x="6672" y="683"/>
                  <a:pt x="6657" y="674"/>
                </a:cubicBezTo>
                <a:cubicBezTo>
                  <a:pt x="6622" y="674"/>
                  <a:pt x="6588" y="674"/>
                  <a:pt x="6553" y="674"/>
                </a:cubicBezTo>
                <a:cubicBezTo>
                  <a:pt x="6537" y="677"/>
                  <a:pt x="6521" y="681"/>
                  <a:pt x="6506" y="685"/>
                </a:cubicBezTo>
                <a:cubicBezTo>
                  <a:pt x="6437" y="664"/>
                  <a:pt x="6366" y="581"/>
                  <a:pt x="6292" y="602"/>
                </a:cubicBezTo>
                <a:cubicBezTo>
                  <a:pt x="6295" y="636"/>
                  <a:pt x="6302" y="663"/>
                  <a:pt x="6303" y="703"/>
                </a:cubicBezTo>
                <a:cubicBezTo>
                  <a:pt x="6298" y="703"/>
                  <a:pt x="6292" y="703"/>
                  <a:pt x="6287" y="703"/>
                </a:cubicBezTo>
                <a:cubicBezTo>
                  <a:pt x="6271" y="675"/>
                  <a:pt x="6255" y="648"/>
                  <a:pt x="6239" y="621"/>
                </a:cubicBezTo>
                <a:cubicBezTo>
                  <a:pt x="6208" y="619"/>
                  <a:pt x="6177" y="617"/>
                  <a:pt x="6146" y="615"/>
                </a:cubicBezTo>
                <a:cubicBezTo>
                  <a:pt x="6146" y="616"/>
                  <a:pt x="6146" y="616"/>
                  <a:pt x="6145" y="617"/>
                </a:cubicBezTo>
                <a:cubicBezTo>
                  <a:pt x="6151" y="648"/>
                  <a:pt x="6155" y="676"/>
                  <a:pt x="6154" y="712"/>
                </a:cubicBezTo>
                <a:cubicBezTo>
                  <a:pt x="6127" y="704"/>
                  <a:pt x="6118" y="665"/>
                  <a:pt x="6097" y="649"/>
                </a:cubicBezTo>
                <a:cubicBezTo>
                  <a:pt x="6080" y="645"/>
                  <a:pt x="6062" y="641"/>
                  <a:pt x="6045" y="638"/>
                </a:cubicBezTo>
                <a:cubicBezTo>
                  <a:pt x="6015" y="626"/>
                  <a:pt x="5985" y="614"/>
                  <a:pt x="5954" y="602"/>
                </a:cubicBezTo>
                <a:cubicBezTo>
                  <a:pt x="5950" y="611"/>
                  <a:pt x="5945" y="620"/>
                  <a:pt x="5940" y="629"/>
                </a:cubicBezTo>
                <a:cubicBezTo>
                  <a:pt x="5943" y="646"/>
                  <a:pt x="5983" y="723"/>
                  <a:pt x="5992" y="735"/>
                </a:cubicBezTo>
                <a:cubicBezTo>
                  <a:pt x="5989" y="752"/>
                  <a:pt x="5987" y="770"/>
                  <a:pt x="5985" y="787"/>
                </a:cubicBezTo>
                <a:cubicBezTo>
                  <a:pt x="5954" y="771"/>
                  <a:pt x="5940" y="709"/>
                  <a:pt x="5913" y="685"/>
                </a:cubicBezTo>
                <a:cubicBezTo>
                  <a:pt x="5879" y="672"/>
                  <a:pt x="5846" y="658"/>
                  <a:pt x="5812" y="645"/>
                </a:cubicBezTo>
                <a:cubicBezTo>
                  <a:pt x="5798" y="649"/>
                  <a:pt x="5785" y="655"/>
                  <a:pt x="5771" y="659"/>
                </a:cubicBezTo>
                <a:cubicBezTo>
                  <a:pt x="5746" y="668"/>
                  <a:pt x="5720" y="676"/>
                  <a:pt x="5695" y="685"/>
                </a:cubicBezTo>
                <a:cubicBezTo>
                  <a:pt x="5674" y="701"/>
                  <a:pt x="5655" y="729"/>
                  <a:pt x="5626" y="735"/>
                </a:cubicBezTo>
                <a:cubicBezTo>
                  <a:pt x="5623" y="747"/>
                  <a:pt x="5621" y="759"/>
                  <a:pt x="5618" y="771"/>
                </a:cubicBezTo>
                <a:cubicBezTo>
                  <a:pt x="5638" y="822"/>
                  <a:pt x="5660" y="837"/>
                  <a:pt x="5689" y="870"/>
                </a:cubicBezTo>
                <a:cubicBezTo>
                  <a:pt x="5702" y="886"/>
                  <a:pt x="5714" y="902"/>
                  <a:pt x="5727" y="919"/>
                </a:cubicBezTo>
                <a:cubicBezTo>
                  <a:pt x="5728" y="921"/>
                  <a:pt x="5728" y="924"/>
                  <a:pt x="5729" y="926"/>
                </a:cubicBezTo>
                <a:cubicBezTo>
                  <a:pt x="5727" y="932"/>
                  <a:pt x="5725" y="935"/>
                  <a:pt x="5723" y="940"/>
                </a:cubicBezTo>
                <a:cubicBezTo>
                  <a:pt x="5707" y="955"/>
                  <a:pt x="5591" y="885"/>
                  <a:pt x="5567" y="872"/>
                </a:cubicBezTo>
                <a:cubicBezTo>
                  <a:pt x="5533" y="853"/>
                  <a:pt x="5497" y="868"/>
                  <a:pt x="5459" y="854"/>
                </a:cubicBezTo>
                <a:cubicBezTo>
                  <a:pt x="5442" y="844"/>
                  <a:pt x="5426" y="835"/>
                  <a:pt x="5409" y="825"/>
                </a:cubicBezTo>
                <a:cubicBezTo>
                  <a:pt x="5381" y="822"/>
                  <a:pt x="5336" y="849"/>
                  <a:pt x="5320" y="874"/>
                </a:cubicBezTo>
                <a:cubicBezTo>
                  <a:pt x="5312" y="888"/>
                  <a:pt x="5313" y="917"/>
                  <a:pt x="5301" y="936"/>
                </a:cubicBezTo>
                <a:cubicBezTo>
                  <a:pt x="5281" y="930"/>
                  <a:pt x="5268" y="904"/>
                  <a:pt x="5251" y="895"/>
                </a:cubicBezTo>
                <a:cubicBezTo>
                  <a:pt x="5225" y="881"/>
                  <a:pt x="5195" y="907"/>
                  <a:pt x="5176" y="915"/>
                </a:cubicBezTo>
                <a:cubicBezTo>
                  <a:pt x="5133" y="933"/>
                  <a:pt x="5068" y="907"/>
                  <a:pt x="5033" y="944"/>
                </a:cubicBezTo>
                <a:cubicBezTo>
                  <a:pt x="5025" y="957"/>
                  <a:pt x="5017" y="970"/>
                  <a:pt x="5010" y="983"/>
                </a:cubicBezTo>
                <a:cubicBezTo>
                  <a:pt x="5012" y="1011"/>
                  <a:pt x="5014" y="1039"/>
                  <a:pt x="5016" y="1068"/>
                </a:cubicBezTo>
                <a:cubicBezTo>
                  <a:pt x="5045" y="1085"/>
                  <a:pt x="5077" y="1097"/>
                  <a:pt x="5116" y="1103"/>
                </a:cubicBezTo>
                <a:cubicBezTo>
                  <a:pt x="5123" y="1129"/>
                  <a:pt x="5131" y="1140"/>
                  <a:pt x="5136" y="1172"/>
                </a:cubicBezTo>
                <a:cubicBezTo>
                  <a:pt x="5135" y="1201"/>
                  <a:pt x="5119" y="1190"/>
                  <a:pt x="5111" y="1206"/>
                </a:cubicBezTo>
                <a:cubicBezTo>
                  <a:pt x="5110" y="1207"/>
                  <a:pt x="5109" y="1208"/>
                  <a:pt x="5108" y="1208"/>
                </a:cubicBezTo>
                <a:cubicBezTo>
                  <a:pt x="5114" y="1228"/>
                  <a:pt x="5124" y="1248"/>
                  <a:pt x="5136" y="1255"/>
                </a:cubicBezTo>
                <a:cubicBezTo>
                  <a:pt x="5156" y="1228"/>
                  <a:pt x="5175" y="1200"/>
                  <a:pt x="5194" y="1172"/>
                </a:cubicBezTo>
                <a:cubicBezTo>
                  <a:pt x="5228" y="1141"/>
                  <a:pt x="5349" y="1085"/>
                  <a:pt x="5392" y="1127"/>
                </a:cubicBezTo>
                <a:cubicBezTo>
                  <a:pt x="5398" y="1137"/>
                  <a:pt x="5403" y="1148"/>
                  <a:pt x="5409" y="1158"/>
                </a:cubicBezTo>
                <a:cubicBezTo>
                  <a:pt x="5409" y="1167"/>
                  <a:pt x="5409" y="1174"/>
                  <a:pt x="5409" y="1183"/>
                </a:cubicBezTo>
                <a:cubicBezTo>
                  <a:pt x="5400" y="1195"/>
                  <a:pt x="5391" y="1207"/>
                  <a:pt x="5381" y="1219"/>
                </a:cubicBezTo>
                <a:cubicBezTo>
                  <a:pt x="5378" y="1254"/>
                  <a:pt x="5376" y="1289"/>
                  <a:pt x="5373" y="1324"/>
                </a:cubicBezTo>
                <a:cubicBezTo>
                  <a:pt x="5387" y="1308"/>
                  <a:pt x="5401" y="1293"/>
                  <a:pt x="5416" y="1278"/>
                </a:cubicBezTo>
                <a:cubicBezTo>
                  <a:pt x="5426" y="1279"/>
                  <a:pt x="5436" y="1280"/>
                  <a:pt x="5446" y="1280"/>
                </a:cubicBezTo>
                <a:cubicBezTo>
                  <a:pt x="5476" y="1288"/>
                  <a:pt x="5488" y="1268"/>
                  <a:pt x="5503" y="1249"/>
                </a:cubicBezTo>
                <a:cubicBezTo>
                  <a:pt x="5517" y="1266"/>
                  <a:pt x="5531" y="1284"/>
                  <a:pt x="5545" y="1301"/>
                </a:cubicBezTo>
                <a:cubicBezTo>
                  <a:pt x="5552" y="1298"/>
                  <a:pt x="5560" y="1296"/>
                  <a:pt x="5567" y="1294"/>
                </a:cubicBezTo>
                <a:cubicBezTo>
                  <a:pt x="5582" y="1291"/>
                  <a:pt x="5596" y="1288"/>
                  <a:pt x="5611" y="1285"/>
                </a:cubicBezTo>
                <a:cubicBezTo>
                  <a:pt x="5646" y="1266"/>
                  <a:pt x="5683" y="1230"/>
                  <a:pt x="5715" y="1213"/>
                </a:cubicBezTo>
                <a:cubicBezTo>
                  <a:pt x="5749" y="1195"/>
                  <a:pt x="5807" y="1207"/>
                  <a:pt x="5830" y="1226"/>
                </a:cubicBezTo>
                <a:cubicBezTo>
                  <a:pt x="5847" y="1245"/>
                  <a:pt x="5863" y="1264"/>
                  <a:pt x="5879" y="1283"/>
                </a:cubicBezTo>
                <a:cubicBezTo>
                  <a:pt x="5879" y="1285"/>
                  <a:pt x="5880" y="1287"/>
                  <a:pt x="5880" y="1289"/>
                </a:cubicBezTo>
                <a:cubicBezTo>
                  <a:pt x="5837" y="1297"/>
                  <a:pt x="5794" y="1306"/>
                  <a:pt x="5751" y="1314"/>
                </a:cubicBezTo>
                <a:cubicBezTo>
                  <a:pt x="5736" y="1324"/>
                  <a:pt x="5721" y="1335"/>
                  <a:pt x="5706" y="1345"/>
                </a:cubicBezTo>
                <a:cubicBezTo>
                  <a:pt x="5689" y="1345"/>
                  <a:pt x="5671" y="1345"/>
                  <a:pt x="5654" y="1345"/>
                </a:cubicBezTo>
                <a:cubicBezTo>
                  <a:pt x="5641" y="1359"/>
                  <a:pt x="5627" y="1372"/>
                  <a:pt x="5614" y="1386"/>
                </a:cubicBezTo>
                <a:cubicBezTo>
                  <a:pt x="5602" y="1416"/>
                  <a:pt x="5591" y="1446"/>
                  <a:pt x="5580" y="1476"/>
                </a:cubicBezTo>
                <a:cubicBezTo>
                  <a:pt x="5596" y="1498"/>
                  <a:pt x="5629" y="1514"/>
                  <a:pt x="5646" y="1529"/>
                </a:cubicBezTo>
                <a:cubicBezTo>
                  <a:pt x="5655" y="1546"/>
                  <a:pt x="5664" y="1564"/>
                  <a:pt x="5672" y="1581"/>
                </a:cubicBezTo>
                <a:cubicBezTo>
                  <a:pt x="5658" y="1577"/>
                  <a:pt x="5625" y="1584"/>
                  <a:pt x="5611" y="1576"/>
                </a:cubicBezTo>
                <a:cubicBezTo>
                  <a:pt x="5576" y="1555"/>
                  <a:pt x="5532" y="1454"/>
                  <a:pt x="5492" y="1432"/>
                </a:cubicBezTo>
                <a:cubicBezTo>
                  <a:pt x="5466" y="1432"/>
                  <a:pt x="5439" y="1432"/>
                  <a:pt x="5413" y="1432"/>
                </a:cubicBezTo>
                <a:cubicBezTo>
                  <a:pt x="5384" y="1426"/>
                  <a:pt x="5356" y="1421"/>
                  <a:pt x="5327" y="1416"/>
                </a:cubicBezTo>
                <a:cubicBezTo>
                  <a:pt x="5326" y="1421"/>
                  <a:pt x="5324" y="1426"/>
                  <a:pt x="5322" y="1432"/>
                </a:cubicBezTo>
                <a:cubicBezTo>
                  <a:pt x="5321" y="1441"/>
                  <a:pt x="5319" y="1451"/>
                  <a:pt x="5318" y="1461"/>
                </a:cubicBezTo>
                <a:cubicBezTo>
                  <a:pt x="5332" y="1494"/>
                  <a:pt x="5347" y="1527"/>
                  <a:pt x="5361" y="1560"/>
                </a:cubicBezTo>
                <a:cubicBezTo>
                  <a:pt x="5361" y="1562"/>
                  <a:pt x="5362" y="1565"/>
                  <a:pt x="5362" y="1566"/>
                </a:cubicBezTo>
                <a:cubicBezTo>
                  <a:pt x="5366" y="1557"/>
                  <a:pt x="5368" y="1548"/>
                  <a:pt x="5372" y="1540"/>
                </a:cubicBezTo>
                <a:cubicBezTo>
                  <a:pt x="5401" y="1557"/>
                  <a:pt x="5442" y="1648"/>
                  <a:pt x="5467" y="1684"/>
                </a:cubicBezTo>
                <a:cubicBezTo>
                  <a:pt x="5486" y="1698"/>
                  <a:pt x="5504" y="1711"/>
                  <a:pt x="5523" y="1725"/>
                </a:cubicBezTo>
                <a:cubicBezTo>
                  <a:pt x="5555" y="1757"/>
                  <a:pt x="5587" y="1788"/>
                  <a:pt x="5620" y="1820"/>
                </a:cubicBezTo>
                <a:cubicBezTo>
                  <a:pt x="5610" y="1821"/>
                  <a:pt x="5599" y="1824"/>
                  <a:pt x="5589" y="1826"/>
                </a:cubicBezTo>
                <a:cubicBezTo>
                  <a:pt x="5582" y="1830"/>
                  <a:pt x="5581" y="1846"/>
                  <a:pt x="5570" y="1844"/>
                </a:cubicBezTo>
                <a:cubicBezTo>
                  <a:pt x="5538" y="1837"/>
                  <a:pt x="5510" y="1807"/>
                  <a:pt x="5482" y="1794"/>
                </a:cubicBezTo>
                <a:cubicBezTo>
                  <a:pt x="5464" y="1786"/>
                  <a:pt x="5431" y="1779"/>
                  <a:pt x="5400" y="1779"/>
                </a:cubicBezTo>
                <a:cubicBezTo>
                  <a:pt x="5372" y="1729"/>
                  <a:pt x="5347" y="1737"/>
                  <a:pt x="5296" y="1743"/>
                </a:cubicBezTo>
                <a:cubicBezTo>
                  <a:pt x="5289" y="1726"/>
                  <a:pt x="5283" y="1708"/>
                  <a:pt x="5276" y="1691"/>
                </a:cubicBezTo>
                <a:cubicBezTo>
                  <a:pt x="5276" y="1652"/>
                  <a:pt x="5276" y="1613"/>
                  <a:pt x="5276" y="1573"/>
                </a:cubicBezTo>
                <a:cubicBezTo>
                  <a:pt x="5276" y="1533"/>
                  <a:pt x="5243" y="1487"/>
                  <a:pt x="5226" y="1474"/>
                </a:cubicBezTo>
                <a:cubicBezTo>
                  <a:pt x="5222" y="1468"/>
                  <a:pt x="5215" y="1475"/>
                  <a:pt x="5212" y="1486"/>
                </a:cubicBezTo>
                <a:cubicBezTo>
                  <a:pt x="5212" y="1511"/>
                  <a:pt x="5211" y="1535"/>
                  <a:pt x="5211" y="1560"/>
                </a:cubicBezTo>
                <a:cubicBezTo>
                  <a:pt x="5194" y="1560"/>
                  <a:pt x="5178" y="1556"/>
                  <a:pt x="5165" y="1549"/>
                </a:cubicBezTo>
                <a:cubicBezTo>
                  <a:pt x="5157" y="1509"/>
                  <a:pt x="5150" y="1470"/>
                  <a:pt x="5143" y="1429"/>
                </a:cubicBezTo>
                <a:cubicBezTo>
                  <a:pt x="5135" y="1420"/>
                  <a:pt x="5127" y="1411"/>
                  <a:pt x="5119" y="1402"/>
                </a:cubicBezTo>
                <a:cubicBezTo>
                  <a:pt x="5100" y="1407"/>
                  <a:pt x="5088" y="1420"/>
                  <a:pt x="5064" y="1420"/>
                </a:cubicBezTo>
                <a:cubicBezTo>
                  <a:pt x="5048" y="1397"/>
                  <a:pt x="5033" y="1375"/>
                  <a:pt x="5018" y="1352"/>
                </a:cubicBezTo>
                <a:cubicBezTo>
                  <a:pt x="4979" y="1260"/>
                  <a:pt x="4971" y="1213"/>
                  <a:pt x="4889" y="1199"/>
                </a:cubicBezTo>
                <a:cubicBezTo>
                  <a:pt x="4893" y="1232"/>
                  <a:pt x="4902" y="1245"/>
                  <a:pt x="4899" y="1280"/>
                </a:cubicBezTo>
                <a:cubicBezTo>
                  <a:pt x="4883" y="1290"/>
                  <a:pt x="4867" y="1276"/>
                  <a:pt x="4852" y="1274"/>
                </a:cubicBezTo>
                <a:cubicBezTo>
                  <a:pt x="4830" y="1286"/>
                  <a:pt x="4809" y="1300"/>
                  <a:pt x="4786" y="1312"/>
                </a:cubicBezTo>
                <a:cubicBezTo>
                  <a:pt x="4785" y="1312"/>
                  <a:pt x="4785" y="1312"/>
                  <a:pt x="4784" y="1312"/>
                </a:cubicBezTo>
                <a:cubicBezTo>
                  <a:pt x="4801" y="1346"/>
                  <a:pt x="4819" y="1379"/>
                  <a:pt x="4836" y="1414"/>
                </a:cubicBezTo>
                <a:cubicBezTo>
                  <a:pt x="4834" y="1420"/>
                  <a:pt x="4832" y="1426"/>
                  <a:pt x="4830" y="1432"/>
                </a:cubicBezTo>
                <a:cubicBezTo>
                  <a:pt x="4823" y="1442"/>
                  <a:pt x="4779" y="1433"/>
                  <a:pt x="4764" y="1450"/>
                </a:cubicBezTo>
                <a:cubicBezTo>
                  <a:pt x="4758" y="1457"/>
                  <a:pt x="4753" y="1476"/>
                  <a:pt x="4751" y="1492"/>
                </a:cubicBezTo>
                <a:cubicBezTo>
                  <a:pt x="4769" y="1534"/>
                  <a:pt x="4787" y="1531"/>
                  <a:pt x="4807" y="1563"/>
                </a:cubicBezTo>
                <a:cubicBezTo>
                  <a:pt x="4764" y="1570"/>
                  <a:pt x="4732" y="1592"/>
                  <a:pt x="4688" y="1567"/>
                </a:cubicBezTo>
                <a:cubicBezTo>
                  <a:pt x="4687" y="1567"/>
                  <a:pt x="4687" y="1567"/>
                  <a:pt x="4687" y="1567"/>
                </a:cubicBezTo>
                <a:cubicBezTo>
                  <a:pt x="4689" y="1582"/>
                  <a:pt x="4692" y="1597"/>
                  <a:pt x="4695" y="1612"/>
                </a:cubicBezTo>
                <a:cubicBezTo>
                  <a:pt x="4708" y="1629"/>
                  <a:pt x="4722" y="1646"/>
                  <a:pt x="4735" y="1664"/>
                </a:cubicBezTo>
                <a:cubicBezTo>
                  <a:pt x="4753" y="1689"/>
                  <a:pt x="4759" y="1733"/>
                  <a:pt x="4782" y="1750"/>
                </a:cubicBezTo>
                <a:cubicBezTo>
                  <a:pt x="4798" y="1769"/>
                  <a:pt x="4820" y="1736"/>
                  <a:pt x="4830" y="1730"/>
                </a:cubicBezTo>
                <a:cubicBezTo>
                  <a:pt x="4846" y="1730"/>
                  <a:pt x="4862" y="1731"/>
                  <a:pt x="4878" y="1732"/>
                </a:cubicBezTo>
                <a:cubicBezTo>
                  <a:pt x="4886" y="1728"/>
                  <a:pt x="4893" y="1724"/>
                  <a:pt x="4900" y="1720"/>
                </a:cubicBezTo>
                <a:cubicBezTo>
                  <a:pt x="4947" y="1705"/>
                  <a:pt x="5036" y="1787"/>
                  <a:pt x="5057" y="1826"/>
                </a:cubicBezTo>
                <a:cubicBezTo>
                  <a:pt x="5028" y="1810"/>
                  <a:pt x="4929" y="1781"/>
                  <a:pt x="4892" y="1794"/>
                </a:cubicBezTo>
                <a:cubicBezTo>
                  <a:pt x="4875" y="1803"/>
                  <a:pt x="4858" y="1811"/>
                  <a:pt x="4841" y="1820"/>
                </a:cubicBezTo>
                <a:cubicBezTo>
                  <a:pt x="4842" y="1871"/>
                  <a:pt x="4865" y="1889"/>
                  <a:pt x="4881" y="1915"/>
                </a:cubicBezTo>
                <a:cubicBezTo>
                  <a:pt x="4899" y="1946"/>
                  <a:pt x="4916" y="1976"/>
                  <a:pt x="4933" y="2007"/>
                </a:cubicBezTo>
                <a:cubicBezTo>
                  <a:pt x="4939" y="2006"/>
                  <a:pt x="4944" y="2006"/>
                  <a:pt x="4950" y="2005"/>
                </a:cubicBezTo>
                <a:cubicBezTo>
                  <a:pt x="4992" y="2022"/>
                  <a:pt x="5037" y="2050"/>
                  <a:pt x="5090" y="2048"/>
                </a:cubicBezTo>
                <a:cubicBezTo>
                  <a:pt x="5098" y="2026"/>
                  <a:pt x="5102" y="1991"/>
                  <a:pt x="5104" y="1958"/>
                </a:cubicBezTo>
                <a:cubicBezTo>
                  <a:pt x="5123" y="1983"/>
                  <a:pt x="5143" y="2008"/>
                  <a:pt x="5162" y="2032"/>
                </a:cubicBezTo>
                <a:cubicBezTo>
                  <a:pt x="5173" y="2025"/>
                  <a:pt x="5180" y="2017"/>
                  <a:pt x="5184" y="1999"/>
                </a:cubicBezTo>
                <a:cubicBezTo>
                  <a:pt x="5190" y="1974"/>
                  <a:pt x="5178" y="1943"/>
                  <a:pt x="5173" y="1925"/>
                </a:cubicBezTo>
                <a:cubicBezTo>
                  <a:pt x="5178" y="1913"/>
                  <a:pt x="5183" y="1902"/>
                  <a:pt x="5188" y="1889"/>
                </a:cubicBezTo>
                <a:cubicBezTo>
                  <a:pt x="5208" y="1891"/>
                  <a:pt x="5219" y="1933"/>
                  <a:pt x="5247" y="1933"/>
                </a:cubicBezTo>
                <a:cubicBezTo>
                  <a:pt x="5260" y="1852"/>
                  <a:pt x="5285" y="1832"/>
                  <a:pt x="5315" y="1814"/>
                </a:cubicBezTo>
                <a:cubicBezTo>
                  <a:pt x="5296" y="1843"/>
                  <a:pt x="5292" y="1883"/>
                  <a:pt x="5283" y="1941"/>
                </a:cubicBezTo>
                <a:cubicBezTo>
                  <a:pt x="5283" y="1944"/>
                  <a:pt x="5283" y="1947"/>
                  <a:pt x="5283" y="1951"/>
                </a:cubicBezTo>
                <a:cubicBezTo>
                  <a:pt x="5326" y="1930"/>
                  <a:pt x="5370" y="1968"/>
                  <a:pt x="5415" y="1972"/>
                </a:cubicBezTo>
                <a:cubicBezTo>
                  <a:pt x="5415" y="1973"/>
                  <a:pt x="5415" y="1972"/>
                  <a:pt x="5415" y="1973"/>
                </a:cubicBezTo>
                <a:cubicBezTo>
                  <a:pt x="5408" y="2003"/>
                  <a:pt x="5413" y="2049"/>
                  <a:pt x="5413" y="2089"/>
                </a:cubicBezTo>
                <a:cubicBezTo>
                  <a:pt x="5442" y="2110"/>
                  <a:pt x="5487" y="2109"/>
                  <a:pt x="5528" y="2108"/>
                </a:cubicBezTo>
                <a:cubicBezTo>
                  <a:pt x="5528" y="2109"/>
                  <a:pt x="5528" y="2110"/>
                  <a:pt x="5528" y="2110"/>
                </a:cubicBezTo>
                <a:cubicBezTo>
                  <a:pt x="5523" y="2121"/>
                  <a:pt x="5518" y="2133"/>
                  <a:pt x="5513" y="2144"/>
                </a:cubicBezTo>
                <a:cubicBezTo>
                  <a:pt x="5512" y="2153"/>
                  <a:pt x="5513" y="2162"/>
                  <a:pt x="5512" y="2172"/>
                </a:cubicBezTo>
                <a:cubicBezTo>
                  <a:pt x="5512" y="2172"/>
                  <a:pt x="5511" y="2173"/>
                  <a:pt x="5510" y="2174"/>
                </a:cubicBezTo>
                <a:cubicBezTo>
                  <a:pt x="5494" y="2199"/>
                  <a:pt x="5437" y="2193"/>
                  <a:pt x="5415" y="2182"/>
                </a:cubicBezTo>
                <a:cubicBezTo>
                  <a:pt x="5377" y="2164"/>
                  <a:pt x="5358" y="2107"/>
                  <a:pt x="5329" y="2074"/>
                </a:cubicBezTo>
                <a:cubicBezTo>
                  <a:pt x="5311" y="2055"/>
                  <a:pt x="5285" y="2062"/>
                  <a:pt x="5259" y="2054"/>
                </a:cubicBezTo>
                <a:cubicBezTo>
                  <a:pt x="5244" y="2049"/>
                  <a:pt x="5226" y="2043"/>
                  <a:pt x="5215" y="2055"/>
                </a:cubicBezTo>
                <a:cubicBezTo>
                  <a:pt x="5213" y="2057"/>
                  <a:pt x="5212" y="2059"/>
                  <a:pt x="5211" y="2061"/>
                </a:cubicBezTo>
                <a:cubicBezTo>
                  <a:pt x="5213" y="2110"/>
                  <a:pt x="5248" y="2175"/>
                  <a:pt x="5269" y="2192"/>
                </a:cubicBezTo>
                <a:cubicBezTo>
                  <a:pt x="5270" y="2194"/>
                  <a:pt x="5270" y="2195"/>
                  <a:pt x="5270" y="2197"/>
                </a:cubicBezTo>
                <a:cubicBezTo>
                  <a:pt x="5257" y="2220"/>
                  <a:pt x="5244" y="2205"/>
                  <a:pt x="5221" y="2215"/>
                </a:cubicBezTo>
                <a:cubicBezTo>
                  <a:pt x="5189" y="2228"/>
                  <a:pt x="5177" y="2261"/>
                  <a:pt x="5134" y="2271"/>
                </a:cubicBezTo>
                <a:cubicBezTo>
                  <a:pt x="5127" y="2294"/>
                  <a:pt x="5124" y="2324"/>
                  <a:pt x="5124" y="2361"/>
                </a:cubicBezTo>
                <a:cubicBezTo>
                  <a:pt x="5141" y="2373"/>
                  <a:pt x="5157" y="2385"/>
                  <a:pt x="5175" y="2397"/>
                </a:cubicBezTo>
                <a:cubicBezTo>
                  <a:pt x="5201" y="2375"/>
                  <a:pt x="5189" y="2366"/>
                  <a:pt x="5204" y="2331"/>
                </a:cubicBezTo>
                <a:cubicBezTo>
                  <a:pt x="5225" y="2347"/>
                  <a:pt x="5239" y="2377"/>
                  <a:pt x="5257" y="2390"/>
                </a:cubicBezTo>
                <a:cubicBezTo>
                  <a:pt x="5307" y="2397"/>
                  <a:pt x="5357" y="2404"/>
                  <a:pt x="5407" y="2411"/>
                </a:cubicBezTo>
                <a:cubicBezTo>
                  <a:pt x="5417" y="2406"/>
                  <a:pt x="5427" y="2394"/>
                  <a:pt x="5433" y="2382"/>
                </a:cubicBezTo>
                <a:cubicBezTo>
                  <a:pt x="5429" y="2354"/>
                  <a:pt x="5424" y="2328"/>
                  <a:pt x="5419" y="2300"/>
                </a:cubicBezTo>
                <a:cubicBezTo>
                  <a:pt x="5423" y="2298"/>
                  <a:pt x="5426" y="2297"/>
                  <a:pt x="5430" y="2295"/>
                </a:cubicBezTo>
                <a:cubicBezTo>
                  <a:pt x="5474" y="2359"/>
                  <a:pt x="5487" y="2399"/>
                  <a:pt x="5570" y="2397"/>
                </a:cubicBezTo>
                <a:cubicBezTo>
                  <a:pt x="5567" y="2378"/>
                  <a:pt x="5564" y="2358"/>
                  <a:pt x="5561" y="2339"/>
                </a:cubicBezTo>
                <a:cubicBezTo>
                  <a:pt x="5561" y="2334"/>
                  <a:pt x="5561" y="2329"/>
                  <a:pt x="5561" y="2324"/>
                </a:cubicBezTo>
                <a:cubicBezTo>
                  <a:pt x="5574" y="2336"/>
                  <a:pt x="5587" y="2347"/>
                  <a:pt x="5600" y="2359"/>
                </a:cubicBezTo>
                <a:cubicBezTo>
                  <a:pt x="5612" y="2357"/>
                  <a:pt x="5624" y="2353"/>
                  <a:pt x="5635" y="2351"/>
                </a:cubicBezTo>
                <a:cubicBezTo>
                  <a:pt x="5635" y="2351"/>
                  <a:pt x="5669" y="2449"/>
                  <a:pt x="5671" y="2455"/>
                </a:cubicBezTo>
                <a:cubicBezTo>
                  <a:pt x="5703" y="2452"/>
                  <a:pt x="5716" y="2427"/>
                  <a:pt x="5739" y="2415"/>
                </a:cubicBezTo>
                <a:cubicBezTo>
                  <a:pt x="5772" y="2403"/>
                  <a:pt x="5806" y="2393"/>
                  <a:pt x="5839" y="2381"/>
                </a:cubicBezTo>
                <a:cubicBezTo>
                  <a:pt x="5847" y="2366"/>
                  <a:pt x="5854" y="2351"/>
                  <a:pt x="5862" y="2336"/>
                </a:cubicBezTo>
                <a:cubicBezTo>
                  <a:pt x="5862" y="2322"/>
                  <a:pt x="5862" y="2306"/>
                  <a:pt x="5862" y="2292"/>
                </a:cubicBezTo>
                <a:cubicBezTo>
                  <a:pt x="5857" y="2282"/>
                  <a:pt x="5853" y="2272"/>
                  <a:pt x="5849" y="2262"/>
                </a:cubicBezTo>
                <a:cubicBezTo>
                  <a:pt x="5833" y="2245"/>
                  <a:pt x="5807" y="2258"/>
                  <a:pt x="5785" y="2251"/>
                </a:cubicBezTo>
                <a:cubicBezTo>
                  <a:pt x="5729" y="2234"/>
                  <a:pt x="5638" y="2229"/>
                  <a:pt x="5593" y="2187"/>
                </a:cubicBezTo>
                <a:cubicBezTo>
                  <a:pt x="5592" y="2187"/>
                  <a:pt x="5592" y="2187"/>
                  <a:pt x="5591" y="2187"/>
                </a:cubicBezTo>
                <a:cubicBezTo>
                  <a:pt x="5630" y="2092"/>
                  <a:pt x="5671" y="2136"/>
                  <a:pt x="5735" y="2158"/>
                </a:cubicBezTo>
                <a:cubicBezTo>
                  <a:pt x="5775" y="2173"/>
                  <a:pt x="5821" y="2180"/>
                  <a:pt x="5838" y="2122"/>
                </a:cubicBezTo>
                <a:cubicBezTo>
                  <a:pt x="5845" y="2092"/>
                  <a:pt x="5833" y="2035"/>
                  <a:pt x="5828" y="2006"/>
                </a:cubicBezTo>
                <a:cubicBezTo>
                  <a:pt x="5847" y="1997"/>
                  <a:pt x="5866" y="2012"/>
                  <a:pt x="5886" y="2020"/>
                </a:cubicBezTo>
                <a:cubicBezTo>
                  <a:pt x="5912" y="2030"/>
                  <a:pt x="5944" y="2019"/>
                  <a:pt x="5964" y="2007"/>
                </a:cubicBezTo>
                <a:cubicBezTo>
                  <a:pt x="5968" y="1991"/>
                  <a:pt x="5947" y="1962"/>
                  <a:pt x="5940" y="1937"/>
                </a:cubicBezTo>
                <a:cubicBezTo>
                  <a:pt x="5943" y="1932"/>
                  <a:pt x="5946" y="1925"/>
                  <a:pt x="5950" y="1919"/>
                </a:cubicBezTo>
                <a:cubicBezTo>
                  <a:pt x="5963" y="1924"/>
                  <a:pt x="5977" y="1926"/>
                  <a:pt x="5994" y="1923"/>
                </a:cubicBezTo>
                <a:cubicBezTo>
                  <a:pt x="5999" y="1895"/>
                  <a:pt x="6004" y="1868"/>
                  <a:pt x="6009" y="1840"/>
                </a:cubicBezTo>
                <a:cubicBezTo>
                  <a:pt x="6027" y="1835"/>
                  <a:pt x="6041" y="1827"/>
                  <a:pt x="6048" y="1802"/>
                </a:cubicBezTo>
                <a:cubicBezTo>
                  <a:pt x="6047" y="1776"/>
                  <a:pt x="6046" y="1751"/>
                  <a:pt x="6044" y="1725"/>
                </a:cubicBezTo>
                <a:cubicBezTo>
                  <a:pt x="6014" y="1665"/>
                  <a:pt x="5947" y="1671"/>
                  <a:pt x="5896" y="1679"/>
                </a:cubicBezTo>
                <a:cubicBezTo>
                  <a:pt x="5897" y="1654"/>
                  <a:pt x="5898" y="1627"/>
                  <a:pt x="5900" y="1601"/>
                </a:cubicBezTo>
                <a:cubicBezTo>
                  <a:pt x="5919" y="1599"/>
                  <a:pt x="5939" y="1597"/>
                  <a:pt x="5958" y="1594"/>
                </a:cubicBezTo>
                <a:cubicBezTo>
                  <a:pt x="6013" y="1604"/>
                  <a:pt x="6087" y="1639"/>
                  <a:pt x="6145" y="1604"/>
                </a:cubicBezTo>
                <a:cubicBezTo>
                  <a:pt x="6145" y="1603"/>
                  <a:pt x="6145" y="1602"/>
                  <a:pt x="6145" y="1601"/>
                </a:cubicBezTo>
                <a:cubicBezTo>
                  <a:pt x="6121" y="1575"/>
                  <a:pt x="6096" y="1548"/>
                  <a:pt x="6071" y="1522"/>
                </a:cubicBezTo>
                <a:cubicBezTo>
                  <a:pt x="6077" y="1508"/>
                  <a:pt x="6084" y="1495"/>
                  <a:pt x="6090" y="1481"/>
                </a:cubicBezTo>
                <a:cubicBezTo>
                  <a:pt x="6176" y="1505"/>
                  <a:pt x="6231" y="1565"/>
                  <a:pt x="6310" y="1495"/>
                </a:cubicBezTo>
                <a:cubicBezTo>
                  <a:pt x="6325" y="1482"/>
                  <a:pt x="6337" y="1478"/>
                  <a:pt x="6346" y="1455"/>
                </a:cubicBezTo>
                <a:cubicBezTo>
                  <a:pt x="6341" y="1418"/>
                  <a:pt x="6335" y="1382"/>
                  <a:pt x="6329" y="1345"/>
                </a:cubicBezTo>
                <a:cubicBezTo>
                  <a:pt x="6412" y="1343"/>
                  <a:pt x="6404" y="1314"/>
                  <a:pt x="6453" y="1262"/>
                </a:cubicBezTo>
                <a:cubicBezTo>
                  <a:pt x="6468" y="1251"/>
                  <a:pt x="6482" y="1240"/>
                  <a:pt x="6497" y="1229"/>
                </a:cubicBezTo>
                <a:cubicBezTo>
                  <a:pt x="6498" y="1228"/>
                  <a:pt x="6499" y="1227"/>
                  <a:pt x="6500" y="1226"/>
                </a:cubicBezTo>
                <a:cubicBezTo>
                  <a:pt x="6496" y="1231"/>
                  <a:pt x="6490" y="1235"/>
                  <a:pt x="6490" y="1242"/>
                </a:cubicBezTo>
                <a:cubicBezTo>
                  <a:pt x="6492" y="1247"/>
                  <a:pt x="6494" y="1252"/>
                  <a:pt x="6496" y="1258"/>
                </a:cubicBezTo>
                <a:cubicBezTo>
                  <a:pt x="6492" y="1265"/>
                  <a:pt x="6474" y="1281"/>
                  <a:pt x="6464" y="1284"/>
                </a:cubicBezTo>
                <a:cubicBezTo>
                  <a:pt x="6472" y="1297"/>
                  <a:pt x="6482" y="1324"/>
                  <a:pt x="6480" y="1346"/>
                </a:cubicBezTo>
                <a:cubicBezTo>
                  <a:pt x="6489" y="1350"/>
                  <a:pt x="6498" y="1351"/>
                  <a:pt x="6506" y="1355"/>
                </a:cubicBezTo>
                <a:cubicBezTo>
                  <a:pt x="6522" y="1362"/>
                  <a:pt x="6538" y="1380"/>
                  <a:pt x="6556" y="1381"/>
                </a:cubicBezTo>
                <a:cubicBezTo>
                  <a:pt x="6556" y="1382"/>
                  <a:pt x="6557" y="1382"/>
                  <a:pt x="6557" y="1382"/>
                </a:cubicBezTo>
                <a:cubicBezTo>
                  <a:pt x="6551" y="1391"/>
                  <a:pt x="6534" y="1401"/>
                  <a:pt x="6532" y="1411"/>
                </a:cubicBezTo>
                <a:cubicBezTo>
                  <a:pt x="6542" y="1413"/>
                  <a:pt x="6552" y="1417"/>
                  <a:pt x="6562" y="1419"/>
                </a:cubicBezTo>
                <a:cubicBezTo>
                  <a:pt x="6562" y="1419"/>
                  <a:pt x="6562" y="1419"/>
                  <a:pt x="6563" y="1420"/>
                </a:cubicBezTo>
                <a:cubicBezTo>
                  <a:pt x="6562" y="1420"/>
                  <a:pt x="6537" y="1438"/>
                  <a:pt x="6537" y="1438"/>
                </a:cubicBezTo>
                <a:cubicBezTo>
                  <a:pt x="6535" y="1443"/>
                  <a:pt x="6541" y="1447"/>
                  <a:pt x="6543" y="1447"/>
                </a:cubicBezTo>
                <a:cubicBezTo>
                  <a:pt x="6560" y="1455"/>
                  <a:pt x="6558" y="1467"/>
                  <a:pt x="6571" y="1479"/>
                </a:cubicBezTo>
                <a:cubicBezTo>
                  <a:pt x="6572" y="1479"/>
                  <a:pt x="6588" y="1470"/>
                  <a:pt x="6596" y="1469"/>
                </a:cubicBezTo>
                <a:cubicBezTo>
                  <a:pt x="6611" y="1467"/>
                  <a:pt x="6628" y="1478"/>
                  <a:pt x="6642" y="1469"/>
                </a:cubicBezTo>
                <a:cubicBezTo>
                  <a:pt x="6649" y="1465"/>
                  <a:pt x="6654" y="1460"/>
                  <a:pt x="6661" y="1456"/>
                </a:cubicBezTo>
                <a:cubicBezTo>
                  <a:pt x="6664" y="1452"/>
                  <a:pt x="6666" y="1447"/>
                  <a:pt x="6671" y="1444"/>
                </a:cubicBezTo>
                <a:cubicBezTo>
                  <a:pt x="6680" y="1449"/>
                  <a:pt x="6692" y="1465"/>
                  <a:pt x="6694" y="1482"/>
                </a:cubicBezTo>
                <a:cubicBezTo>
                  <a:pt x="6682" y="1504"/>
                  <a:pt x="6662" y="1487"/>
                  <a:pt x="6674" y="1525"/>
                </a:cubicBezTo>
                <a:cubicBezTo>
                  <a:pt x="6667" y="1528"/>
                  <a:pt x="6661" y="1518"/>
                  <a:pt x="6655" y="1516"/>
                </a:cubicBezTo>
                <a:cubicBezTo>
                  <a:pt x="6644" y="1511"/>
                  <a:pt x="6595" y="1490"/>
                  <a:pt x="6576" y="1510"/>
                </a:cubicBezTo>
                <a:cubicBezTo>
                  <a:pt x="6574" y="1512"/>
                  <a:pt x="6574" y="1514"/>
                  <a:pt x="6573" y="1517"/>
                </a:cubicBezTo>
                <a:cubicBezTo>
                  <a:pt x="6577" y="1536"/>
                  <a:pt x="6601" y="1527"/>
                  <a:pt x="6613" y="1531"/>
                </a:cubicBezTo>
                <a:cubicBezTo>
                  <a:pt x="6621" y="1534"/>
                  <a:pt x="6625" y="1543"/>
                  <a:pt x="6630" y="1552"/>
                </a:cubicBezTo>
                <a:cubicBezTo>
                  <a:pt x="6630" y="1552"/>
                  <a:pt x="6631" y="1553"/>
                  <a:pt x="6631" y="1553"/>
                </a:cubicBezTo>
                <a:cubicBezTo>
                  <a:pt x="6617" y="1558"/>
                  <a:pt x="6605" y="1548"/>
                  <a:pt x="6594" y="1545"/>
                </a:cubicBezTo>
                <a:cubicBezTo>
                  <a:pt x="6573" y="1538"/>
                  <a:pt x="6553" y="1534"/>
                  <a:pt x="6531" y="1528"/>
                </a:cubicBezTo>
                <a:cubicBezTo>
                  <a:pt x="6523" y="1526"/>
                  <a:pt x="6514" y="1525"/>
                  <a:pt x="6506" y="1523"/>
                </a:cubicBezTo>
                <a:cubicBezTo>
                  <a:pt x="6496" y="1524"/>
                  <a:pt x="6491" y="1536"/>
                  <a:pt x="6487" y="1542"/>
                </a:cubicBezTo>
                <a:cubicBezTo>
                  <a:pt x="6481" y="1550"/>
                  <a:pt x="6477" y="1558"/>
                  <a:pt x="6471" y="1566"/>
                </a:cubicBezTo>
                <a:cubicBezTo>
                  <a:pt x="6464" y="1585"/>
                  <a:pt x="6483" y="1597"/>
                  <a:pt x="6493" y="1599"/>
                </a:cubicBezTo>
                <a:cubicBezTo>
                  <a:pt x="6501" y="1595"/>
                  <a:pt x="6501" y="1587"/>
                  <a:pt x="6511" y="1583"/>
                </a:cubicBezTo>
                <a:cubicBezTo>
                  <a:pt x="6511" y="1584"/>
                  <a:pt x="6512" y="1585"/>
                  <a:pt x="6513" y="1585"/>
                </a:cubicBezTo>
                <a:cubicBezTo>
                  <a:pt x="6502" y="1595"/>
                  <a:pt x="6499" y="1613"/>
                  <a:pt x="6510" y="1624"/>
                </a:cubicBezTo>
                <a:cubicBezTo>
                  <a:pt x="6526" y="1640"/>
                  <a:pt x="6545" y="1652"/>
                  <a:pt x="6568" y="1655"/>
                </a:cubicBezTo>
                <a:cubicBezTo>
                  <a:pt x="6569" y="1656"/>
                  <a:pt x="6569" y="1656"/>
                  <a:pt x="6570" y="1656"/>
                </a:cubicBezTo>
                <a:cubicBezTo>
                  <a:pt x="6560" y="1662"/>
                  <a:pt x="6551" y="1668"/>
                  <a:pt x="6541" y="1673"/>
                </a:cubicBezTo>
                <a:cubicBezTo>
                  <a:pt x="6534" y="1678"/>
                  <a:pt x="6529" y="1687"/>
                  <a:pt x="6521" y="1689"/>
                </a:cubicBezTo>
                <a:cubicBezTo>
                  <a:pt x="6520" y="1687"/>
                  <a:pt x="6518" y="1686"/>
                  <a:pt x="6517" y="1685"/>
                </a:cubicBezTo>
                <a:cubicBezTo>
                  <a:pt x="6508" y="1688"/>
                  <a:pt x="6498" y="1692"/>
                  <a:pt x="6496" y="1701"/>
                </a:cubicBezTo>
                <a:cubicBezTo>
                  <a:pt x="6500" y="1711"/>
                  <a:pt x="6504" y="1723"/>
                  <a:pt x="6508" y="1733"/>
                </a:cubicBezTo>
                <a:cubicBezTo>
                  <a:pt x="6520" y="1767"/>
                  <a:pt x="6557" y="1821"/>
                  <a:pt x="6592" y="1797"/>
                </a:cubicBezTo>
                <a:cubicBezTo>
                  <a:pt x="6595" y="1784"/>
                  <a:pt x="6580" y="1776"/>
                  <a:pt x="6594" y="1762"/>
                </a:cubicBezTo>
                <a:cubicBezTo>
                  <a:pt x="6596" y="1761"/>
                  <a:pt x="6596" y="1762"/>
                  <a:pt x="6598" y="1761"/>
                </a:cubicBezTo>
                <a:cubicBezTo>
                  <a:pt x="6605" y="1766"/>
                  <a:pt x="6605" y="1777"/>
                  <a:pt x="6611" y="1784"/>
                </a:cubicBezTo>
                <a:cubicBezTo>
                  <a:pt x="6614" y="1785"/>
                  <a:pt x="6615" y="1785"/>
                  <a:pt x="6618" y="1786"/>
                </a:cubicBezTo>
                <a:cubicBezTo>
                  <a:pt x="6618" y="1788"/>
                  <a:pt x="6619" y="1791"/>
                  <a:pt x="6619" y="1793"/>
                </a:cubicBezTo>
                <a:cubicBezTo>
                  <a:pt x="6620" y="1793"/>
                  <a:pt x="6620" y="1792"/>
                  <a:pt x="6620" y="1792"/>
                </a:cubicBezTo>
                <a:cubicBezTo>
                  <a:pt x="6623" y="1775"/>
                  <a:pt x="6637" y="1746"/>
                  <a:pt x="6654" y="1758"/>
                </a:cubicBezTo>
                <a:cubicBezTo>
                  <a:pt x="6662" y="1781"/>
                  <a:pt x="6637" y="1800"/>
                  <a:pt x="6653" y="1819"/>
                </a:cubicBezTo>
                <a:cubicBezTo>
                  <a:pt x="6659" y="1816"/>
                  <a:pt x="6661" y="1802"/>
                  <a:pt x="6663" y="1796"/>
                </a:cubicBezTo>
                <a:cubicBezTo>
                  <a:pt x="6676" y="1787"/>
                  <a:pt x="6678" y="1800"/>
                  <a:pt x="6688" y="1799"/>
                </a:cubicBezTo>
                <a:cubicBezTo>
                  <a:pt x="6697" y="1798"/>
                  <a:pt x="6710" y="1775"/>
                  <a:pt x="6710" y="1767"/>
                </a:cubicBezTo>
                <a:cubicBezTo>
                  <a:pt x="6712" y="1766"/>
                  <a:pt x="6713" y="1766"/>
                  <a:pt x="6715" y="1766"/>
                </a:cubicBezTo>
                <a:cubicBezTo>
                  <a:pt x="6717" y="1779"/>
                  <a:pt x="6720" y="1788"/>
                  <a:pt x="6724" y="1797"/>
                </a:cubicBezTo>
                <a:cubicBezTo>
                  <a:pt x="6736" y="1797"/>
                  <a:pt x="6750" y="1763"/>
                  <a:pt x="6762" y="1754"/>
                </a:cubicBezTo>
                <a:cubicBezTo>
                  <a:pt x="6778" y="1755"/>
                  <a:pt x="6783" y="1776"/>
                  <a:pt x="6780" y="1794"/>
                </a:cubicBezTo>
                <a:cubicBezTo>
                  <a:pt x="6780" y="1796"/>
                  <a:pt x="6780" y="1796"/>
                  <a:pt x="6780" y="1798"/>
                </a:cubicBezTo>
                <a:cubicBezTo>
                  <a:pt x="6786" y="1793"/>
                  <a:pt x="6792" y="1781"/>
                  <a:pt x="6803" y="1780"/>
                </a:cubicBezTo>
                <a:cubicBezTo>
                  <a:pt x="6809" y="1780"/>
                  <a:pt x="6813" y="1787"/>
                  <a:pt x="6817" y="1791"/>
                </a:cubicBezTo>
                <a:cubicBezTo>
                  <a:pt x="6829" y="1801"/>
                  <a:pt x="6849" y="1797"/>
                  <a:pt x="6858" y="1811"/>
                </a:cubicBezTo>
                <a:cubicBezTo>
                  <a:pt x="6864" y="1820"/>
                  <a:pt x="6864" y="1839"/>
                  <a:pt x="6869" y="1850"/>
                </a:cubicBezTo>
                <a:cubicBezTo>
                  <a:pt x="6876" y="1864"/>
                  <a:pt x="6890" y="1862"/>
                  <a:pt x="6898" y="1873"/>
                </a:cubicBezTo>
                <a:cubicBezTo>
                  <a:pt x="6903" y="1878"/>
                  <a:pt x="6904" y="1891"/>
                  <a:pt x="6910" y="1893"/>
                </a:cubicBezTo>
                <a:cubicBezTo>
                  <a:pt x="6917" y="1892"/>
                  <a:pt x="6923" y="1892"/>
                  <a:pt x="6930" y="1891"/>
                </a:cubicBezTo>
                <a:cubicBezTo>
                  <a:pt x="6934" y="1913"/>
                  <a:pt x="6933" y="1933"/>
                  <a:pt x="6933" y="1953"/>
                </a:cubicBezTo>
                <a:cubicBezTo>
                  <a:pt x="6934" y="1979"/>
                  <a:pt x="6951" y="2019"/>
                  <a:pt x="6959" y="2037"/>
                </a:cubicBezTo>
                <a:cubicBezTo>
                  <a:pt x="6961" y="2044"/>
                  <a:pt x="6963" y="2050"/>
                  <a:pt x="6965" y="2058"/>
                </a:cubicBezTo>
                <a:cubicBezTo>
                  <a:pt x="6970" y="2068"/>
                  <a:pt x="6983" y="2072"/>
                  <a:pt x="6990" y="2080"/>
                </a:cubicBezTo>
                <a:cubicBezTo>
                  <a:pt x="7005" y="2098"/>
                  <a:pt x="7011" y="2125"/>
                  <a:pt x="7013" y="2156"/>
                </a:cubicBezTo>
                <a:cubicBezTo>
                  <a:pt x="7020" y="2163"/>
                  <a:pt x="7054" y="2182"/>
                  <a:pt x="7049" y="2200"/>
                </a:cubicBezTo>
                <a:cubicBezTo>
                  <a:pt x="7046" y="2208"/>
                  <a:pt x="7035" y="2212"/>
                  <a:pt x="7031" y="2218"/>
                </a:cubicBezTo>
                <a:cubicBezTo>
                  <a:pt x="7033" y="2221"/>
                  <a:pt x="7034" y="2224"/>
                  <a:pt x="7035" y="2227"/>
                </a:cubicBezTo>
                <a:cubicBezTo>
                  <a:pt x="7019" y="2241"/>
                  <a:pt x="7006" y="2262"/>
                  <a:pt x="6989" y="2275"/>
                </a:cubicBezTo>
                <a:cubicBezTo>
                  <a:pt x="6989" y="2275"/>
                  <a:pt x="6988" y="2276"/>
                  <a:pt x="6988" y="2276"/>
                </a:cubicBezTo>
                <a:cubicBezTo>
                  <a:pt x="7004" y="2276"/>
                  <a:pt x="7020" y="2266"/>
                  <a:pt x="7038" y="2259"/>
                </a:cubicBezTo>
                <a:cubicBezTo>
                  <a:pt x="7031" y="2280"/>
                  <a:pt x="7052" y="2317"/>
                  <a:pt x="7061" y="2331"/>
                </a:cubicBezTo>
                <a:cubicBezTo>
                  <a:pt x="7064" y="2336"/>
                  <a:pt x="7070" y="2338"/>
                  <a:pt x="7072" y="2346"/>
                </a:cubicBezTo>
                <a:cubicBezTo>
                  <a:pt x="7072" y="2348"/>
                  <a:pt x="7071" y="2349"/>
                  <a:pt x="7071" y="2351"/>
                </a:cubicBezTo>
                <a:cubicBezTo>
                  <a:pt x="7067" y="2349"/>
                  <a:pt x="7062" y="2349"/>
                  <a:pt x="7058" y="2348"/>
                </a:cubicBezTo>
                <a:cubicBezTo>
                  <a:pt x="7051" y="2352"/>
                  <a:pt x="7044" y="2365"/>
                  <a:pt x="7050" y="2375"/>
                </a:cubicBezTo>
                <a:cubicBezTo>
                  <a:pt x="7053" y="2378"/>
                  <a:pt x="7056" y="2381"/>
                  <a:pt x="7059" y="2384"/>
                </a:cubicBezTo>
                <a:cubicBezTo>
                  <a:pt x="7063" y="2392"/>
                  <a:pt x="7068" y="2401"/>
                  <a:pt x="7072" y="2408"/>
                </a:cubicBezTo>
                <a:cubicBezTo>
                  <a:pt x="7078" y="2413"/>
                  <a:pt x="7083" y="2418"/>
                  <a:pt x="7088" y="2423"/>
                </a:cubicBezTo>
                <a:cubicBezTo>
                  <a:pt x="7096" y="2426"/>
                  <a:pt x="7087" y="2437"/>
                  <a:pt x="7085" y="2444"/>
                </a:cubicBezTo>
                <a:cubicBezTo>
                  <a:pt x="7083" y="2451"/>
                  <a:pt x="7082" y="2459"/>
                  <a:pt x="7079" y="2465"/>
                </a:cubicBezTo>
                <a:cubicBezTo>
                  <a:pt x="7071" y="2478"/>
                  <a:pt x="7060" y="2486"/>
                  <a:pt x="7057" y="2502"/>
                </a:cubicBezTo>
                <a:cubicBezTo>
                  <a:pt x="7059" y="2506"/>
                  <a:pt x="7069" y="2504"/>
                  <a:pt x="7073" y="2506"/>
                </a:cubicBezTo>
                <a:cubicBezTo>
                  <a:pt x="7079" y="2509"/>
                  <a:pt x="7086" y="2513"/>
                  <a:pt x="7092" y="2516"/>
                </a:cubicBezTo>
                <a:cubicBezTo>
                  <a:pt x="7095" y="2515"/>
                  <a:pt x="7097" y="2514"/>
                  <a:pt x="7101" y="2513"/>
                </a:cubicBezTo>
                <a:cubicBezTo>
                  <a:pt x="7102" y="2515"/>
                  <a:pt x="7102" y="2515"/>
                  <a:pt x="7104" y="2515"/>
                </a:cubicBezTo>
                <a:cubicBezTo>
                  <a:pt x="7106" y="2536"/>
                  <a:pt x="7096" y="2544"/>
                  <a:pt x="7100" y="2566"/>
                </a:cubicBezTo>
                <a:cubicBezTo>
                  <a:pt x="7120" y="2563"/>
                  <a:pt x="7128" y="2580"/>
                  <a:pt x="7129" y="2608"/>
                </a:cubicBezTo>
                <a:cubicBezTo>
                  <a:pt x="7129" y="2614"/>
                  <a:pt x="7128" y="2620"/>
                  <a:pt x="7129" y="2626"/>
                </a:cubicBezTo>
                <a:cubicBezTo>
                  <a:pt x="7126" y="2632"/>
                  <a:pt x="7112" y="2633"/>
                  <a:pt x="7107" y="2633"/>
                </a:cubicBezTo>
                <a:cubicBezTo>
                  <a:pt x="7100" y="2633"/>
                  <a:pt x="7093" y="2633"/>
                  <a:pt x="7085" y="2633"/>
                </a:cubicBezTo>
                <a:cubicBezTo>
                  <a:pt x="7073" y="2632"/>
                  <a:pt x="7064" y="2621"/>
                  <a:pt x="7048" y="2628"/>
                </a:cubicBezTo>
                <a:cubicBezTo>
                  <a:pt x="7048" y="2629"/>
                  <a:pt x="7048" y="2630"/>
                  <a:pt x="7048" y="2630"/>
                </a:cubicBezTo>
                <a:cubicBezTo>
                  <a:pt x="7058" y="2647"/>
                  <a:pt x="7082" y="2635"/>
                  <a:pt x="7094" y="2648"/>
                </a:cubicBezTo>
                <a:cubicBezTo>
                  <a:pt x="7102" y="2657"/>
                  <a:pt x="7099" y="2674"/>
                  <a:pt x="7095" y="2682"/>
                </a:cubicBezTo>
                <a:cubicBezTo>
                  <a:pt x="7086" y="2704"/>
                  <a:pt x="7057" y="2722"/>
                  <a:pt x="7052" y="2745"/>
                </a:cubicBezTo>
                <a:cubicBezTo>
                  <a:pt x="7058" y="2755"/>
                  <a:pt x="7085" y="2756"/>
                  <a:pt x="7098" y="2745"/>
                </a:cubicBezTo>
                <a:cubicBezTo>
                  <a:pt x="7101" y="2739"/>
                  <a:pt x="7105" y="2734"/>
                  <a:pt x="7108" y="2729"/>
                </a:cubicBezTo>
                <a:cubicBezTo>
                  <a:pt x="7111" y="2727"/>
                  <a:pt x="7112" y="2729"/>
                  <a:pt x="7114" y="2730"/>
                </a:cubicBezTo>
                <a:cubicBezTo>
                  <a:pt x="7114" y="2743"/>
                  <a:pt x="7106" y="2749"/>
                  <a:pt x="7099" y="2757"/>
                </a:cubicBezTo>
                <a:cubicBezTo>
                  <a:pt x="7091" y="2767"/>
                  <a:pt x="7084" y="2780"/>
                  <a:pt x="7073" y="2789"/>
                </a:cubicBezTo>
                <a:cubicBezTo>
                  <a:pt x="7062" y="2798"/>
                  <a:pt x="7044" y="2803"/>
                  <a:pt x="7035" y="2811"/>
                </a:cubicBezTo>
                <a:cubicBezTo>
                  <a:pt x="7033" y="2821"/>
                  <a:pt x="7043" y="2819"/>
                  <a:pt x="7043" y="2830"/>
                </a:cubicBezTo>
                <a:cubicBezTo>
                  <a:pt x="7043" y="2837"/>
                  <a:pt x="7039" y="2846"/>
                  <a:pt x="7044" y="2854"/>
                </a:cubicBezTo>
                <a:cubicBezTo>
                  <a:pt x="7047" y="2860"/>
                  <a:pt x="7057" y="2861"/>
                  <a:pt x="7063" y="2863"/>
                </a:cubicBezTo>
                <a:cubicBezTo>
                  <a:pt x="7078" y="2870"/>
                  <a:pt x="7114" y="2889"/>
                  <a:pt x="7134" y="2871"/>
                </a:cubicBezTo>
                <a:cubicBezTo>
                  <a:pt x="7151" y="2855"/>
                  <a:pt x="7155" y="2821"/>
                  <a:pt x="7153" y="2793"/>
                </a:cubicBezTo>
                <a:cubicBezTo>
                  <a:pt x="7163" y="2780"/>
                  <a:pt x="7176" y="2778"/>
                  <a:pt x="7177" y="2759"/>
                </a:cubicBezTo>
                <a:cubicBezTo>
                  <a:pt x="7178" y="2759"/>
                  <a:pt x="7179" y="2758"/>
                  <a:pt x="7180" y="2758"/>
                </a:cubicBezTo>
                <a:cubicBezTo>
                  <a:pt x="7184" y="2760"/>
                  <a:pt x="7180" y="2770"/>
                  <a:pt x="7183" y="2775"/>
                </a:cubicBezTo>
                <a:cubicBezTo>
                  <a:pt x="7183" y="2775"/>
                  <a:pt x="7183" y="2776"/>
                  <a:pt x="7183" y="2776"/>
                </a:cubicBezTo>
                <a:cubicBezTo>
                  <a:pt x="7184" y="2776"/>
                  <a:pt x="7186" y="2775"/>
                  <a:pt x="7187" y="2775"/>
                </a:cubicBezTo>
                <a:cubicBezTo>
                  <a:pt x="7190" y="2764"/>
                  <a:pt x="7198" y="2737"/>
                  <a:pt x="7214" y="2740"/>
                </a:cubicBezTo>
                <a:cubicBezTo>
                  <a:pt x="7214" y="2757"/>
                  <a:pt x="7206" y="2786"/>
                  <a:pt x="7193" y="2795"/>
                </a:cubicBezTo>
                <a:cubicBezTo>
                  <a:pt x="7196" y="2808"/>
                  <a:pt x="7203" y="2807"/>
                  <a:pt x="7211" y="2809"/>
                </a:cubicBezTo>
                <a:cubicBezTo>
                  <a:pt x="7217" y="2811"/>
                  <a:pt x="7223" y="2812"/>
                  <a:pt x="7228" y="2814"/>
                </a:cubicBezTo>
                <a:cubicBezTo>
                  <a:pt x="7247" y="2815"/>
                  <a:pt x="7264" y="2798"/>
                  <a:pt x="7279" y="2789"/>
                </a:cubicBezTo>
                <a:cubicBezTo>
                  <a:pt x="7277" y="2794"/>
                  <a:pt x="7276" y="2799"/>
                  <a:pt x="7275" y="2805"/>
                </a:cubicBezTo>
                <a:cubicBezTo>
                  <a:pt x="7270" y="2812"/>
                  <a:pt x="7229" y="2834"/>
                  <a:pt x="7217" y="2838"/>
                </a:cubicBezTo>
                <a:cubicBezTo>
                  <a:pt x="7219" y="2845"/>
                  <a:pt x="7221" y="2851"/>
                  <a:pt x="7223" y="2857"/>
                </a:cubicBezTo>
                <a:cubicBezTo>
                  <a:pt x="7239" y="2874"/>
                  <a:pt x="7250" y="2846"/>
                  <a:pt x="7259" y="2839"/>
                </a:cubicBezTo>
                <a:cubicBezTo>
                  <a:pt x="7268" y="2833"/>
                  <a:pt x="7277" y="2837"/>
                  <a:pt x="7285" y="2836"/>
                </a:cubicBezTo>
                <a:cubicBezTo>
                  <a:pt x="7285" y="2836"/>
                  <a:pt x="7285" y="2837"/>
                  <a:pt x="7285" y="2837"/>
                </a:cubicBezTo>
                <a:cubicBezTo>
                  <a:pt x="7272" y="2850"/>
                  <a:pt x="7260" y="2857"/>
                  <a:pt x="7249" y="2871"/>
                </a:cubicBezTo>
                <a:cubicBezTo>
                  <a:pt x="7245" y="2876"/>
                  <a:pt x="7241" y="2881"/>
                  <a:pt x="7237" y="2886"/>
                </a:cubicBezTo>
                <a:cubicBezTo>
                  <a:pt x="7234" y="2894"/>
                  <a:pt x="7230" y="2902"/>
                  <a:pt x="7226" y="2909"/>
                </a:cubicBezTo>
                <a:cubicBezTo>
                  <a:pt x="7242" y="2922"/>
                  <a:pt x="7272" y="2868"/>
                  <a:pt x="7281" y="2879"/>
                </a:cubicBezTo>
                <a:cubicBezTo>
                  <a:pt x="7285" y="2887"/>
                  <a:pt x="7272" y="2902"/>
                  <a:pt x="7283" y="2914"/>
                </a:cubicBezTo>
                <a:cubicBezTo>
                  <a:pt x="7286" y="2917"/>
                  <a:pt x="7290" y="2916"/>
                  <a:pt x="7293" y="2916"/>
                </a:cubicBezTo>
                <a:cubicBezTo>
                  <a:pt x="7303" y="2918"/>
                  <a:pt x="7316" y="2923"/>
                  <a:pt x="7320" y="2936"/>
                </a:cubicBezTo>
                <a:cubicBezTo>
                  <a:pt x="7313" y="2964"/>
                  <a:pt x="7281" y="2937"/>
                  <a:pt x="7272" y="2934"/>
                </a:cubicBezTo>
                <a:cubicBezTo>
                  <a:pt x="7272" y="2936"/>
                  <a:pt x="7272" y="2936"/>
                  <a:pt x="7272" y="2937"/>
                </a:cubicBezTo>
                <a:cubicBezTo>
                  <a:pt x="7271" y="2937"/>
                  <a:pt x="7269" y="2937"/>
                  <a:pt x="7268" y="2937"/>
                </a:cubicBezTo>
                <a:cubicBezTo>
                  <a:pt x="7267" y="2968"/>
                  <a:pt x="7328" y="2957"/>
                  <a:pt x="7334" y="2986"/>
                </a:cubicBezTo>
                <a:cubicBezTo>
                  <a:pt x="7327" y="3001"/>
                  <a:pt x="7317" y="2995"/>
                  <a:pt x="7304" y="3002"/>
                </a:cubicBezTo>
                <a:cubicBezTo>
                  <a:pt x="7303" y="3027"/>
                  <a:pt x="7338" y="3011"/>
                  <a:pt x="7335" y="3034"/>
                </a:cubicBezTo>
                <a:cubicBezTo>
                  <a:pt x="7335" y="3035"/>
                  <a:pt x="7335" y="3036"/>
                  <a:pt x="7335" y="3036"/>
                </a:cubicBezTo>
                <a:cubicBezTo>
                  <a:pt x="7326" y="3042"/>
                  <a:pt x="7319" y="3036"/>
                  <a:pt x="7310" y="3042"/>
                </a:cubicBezTo>
                <a:cubicBezTo>
                  <a:pt x="7309" y="3044"/>
                  <a:pt x="7307" y="3045"/>
                  <a:pt x="7307" y="3046"/>
                </a:cubicBezTo>
                <a:cubicBezTo>
                  <a:pt x="7307" y="3047"/>
                  <a:pt x="7307" y="3049"/>
                  <a:pt x="7307" y="3050"/>
                </a:cubicBezTo>
                <a:cubicBezTo>
                  <a:pt x="7314" y="3057"/>
                  <a:pt x="7323" y="3066"/>
                  <a:pt x="7336" y="3058"/>
                </a:cubicBezTo>
                <a:cubicBezTo>
                  <a:pt x="7340" y="3056"/>
                  <a:pt x="7344" y="3053"/>
                  <a:pt x="7348" y="3053"/>
                </a:cubicBezTo>
                <a:cubicBezTo>
                  <a:pt x="7349" y="3054"/>
                  <a:pt x="7350" y="3055"/>
                  <a:pt x="7351" y="3056"/>
                </a:cubicBezTo>
                <a:cubicBezTo>
                  <a:pt x="7352" y="3064"/>
                  <a:pt x="7347" y="3081"/>
                  <a:pt x="7340" y="3085"/>
                </a:cubicBezTo>
                <a:cubicBezTo>
                  <a:pt x="7333" y="3088"/>
                  <a:pt x="7297" y="3078"/>
                  <a:pt x="7291" y="3075"/>
                </a:cubicBezTo>
                <a:cubicBezTo>
                  <a:pt x="7278" y="3069"/>
                  <a:pt x="7269" y="3055"/>
                  <a:pt x="7259" y="3044"/>
                </a:cubicBezTo>
                <a:cubicBezTo>
                  <a:pt x="7247" y="3030"/>
                  <a:pt x="7216" y="3006"/>
                  <a:pt x="7200" y="3000"/>
                </a:cubicBezTo>
                <a:cubicBezTo>
                  <a:pt x="7191" y="2997"/>
                  <a:pt x="7173" y="3011"/>
                  <a:pt x="7162" y="3009"/>
                </a:cubicBezTo>
                <a:cubicBezTo>
                  <a:pt x="7153" y="3004"/>
                  <a:pt x="7144" y="3000"/>
                  <a:pt x="7135" y="2996"/>
                </a:cubicBezTo>
                <a:cubicBezTo>
                  <a:pt x="7133" y="2995"/>
                  <a:pt x="7132" y="2999"/>
                  <a:pt x="7130" y="2999"/>
                </a:cubicBezTo>
                <a:cubicBezTo>
                  <a:pt x="7129" y="2998"/>
                  <a:pt x="7129" y="2997"/>
                  <a:pt x="7129" y="2996"/>
                </a:cubicBezTo>
                <a:cubicBezTo>
                  <a:pt x="7128" y="2996"/>
                  <a:pt x="7127" y="2996"/>
                  <a:pt x="7126" y="2997"/>
                </a:cubicBezTo>
                <a:cubicBezTo>
                  <a:pt x="7124" y="2999"/>
                  <a:pt x="7124" y="3002"/>
                  <a:pt x="7123" y="3004"/>
                </a:cubicBezTo>
                <a:cubicBezTo>
                  <a:pt x="7122" y="3004"/>
                  <a:pt x="7122" y="3005"/>
                  <a:pt x="7122" y="3005"/>
                </a:cubicBezTo>
                <a:cubicBezTo>
                  <a:pt x="7119" y="3003"/>
                  <a:pt x="7116" y="2999"/>
                  <a:pt x="7114" y="2999"/>
                </a:cubicBezTo>
                <a:cubicBezTo>
                  <a:pt x="7113" y="3003"/>
                  <a:pt x="7113" y="3006"/>
                  <a:pt x="7113" y="3010"/>
                </a:cubicBezTo>
                <a:cubicBezTo>
                  <a:pt x="7107" y="3019"/>
                  <a:pt x="7102" y="3029"/>
                  <a:pt x="7098" y="3034"/>
                </a:cubicBezTo>
                <a:cubicBezTo>
                  <a:pt x="7101" y="3047"/>
                  <a:pt x="7112" y="3045"/>
                  <a:pt x="7118" y="3053"/>
                </a:cubicBezTo>
                <a:cubicBezTo>
                  <a:pt x="7122" y="3059"/>
                  <a:pt x="7118" y="3068"/>
                  <a:pt x="7121" y="3075"/>
                </a:cubicBezTo>
                <a:cubicBezTo>
                  <a:pt x="7129" y="3093"/>
                  <a:pt x="7154" y="3106"/>
                  <a:pt x="7171" y="3107"/>
                </a:cubicBezTo>
                <a:cubicBezTo>
                  <a:pt x="7173" y="3106"/>
                  <a:pt x="7173" y="3106"/>
                  <a:pt x="7174" y="3104"/>
                </a:cubicBezTo>
                <a:cubicBezTo>
                  <a:pt x="7178" y="3104"/>
                  <a:pt x="7181" y="3103"/>
                  <a:pt x="7186" y="3103"/>
                </a:cubicBezTo>
                <a:cubicBezTo>
                  <a:pt x="7207" y="3108"/>
                  <a:pt x="7222" y="3139"/>
                  <a:pt x="7238" y="3154"/>
                </a:cubicBezTo>
                <a:cubicBezTo>
                  <a:pt x="7251" y="3166"/>
                  <a:pt x="7266" y="3168"/>
                  <a:pt x="7283" y="3171"/>
                </a:cubicBezTo>
                <a:cubicBezTo>
                  <a:pt x="7288" y="3172"/>
                  <a:pt x="7291" y="3175"/>
                  <a:pt x="7296" y="3175"/>
                </a:cubicBezTo>
                <a:cubicBezTo>
                  <a:pt x="7300" y="3166"/>
                  <a:pt x="7304" y="3157"/>
                  <a:pt x="7317" y="3157"/>
                </a:cubicBezTo>
                <a:cubicBezTo>
                  <a:pt x="7318" y="3157"/>
                  <a:pt x="7318" y="3157"/>
                  <a:pt x="7318" y="3158"/>
                </a:cubicBezTo>
                <a:cubicBezTo>
                  <a:pt x="7319" y="3158"/>
                  <a:pt x="7319" y="3160"/>
                  <a:pt x="7320" y="3160"/>
                </a:cubicBezTo>
                <a:cubicBezTo>
                  <a:pt x="7318" y="3163"/>
                  <a:pt x="7315" y="3164"/>
                  <a:pt x="7313" y="3167"/>
                </a:cubicBezTo>
                <a:cubicBezTo>
                  <a:pt x="7314" y="3169"/>
                  <a:pt x="7315" y="3170"/>
                  <a:pt x="7316" y="3172"/>
                </a:cubicBezTo>
                <a:cubicBezTo>
                  <a:pt x="7334" y="3171"/>
                  <a:pt x="7337" y="3157"/>
                  <a:pt x="7348" y="3151"/>
                </a:cubicBezTo>
                <a:cubicBezTo>
                  <a:pt x="7356" y="3145"/>
                  <a:pt x="7361" y="3153"/>
                  <a:pt x="7368" y="3148"/>
                </a:cubicBezTo>
                <a:cubicBezTo>
                  <a:pt x="7366" y="3158"/>
                  <a:pt x="7359" y="3163"/>
                  <a:pt x="7355" y="3172"/>
                </a:cubicBezTo>
                <a:cubicBezTo>
                  <a:pt x="7352" y="3182"/>
                  <a:pt x="7353" y="3191"/>
                  <a:pt x="7350" y="3201"/>
                </a:cubicBezTo>
                <a:cubicBezTo>
                  <a:pt x="7349" y="3206"/>
                  <a:pt x="7343" y="3209"/>
                  <a:pt x="7342" y="3215"/>
                </a:cubicBezTo>
                <a:cubicBezTo>
                  <a:pt x="7344" y="3223"/>
                  <a:pt x="7352" y="3227"/>
                  <a:pt x="7351" y="3236"/>
                </a:cubicBezTo>
                <a:cubicBezTo>
                  <a:pt x="7350" y="3238"/>
                  <a:pt x="7340" y="3245"/>
                  <a:pt x="7338" y="3245"/>
                </a:cubicBezTo>
                <a:cubicBezTo>
                  <a:pt x="7338" y="3254"/>
                  <a:pt x="7333" y="3263"/>
                  <a:pt x="7337" y="3271"/>
                </a:cubicBezTo>
                <a:cubicBezTo>
                  <a:pt x="7339" y="3274"/>
                  <a:pt x="7342" y="3273"/>
                  <a:pt x="7346" y="3273"/>
                </a:cubicBezTo>
                <a:cubicBezTo>
                  <a:pt x="7347" y="3274"/>
                  <a:pt x="7347" y="3274"/>
                  <a:pt x="7348" y="3274"/>
                </a:cubicBezTo>
                <a:cubicBezTo>
                  <a:pt x="7344" y="3278"/>
                  <a:pt x="7340" y="3282"/>
                  <a:pt x="7337" y="3286"/>
                </a:cubicBezTo>
                <a:cubicBezTo>
                  <a:pt x="7336" y="3294"/>
                  <a:pt x="7342" y="3306"/>
                  <a:pt x="7339" y="3314"/>
                </a:cubicBezTo>
                <a:cubicBezTo>
                  <a:pt x="7336" y="3322"/>
                  <a:pt x="7329" y="3326"/>
                  <a:pt x="7326" y="3334"/>
                </a:cubicBezTo>
                <a:cubicBezTo>
                  <a:pt x="7326" y="3335"/>
                  <a:pt x="7326" y="3336"/>
                  <a:pt x="7326" y="3336"/>
                </a:cubicBezTo>
                <a:cubicBezTo>
                  <a:pt x="7344" y="3331"/>
                  <a:pt x="7341" y="3320"/>
                  <a:pt x="7356" y="3313"/>
                </a:cubicBezTo>
                <a:cubicBezTo>
                  <a:pt x="7365" y="3314"/>
                  <a:pt x="7363" y="3321"/>
                  <a:pt x="7368" y="3328"/>
                </a:cubicBezTo>
                <a:cubicBezTo>
                  <a:pt x="7371" y="3330"/>
                  <a:pt x="7373" y="3332"/>
                  <a:pt x="7376" y="3333"/>
                </a:cubicBezTo>
                <a:cubicBezTo>
                  <a:pt x="7376" y="3333"/>
                  <a:pt x="7377" y="3334"/>
                  <a:pt x="7377" y="3334"/>
                </a:cubicBezTo>
                <a:cubicBezTo>
                  <a:pt x="7377" y="3335"/>
                  <a:pt x="7377" y="3335"/>
                  <a:pt x="7377" y="3336"/>
                </a:cubicBezTo>
                <a:cubicBezTo>
                  <a:pt x="7373" y="3352"/>
                  <a:pt x="7347" y="3348"/>
                  <a:pt x="7336" y="3355"/>
                </a:cubicBezTo>
                <a:cubicBezTo>
                  <a:pt x="7334" y="3357"/>
                  <a:pt x="7322" y="3383"/>
                  <a:pt x="7321" y="3386"/>
                </a:cubicBezTo>
                <a:cubicBezTo>
                  <a:pt x="7322" y="3389"/>
                  <a:pt x="7322" y="3392"/>
                  <a:pt x="7323" y="3396"/>
                </a:cubicBezTo>
                <a:cubicBezTo>
                  <a:pt x="7321" y="3401"/>
                  <a:pt x="7318" y="3406"/>
                  <a:pt x="7316" y="3411"/>
                </a:cubicBezTo>
                <a:cubicBezTo>
                  <a:pt x="7314" y="3418"/>
                  <a:pt x="7311" y="3425"/>
                  <a:pt x="7309" y="3432"/>
                </a:cubicBezTo>
                <a:cubicBezTo>
                  <a:pt x="7315" y="3400"/>
                  <a:pt x="7281" y="3380"/>
                  <a:pt x="7267" y="3374"/>
                </a:cubicBezTo>
                <a:cubicBezTo>
                  <a:pt x="7253" y="3367"/>
                  <a:pt x="7246" y="3350"/>
                  <a:pt x="7236" y="3334"/>
                </a:cubicBezTo>
                <a:cubicBezTo>
                  <a:pt x="7218" y="3306"/>
                  <a:pt x="7192" y="3286"/>
                  <a:pt x="7152" y="3301"/>
                </a:cubicBezTo>
                <a:cubicBezTo>
                  <a:pt x="7139" y="3314"/>
                  <a:pt x="7127" y="3326"/>
                  <a:pt x="7121" y="3344"/>
                </a:cubicBezTo>
                <a:cubicBezTo>
                  <a:pt x="7124" y="3359"/>
                  <a:pt x="7138" y="3351"/>
                  <a:pt x="7141" y="3370"/>
                </a:cubicBezTo>
                <a:cubicBezTo>
                  <a:pt x="7136" y="3370"/>
                  <a:pt x="7131" y="3369"/>
                  <a:pt x="7126" y="3368"/>
                </a:cubicBezTo>
                <a:cubicBezTo>
                  <a:pt x="7120" y="3375"/>
                  <a:pt x="7117" y="3379"/>
                  <a:pt x="7116" y="3390"/>
                </a:cubicBezTo>
                <a:cubicBezTo>
                  <a:pt x="7124" y="3403"/>
                  <a:pt x="7134" y="3410"/>
                  <a:pt x="7141" y="3426"/>
                </a:cubicBezTo>
                <a:cubicBezTo>
                  <a:pt x="7132" y="3425"/>
                  <a:pt x="7120" y="3425"/>
                  <a:pt x="7111" y="3432"/>
                </a:cubicBezTo>
                <a:cubicBezTo>
                  <a:pt x="7110" y="3436"/>
                  <a:pt x="7111" y="3437"/>
                  <a:pt x="7114" y="3439"/>
                </a:cubicBezTo>
                <a:cubicBezTo>
                  <a:pt x="7120" y="3441"/>
                  <a:pt x="7126" y="3443"/>
                  <a:pt x="7132" y="3445"/>
                </a:cubicBezTo>
                <a:cubicBezTo>
                  <a:pt x="7142" y="3450"/>
                  <a:pt x="7151" y="3454"/>
                  <a:pt x="7160" y="3458"/>
                </a:cubicBezTo>
                <a:cubicBezTo>
                  <a:pt x="7165" y="3457"/>
                  <a:pt x="7170" y="3455"/>
                  <a:pt x="7175" y="3454"/>
                </a:cubicBezTo>
                <a:cubicBezTo>
                  <a:pt x="7175" y="3454"/>
                  <a:pt x="7175" y="3454"/>
                  <a:pt x="7176" y="3454"/>
                </a:cubicBezTo>
                <a:cubicBezTo>
                  <a:pt x="7177" y="3458"/>
                  <a:pt x="7178" y="3460"/>
                  <a:pt x="7178" y="3463"/>
                </a:cubicBezTo>
                <a:cubicBezTo>
                  <a:pt x="7183" y="3464"/>
                  <a:pt x="7190" y="3464"/>
                  <a:pt x="7196" y="3463"/>
                </a:cubicBezTo>
                <a:cubicBezTo>
                  <a:pt x="7196" y="3464"/>
                  <a:pt x="7197" y="3464"/>
                  <a:pt x="7197" y="3465"/>
                </a:cubicBezTo>
                <a:cubicBezTo>
                  <a:pt x="7187" y="3473"/>
                  <a:pt x="7184" y="3473"/>
                  <a:pt x="7175" y="3470"/>
                </a:cubicBezTo>
                <a:cubicBezTo>
                  <a:pt x="7170" y="3473"/>
                  <a:pt x="7158" y="3483"/>
                  <a:pt x="7156" y="3489"/>
                </a:cubicBezTo>
                <a:cubicBezTo>
                  <a:pt x="7154" y="3505"/>
                  <a:pt x="7184" y="3536"/>
                  <a:pt x="7197" y="3529"/>
                </a:cubicBezTo>
                <a:cubicBezTo>
                  <a:pt x="7202" y="3525"/>
                  <a:pt x="7207" y="3521"/>
                  <a:pt x="7212" y="3517"/>
                </a:cubicBezTo>
                <a:cubicBezTo>
                  <a:pt x="7200" y="3533"/>
                  <a:pt x="7189" y="3552"/>
                  <a:pt x="7171" y="3563"/>
                </a:cubicBezTo>
                <a:cubicBezTo>
                  <a:pt x="7178" y="3563"/>
                  <a:pt x="7191" y="3565"/>
                  <a:pt x="7198" y="3564"/>
                </a:cubicBezTo>
                <a:cubicBezTo>
                  <a:pt x="7206" y="3560"/>
                  <a:pt x="7215" y="3555"/>
                  <a:pt x="7224" y="3552"/>
                </a:cubicBezTo>
                <a:cubicBezTo>
                  <a:pt x="7229" y="3554"/>
                  <a:pt x="7234" y="3555"/>
                  <a:pt x="7239" y="3557"/>
                </a:cubicBezTo>
                <a:cubicBezTo>
                  <a:pt x="7250" y="3559"/>
                  <a:pt x="7262" y="3559"/>
                  <a:pt x="7274" y="3559"/>
                </a:cubicBezTo>
                <a:cubicBezTo>
                  <a:pt x="7281" y="3546"/>
                  <a:pt x="7288" y="3548"/>
                  <a:pt x="7300" y="3540"/>
                </a:cubicBezTo>
                <a:cubicBezTo>
                  <a:pt x="7300" y="3539"/>
                  <a:pt x="7301" y="3539"/>
                  <a:pt x="7301" y="3539"/>
                </a:cubicBezTo>
                <a:cubicBezTo>
                  <a:pt x="7301" y="3533"/>
                  <a:pt x="7298" y="3529"/>
                  <a:pt x="7294" y="3528"/>
                </a:cubicBezTo>
                <a:cubicBezTo>
                  <a:pt x="7294" y="3528"/>
                  <a:pt x="7294" y="3527"/>
                  <a:pt x="7294" y="3527"/>
                </a:cubicBezTo>
                <a:cubicBezTo>
                  <a:pt x="7299" y="3514"/>
                  <a:pt x="7315" y="3512"/>
                  <a:pt x="7322" y="3521"/>
                </a:cubicBezTo>
                <a:cubicBezTo>
                  <a:pt x="7323" y="3537"/>
                  <a:pt x="7307" y="3543"/>
                  <a:pt x="7307" y="3558"/>
                </a:cubicBezTo>
                <a:cubicBezTo>
                  <a:pt x="7306" y="3581"/>
                  <a:pt x="7344" y="3586"/>
                  <a:pt x="7351" y="3601"/>
                </a:cubicBezTo>
                <a:cubicBezTo>
                  <a:pt x="7348" y="3603"/>
                  <a:pt x="7347" y="3604"/>
                  <a:pt x="7348" y="3608"/>
                </a:cubicBezTo>
                <a:cubicBezTo>
                  <a:pt x="7334" y="3602"/>
                  <a:pt x="7319" y="3597"/>
                  <a:pt x="7302" y="3599"/>
                </a:cubicBezTo>
                <a:cubicBezTo>
                  <a:pt x="7291" y="3600"/>
                  <a:pt x="7279" y="3602"/>
                  <a:pt x="7267" y="3605"/>
                </a:cubicBezTo>
                <a:cubicBezTo>
                  <a:pt x="7254" y="3605"/>
                  <a:pt x="7243" y="3600"/>
                  <a:pt x="7232" y="3596"/>
                </a:cubicBezTo>
                <a:cubicBezTo>
                  <a:pt x="7217" y="3592"/>
                  <a:pt x="7203" y="3586"/>
                  <a:pt x="7188" y="3582"/>
                </a:cubicBezTo>
                <a:cubicBezTo>
                  <a:pt x="7187" y="3582"/>
                  <a:pt x="7187" y="3583"/>
                  <a:pt x="7186" y="3583"/>
                </a:cubicBezTo>
                <a:cubicBezTo>
                  <a:pt x="7186" y="3585"/>
                  <a:pt x="7185" y="3588"/>
                  <a:pt x="7184" y="3590"/>
                </a:cubicBezTo>
                <a:cubicBezTo>
                  <a:pt x="7184" y="3600"/>
                  <a:pt x="7218" y="3613"/>
                  <a:pt x="7226" y="3613"/>
                </a:cubicBezTo>
                <a:cubicBezTo>
                  <a:pt x="7229" y="3615"/>
                  <a:pt x="7234" y="3618"/>
                  <a:pt x="7229" y="3623"/>
                </a:cubicBezTo>
                <a:cubicBezTo>
                  <a:pt x="7220" y="3629"/>
                  <a:pt x="7197" y="3608"/>
                  <a:pt x="7181" y="3615"/>
                </a:cubicBezTo>
                <a:cubicBezTo>
                  <a:pt x="7157" y="3627"/>
                  <a:pt x="7159" y="3654"/>
                  <a:pt x="7151" y="3675"/>
                </a:cubicBezTo>
                <a:cubicBezTo>
                  <a:pt x="7145" y="3690"/>
                  <a:pt x="7140" y="3704"/>
                  <a:pt x="7134" y="3719"/>
                </a:cubicBezTo>
                <a:cubicBezTo>
                  <a:pt x="7133" y="3722"/>
                  <a:pt x="7135" y="3725"/>
                  <a:pt x="7136" y="3727"/>
                </a:cubicBezTo>
                <a:cubicBezTo>
                  <a:pt x="7159" y="3736"/>
                  <a:pt x="7173" y="3693"/>
                  <a:pt x="7182" y="3683"/>
                </a:cubicBezTo>
                <a:cubicBezTo>
                  <a:pt x="7188" y="3679"/>
                  <a:pt x="7194" y="3676"/>
                  <a:pt x="7200" y="3672"/>
                </a:cubicBezTo>
                <a:cubicBezTo>
                  <a:pt x="7215" y="3659"/>
                  <a:pt x="7225" y="3645"/>
                  <a:pt x="7247" y="3637"/>
                </a:cubicBezTo>
                <a:cubicBezTo>
                  <a:pt x="7246" y="3643"/>
                  <a:pt x="7243" y="3647"/>
                  <a:pt x="7243" y="3654"/>
                </a:cubicBezTo>
                <a:cubicBezTo>
                  <a:pt x="7251" y="3666"/>
                  <a:pt x="7259" y="3658"/>
                  <a:pt x="7274" y="3656"/>
                </a:cubicBezTo>
                <a:cubicBezTo>
                  <a:pt x="7279" y="3656"/>
                  <a:pt x="7282" y="3655"/>
                  <a:pt x="7287" y="3655"/>
                </a:cubicBezTo>
                <a:cubicBezTo>
                  <a:pt x="7293" y="3647"/>
                  <a:pt x="7306" y="3635"/>
                  <a:pt x="7298" y="3623"/>
                </a:cubicBezTo>
                <a:cubicBezTo>
                  <a:pt x="7314" y="3619"/>
                  <a:pt x="7324" y="3616"/>
                  <a:pt x="7334" y="3623"/>
                </a:cubicBezTo>
                <a:cubicBezTo>
                  <a:pt x="7334" y="3623"/>
                  <a:pt x="7335" y="3624"/>
                  <a:pt x="7335" y="3625"/>
                </a:cubicBezTo>
                <a:cubicBezTo>
                  <a:pt x="7328" y="3637"/>
                  <a:pt x="7314" y="3648"/>
                  <a:pt x="7315" y="3663"/>
                </a:cubicBezTo>
                <a:cubicBezTo>
                  <a:pt x="7320" y="3668"/>
                  <a:pt x="7327" y="3669"/>
                  <a:pt x="7329" y="3680"/>
                </a:cubicBezTo>
                <a:cubicBezTo>
                  <a:pt x="7305" y="3681"/>
                  <a:pt x="7280" y="3685"/>
                  <a:pt x="7259" y="3681"/>
                </a:cubicBezTo>
                <a:cubicBezTo>
                  <a:pt x="7248" y="3680"/>
                  <a:pt x="7238" y="3672"/>
                  <a:pt x="7226" y="3674"/>
                </a:cubicBezTo>
                <a:cubicBezTo>
                  <a:pt x="7215" y="3676"/>
                  <a:pt x="7206" y="3691"/>
                  <a:pt x="7199" y="3697"/>
                </a:cubicBezTo>
                <a:cubicBezTo>
                  <a:pt x="7187" y="3708"/>
                  <a:pt x="7176" y="3720"/>
                  <a:pt x="7164" y="3731"/>
                </a:cubicBezTo>
                <a:cubicBezTo>
                  <a:pt x="7157" y="3735"/>
                  <a:pt x="7151" y="3739"/>
                  <a:pt x="7144" y="3744"/>
                </a:cubicBezTo>
                <a:cubicBezTo>
                  <a:pt x="7138" y="3753"/>
                  <a:pt x="7133" y="3763"/>
                  <a:pt x="7127" y="3773"/>
                </a:cubicBezTo>
                <a:cubicBezTo>
                  <a:pt x="7148" y="3788"/>
                  <a:pt x="7202" y="3757"/>
                  <a:pt x="7235" y="3751"/>
                </a:cubicBezTo>
                <a:cubicBezTo>
                  <a:pt x="7242" y="3749"/>
                  <a:pt x="7248" y="3747"/>
                  <a:pt x="7255" y="3745"/>
                </a:cubicBezTo>
                <a:cubicBezTo>
                  <a:pt x="7260" y="3748"/>
                  <a:pt x="7266" y="3749"/>
                  <a:pt x="7272" y="3751"/>
                </a:cubicBezTo>
                <a:cubicBezTo>
                  <a:pt x="7278" y="3751"/>
                  <a:pt x="7283" y="3751"/>
                  <a:pt x="7289" y="3750"/>
                </a:cubicBezTo>
                <a:cubicBezTo>
                  <a:pt x="7305" y="3752"/>
                  <a:pt x="7312" y="3775"/>
                  <a:pt x="7320" y="3790"/>
                </a:cubicBezTo>
                <a:cubicBezTo>
                  <a:pt x="7310" y="3787"/>
                  <a:pt x="7300" y="3785"/>
                  <a:pt x="7289" y="3782"/>
                </a:cubicBezTo>
                <a:cubicBezTo>
                  <a:pt x="7251" y="3777"/>
                  <a:pt x="7206" y="3773"/>
                  <a:pt x="7158" y="3802"/>
                </a:cubicBezTo>
                <a:cubicBezTo>
                  <a:pt x="7149" y="3806"/>
                  <a:pt x="7139" y="3811"/>
                  <a:pt x="7129" y="3816"/>
                </a:cubicBezTo>
                <a:cubicBezTo>
                  <a:pt x="7136" y="3827"/>
                  <a:pt x="7150" y="3821"/>
                  <a:pt x="7157" y="3829"/>
                </a:cubicBezTo>
                <a:cubicBezTo>
                  <a:pt x="7160" y="3838"/>
                  <a:pt x="7164" y="3847"/>
                  <a:pt x="7167" y="3856"/>
                </a:cubicBezTo>
                <a:cubicBezTo>
                  <a:pt x="7169" y="3858"/>
                  <a:pt x="7208" y="3866"/>
                  <a:pt x="7213" y="3866"/>
                </a:cubicBezTo>
                <a:cubicBezTo>
                  <a:pt x="7219" y="3864"/>
                  <a:pt x="7219" y="3860"/>
                  <a:pt x="7224" y="3856"/>
                </a:cubicBezTo>
                <a:cubicBezTo>
                  <a:pt x="7239" y="3851"/>
                  <a:pt x="7247" y="3875"/>
                  <a:pt x="7237" y="3887"/>
                </a:cubicBezTo>
                <a:cubicBezTo>
                  <a:pt x="7221" y="3906"/>
                  <a:pt x="7183" y="3902"/>
                  <a:pt x="7165" y="3919"/>
                </a:cubicBezTo>
                <a:cubicBezTo>
                  <a:pt x="7164" y="3920"/>
                  <a:pt x="7164" y="3920"/>
                  <a:pt x="7164" y="3921"/>
                </a:cubicBezTo>
                <a:cubicBezTo>
                  <a:pt x="7170" y="3928"/>
                  <a:pt x="7199" y="3933"/>
                  <a:pt x="7210" y="3935"/>
                </a:cubicBezTo>
                <a:cubicBezTo>
                  <a:pt x="7209" y="3936"/>
                  <a:pt x="7176" y="3955"/>
                  <a:pt x="7175" y="3955"/>
                </a:cubicBezTo>
                <a:cubicBezTo>
                  <a:pt x="7165" y="3956"/>
                  <a:pt x="7161" y="3945"/>
                  <a:pt x="7151" y="3955"/>
                </a:cubicBezTo>
                <a:cubicBezTo>
                  <a:pt x="7141" y="3964"/>
                  <a:pt x="7130" y="3989"/>
                  <a:pt x="7142" y="4003"/>
                </a:cubicBezTo>
                <a:cubicBezTo>
                  <a:pt x="7144" y="4006"/>
                  <a:pt x="7156" y="4007"/>
                  <a:pt x="7156" y="4011"/>
                </a:cubicBezTo>
                <a:cubicBezTo>
                  <a:pt x="7156" y="4016"/>
                  <a:pt x="7145" y="4021"/>
                  <a:pt x="7144" y="4027"/>
                </a:cubicBezTo>
                <a:cubicBezTo>
                  <a:pt x="7143" y="4039"/>
                  <a:pt x="7152" y="4043"/>
                  <a:pt x="7160" y="4037"/>
                </a:cubicBezTo>
                <a:cubicBezTo>
                  <a:pt x="7170" y="4030"/>
                  <a:pt x="7185" y="4014"/>
                  <a:pt x="7193" y="4003"/>
                </a:cubicBezTo>
                <a:cubicBezTo>
                  <a:pt x="7208" y="3982"/>
                  <a:pt x="7223" y="3961"/>
                  <a:pt x="7240" y="3942"/>
                </a:cubicBezTo>
                <a:cubicBezTo>
                  <a:pt x="7246" y="3937"/>
                  <a:pt x="7252" y="3932"/>
                  <a:pt x="7257" y="3928"/>
                </a:cubicBezTo>
                <a:cubicBezTo>
                  <a:pt x="7266" y="3913"/>
                  <a:pt x="7275" y="3897"/>
                  <a:pt x="7283" y="3882"/>
                </a:cubicBezTo>
                <a:cubicBezTo>
                  <a:pt x="7293" y="3870"/>
                  <a:pt x="7307" y="3862"/>
                  <a:pt x="7320" y="3852"/>
                </a:cubicBezTo>
                <a:cubicBezTo>
                  <a:pt x="7328" y="3846"/>
                  <a:pt x="7335" y="3840"/>
                  <a:pt x="7344" y="3835"/>
                </a:cubicBezTo>
                <a:cubicBezTo>
                  <a:pt x="7353" y="3831"/>
                  <a:pt x="7363" y="3828"/>
                  <a:pt x="7372" y="3824"/>
                </a:cubicBezTo>
                <a:cubicBezTo>
                  <a:pt x="7376" y="3822"/>
                  <a:pt x="7383" y="3816"/>
                  <a:pt x="7389" y="3816"/>
                </a:cubicBezTo>
                <a:cubicBezTo>
                  <a:pt x="7394" y="3819"/>
                  <a:pt x="7399" y="3822"/>
                  <a:pt x="7404" y="3824"/>
                </a:cubicBezTo>
                <a:cubicBezTo>
                  <a:pt x="7399" y="3832"/>
                  <a:pt x="7395" y="3846"/>
                  <a:pt x="7389" y="3852"/>
                </a:cubicBezTo>
                <a:cubicBezTo>
                  <a:pt x="7373" y="3867"/>
                  <a:pt x="7341" y="3859"/>
                  <a:pt x="7320" y="3866"/>
                </a:cubicBezTo>
                <a:cubicBezTo>
                  <a:pt x="7315" y="3884"/>
                  <a:pt x="7296" y="3894"/>
                  <a:pt x="7285" y="3906"/>
                </a:cubicBezTo>
                <a:cubicBezTo>
                  <a:pt x="7283" y="3909"/>
                  <a:pt x="7285" y="3913"/>
                  <a:pt x="7284" y="3917"/>
                </a:cubicBezTo>
                <a:cubicBezTo>
                  <a:pt x="7281" y="3928"/>
                  <a:pt x="7272" y="3938"/>
                  <a:pt x="7259" y="3942"/>
                </a:cubicBezTo>
                <a:cubicBezTo>
                  <a:pt x="7260" y="3946"/>
                  <a:pt x="7261" y="3950"/>
                  <a:pt x="7262" y="3953"/>
                </a:cubicBezTo>
                <a:cubicBezTo>
                  <a:pt x="7227" y="3976"/>
                  <a:pt x="7205" y="4011"/>
                  <a:pt x="7180" y="4041"/>
                </a:cubicBezTo>
                <a:cubicBezTo>
                  <a:pt x="7173" y="4048"/>
                  <a:pt x="7156" y="4058"/>
                  <a:pt x="7153" y="4068"/>
                </a:cubicBezTo>
                <a:cubicBezTo>
                  <a:pt x="7151" y="4074"/>
                  <a:pt x="7155" y="4080"/>
                  <a:pt x="7158" y="4084"/>
                </a:cubicBezTo>
                <a:cubicBezTo>
                  <a:pt x="7172" y="4104"/>
                  <a:pt x="7180" y="4088"/>
                  <a:pt x="7200" y="4079"/>
                </a:cubicBezTo>
                <a:cubicBezTo>
                  <a:pt x="7196" y="4095"/>
                  <a:pt x="7187" y="4117"/>
                  <a:pt x="7169" y="4125"/>
                </a:cubicBezTo>
                <a:cubicBezTo>
                  <a:pt x="7169" y="4126"/>
                  <a:pt x="7169" y="4128"/>
                  <a:pt x="7169" y="4130"/>
                </a:cubicBezTo>
                <a:cubicBezTo>
                  <a:pt x="7180" y="4141"/>
                  <a:pt x="7199" y="4141"/>
                  <a:pt x="7206" y="4120"/>
                </a:cubicBezTo>
                <a:cubicBezTo>
                  <a:pt x="7231" y="4113"/>
                  <a:pt x="7226" y="4169"/>
                  <a:pt x="7220" y="4182"/>
                </a:cubicBezTo>
                <a:cubicBezTo>
                  <a:pt x="7221" y="4184"/>
                  <a:pt x="7221" y="4184"/>
                  <a:pt x="7222" y="4187"/>
                </a:cubicBezTo>
                <a:cubicBezTo>
                  <a:pt x="7234" y="4179"/>
                  <a:pt x="7254" y="4167"/>
                  <a:pt x="7263" y="4156"/>
                </a:cubicBezTo>
                <a:cubicBezTo>
                  <a:pt x="7264" y="4156"/>
                  <a:pt x="7265" y="4156"/>
                  <a:pt x="7266" y="4156"/>
                </a:cubicBezTo>
                <a:cubicBezTo>
                  <a:pt x="7266" y="4156"/>
                  <a:pt x="7267" y="4156"/>
                  <a:pt x="7267" y="4156"/>
                </a:cubicBezTo>
                <a:cubicBezTo>
                  <a:pt x="7267" y="4157"/>
                  <a:pt x="7267" y="4157"/>
                  <a:pt x="7267" y="4158"/>
                </a:cubicBezTo>
                <a:cubicBezTo>
                  <a:pt x="7256" y="4181"/>
                  <a:pt x="7229" y="4192"/>
                  <a:pt x="7221" y="4216"/>
                </a:cubicBezTo>
                <a:cubicBezTo>
                  <a:pt x="7223" y="4227"/>
                  <a:pt x="7231" y="4230"/>
                  <a:pt x="7237" y="4233"/>
                </a:cubicBezTo>
                <a:cubicBezTo>
                  <a:pt x="7245" y="4232"/>
                  <a:pt x="7251" y="4225"/>
                  <a:pt x="7256" y="4220"/>
                </a:cubicBezTo>
                <a:cubicBezTo>
                  <a:pt x="7259" y="4224"/>
                  <a:pt x="7261" y="4227"/>
                  <a:pt x="7263" y="4234"/>
                </a:cubicBezTo>
                <a:cubicBezTo>
                  <a:pt x="7259" y="4244"/>
                  <a:pt x="7256" y="4253"/>
                  <a:pt x="7252" y="4263"/>
                </a:cubicBezTo>
                <a:cubicBezTo>
                  <a:pt x="7250" y="4264"/>
                  <a:pt x="7248" y="4264"/>
                  <a:pt x="7246" y="4265"/>
                </a:cubicBezTo>
                <a:cubicBezTo>
                  <a:pt x="7252" y="4284"/>
                  <a:pt x="7267" y="4266"/>
                  <a:pt x="7280" y="4271"/>
                </a:cubicBezTo>
                <a:cubicBezTo>
                  <a:pt x="7286" y="4274"/>
                  <a:pt x="7288" y="4291"/>
                  <a:pt x="7292" y="4298"/>
                </a:cubicBezTo>
                <a:cubicBezTo>
                  <a:pt x="7253" y="4311"/>
                  <a:pt x="7271" y="4369"/>
                  <a:pt x="7262" y="4402"/>
                </a:cubicBezTo>
                <a:cubicBezTo>
                  <a:pt x="7260" y="4409"/>
                  <a:pt x="7252" y="4440"/>
                  <a:pt x="7258" y="4449"/>
                </a:cubicBezTo>
                <a:cubicBezTo>
                  <a:pt x="7260" y="4452"/>
                  <a:pt x="7260" y="4452"/>
                  <a:pt x="7263" y="4453"/>
                </a:cubicBezTo>
                <a:cubicBezTo>
                  <a:pt x="7270" y="4453"/>
                  <a:pt x="7278" y="4435"/>
                  <a:pt x="7281" y="4429"/>
                </a:cubicBezTo>
                <a:cubicBezTo>
                  <a:pt x="7292" y="4413"/>
                  <a:pt x="7305" y="4393"/>
                  <a:pt x="7309" y="4373"/>
                </a:cubicBezTo>
                <a:cubicBezTo>
                  <a:pt x="7308" y="4367"/>
                  <a:pt x="7308" y="4361"/>
                  <a:pt x="7307" y="4355"/>
                </a:cubicBezTo>
                <a:cubicBezTo>
                  <a:pt x="7308" y="4348"/>
                  <a:pt x="7313" y="4334"/>
                  <a:pt x="7318" y="4329"/>
                </a:cubicBezTo>
                <a:cubicBezTo>
                  <a:pt x="7319" y="4328"/>
                  <a:pt x="7320" y="4327"/>
                  <a:pt x="7322" y="4326"/>
                </a:cubicBezTo>
                <a:cubicBezTo>
                  <a:pt x="7329" y="4332"/>
                  <a:pt x="7334" y="4346"/>
                  <a:pt x="7338" y="4358"/>
                </a:cubicBezTo>
                <a:cubicBezTo>
                  <a:pt x="7338" y="4358"/>
                  <a:pt x="7339" y="4358"/>
                  <a:pt x="7339" y="4358"/>
                </a:cubicBezTo>
                <a:cubicBezTo>
                  <a:pt x="7342" y="4351"/>
                  <a:pt x="7344" y="4345"/>
                  <a:pt x="7346" y="4339"/>
                </a:cubicBezTo>
                <a:cubicBezTo>
                  <a:pt x="7346" y="4319"/>
                  <a:pt x="7346" y="4301"/>
                  <a:pt x="7345" y="4282"/>
                </a:cubicBezTo>
                <a:cubicBezTo>
                  <a:pt x="7345" y="4265"/>
                  <a:pt x="7349" y="4252"/>
                  <a:pt x="7351" y="4238"/>
                </a:cubicBezTo>
                <a:cubicBezTo>
                  <a:pt x="7351" y="4237"/>
                  <a:pt x="7351" y="4237"/>
                  <a:pt x="7351" y="4236"/>
                </a:cubicBezTo>
                <a:cubicBezTo>
                  <a:pt x="7357" y="4242"/>
                  <a:pt x="7361" y="4248"/>
                  <a:pt x="7366" y="4253"/>
                </a:cubicBezTo>
                <a:cubicBezTo>
                  <a:pt x="7369" y="4259"/>
                  <a:pt x="7365" y="4265"/>
                  <a:pt x="7365" y="4270"/>
                </a:cubicBezTo>
                <a:cubicBezTo>
                  <a:pt x="7365" y="4284"/>
                  <a:pt x="7371" y="4304"/>
                  <a:pt x="7379" y="4307"/>
                </a:cubicBezTo>
                <a:cubicBezTo>
                  <a:pt x="7387" y="4310"/>
                  <a:pt x="7399" y="4300"/>
                  <a:pt x="7407" y="4296"/>
                </a:cubicBezTo>
                <a:cubicBezTo>
                  <a:pt x="7408" y="4311"/>
                  <a:pt x="7419" y="4352"/>
                  <a:pt x="7425" y="4360"/>
                </a:cubicBezTo>
                <a:cubicBezTo>
                  <a:pt x="7432" y="4364"/>
                  <a:pt x="7437" y="4367"/>
                  <a:pt x="7443" y="4371"/>
                </a:cubicBezTo>
                <a:cubicBezTo>
                  <a:pt x="7451" y="4378"/>
                  <a:pt x="7456" y="4387"/>
                  <a:pt x="7461" y="4397"/>
                </a:cubicBezTo>
                <a:cubicBezTo>
                  <a:pt x="7461" y="4398"/>
                  <a:pt x="7461" y="4400"/>
                  <a:pt x="7461" y="4401"/>
                </a:cubicBezTo>
                <a:cubicBezTo>
                  <a:pt x="7444" y="4403"/>
                  <a:pt x="7416" y="4384"/>
                  <a:pt x="7407" y="4369"/>
                </a:cubicBezTo>
                <a:cubicBezTo>
                  <a:pt x="7401" y="4359"/>
                  <a:pt x="7400" y="4335"/>
                  <a:pt x="7391" y="4331"/>
                </a:cubicBezTo>
                <a:cubicBezTo>
                  <a:pt x="7378" y="4326"/>
                  <a:pt x="7360" y="4349"/>
                  <a:pt x="7356" y="4358"/>
                </a:cubicBezTo>
                <a:cubicBezTo>
                  <a:pt x="7356" y="4358"/>
                  <a:pt x="7356" y="4359"/>
                  <a:pt x="7355" y="4359"/>
                </a:cubicBezTo>
                <a:cubicBezTo>
                  <a:pt x="7360" y="4363"/>
                  <a:pt x="7371" y="4370"/>
                  <a:pt x="7368" y="4382"/>
                </a:cubicBezTo>
                <a:cubicBezTo>
                  <a:pt x="7367" y="4389"/>
                  <a:pt x="7357" y="4396"/>
                  <a:pt x="7352" y="4401"/>
                </a:cubicBezTo>
                <a:cubicBezTo>
                  <a:pt x="7339" y="4416"/>
                  <a:pt x="7329" y="4430"/>
                  <a:pt x="7311" y="4443"/>
                </a:cubicBezTo>
                <a:cubicBezTo>
                  <a:pt x="7305" y="4448"/>
                  <a:pt x="7292" y="4452"/>
                  <a:pt x="7289" y="4459"/>
                </a:cubicBezTo>
                <a:cubicBezTo>
                  <a:pt x="7294" y="4473"/>
                  <a:pt x="7313" y="4475"/>
                  <a:pt x="7329" y="4465"/>
                </a:cubicBezTo>
                <a:cubicBezTo>
                  <a:pt x="7348" y="4450"/>
                  <a:pt x="7367" y="4435"/>
                  <a:pt x="7386" y="4420"/>
                </a:cubicBezTo>
                <a:cubicBezTo>
                  <a:pt x="7388" y="4415"/>
                  <a:pt x="7392" y="4411"/>
                  <a:pt x="7395" y="4406"/>
                </a:cubicBezTo>
                <a:cubicBezTo>
                  <a:pt x="7399" y="4420"/>
                  <a:pt x="7408" y="4426"/>
                  <a:pt x="7412" y="4436"/>
                </a:cubicBezTo>
                <a:cubicBezTo>
                  <a:pt x="7407" y="4439"/>
                  <a:pt x="7398" y="4440"/>
                  <a:pt x="7390" y="4444"/>
                </a:cubicBezTo>
                <a:cubicBezTo>
                  <a:pt x="7371" y="4455"/>
                  <a:pt x="7350" y="4463"/>
                  <a:pt x="7332" y="4477"/>
                </a:cubicBezTo>
                <a:cubicBezTo>
                  <a:pt x="7324" y="4482"/>
                  <a:pt x="7312" y="4494"/>
                  <a:pt x="7303" y="4491"/>
                </a:cubicBezTo>
                <a:cubicBezTo>
                  <a:pt x="7304" y="4508"/>
                  <a:pt x="7314" y="4511"/>
                  <a:pt x="7315" y="4527"/>
                </a:cubicBezTo>
                <a:cubicBezTo>
                  <a:pt x="7317" y="4527"/>
                  <a:pt x="7319" y="4527"/>
                  <a:pt x="7321" y="4527"/>
                </a:cubicBezTo>
                <a:cubicBezTo>
                  <a:pt x="7321" y="4528"/>
                  <a:pt x="7321" y="4528"/>
                  <a:pt x="7322" y="4528"/>
                </a:cubicBezTo>
                <a:cubicBezTo>
                  <a:pt x="7318" y="4537"/>
                  <a:pt x="7309" y="4538"/>
                  <a:pt x="7300" y="4541"/>
                </a:cubicBezTo>
                <a:cubicBezTo>
                  <a:pt x="7300" y="4543"/>
                  <a:pt x="7300" y="4545"/>
                  <a:pt x="7300" y="4546"/>
                </a:cubicBezTo>
                <a:cubicBezTo>
                  <a:pt x="7315" y="4560"/>
                  <a:pt x="7311" y="4570"/>
                  <a:pt x="7315" y="4597"/>
                </a:cubicBezTo>
                <a:cubicBezTo>
                  <a:pt x="7332" y="4604"/>
                  <a:pt x="7343" y="4583"/>
                  <a:pt x="7355" y="4574"/>
                </a:cubicBezTo>
                <a:cubicBezTo>
                  <a:pt x="7362" y="4568"/>
                  <a:pt x="7372" y="4565"/>
                  <a:pt x="7383" y="4561"/>
                </a:cubicBezTo>
                <a:cubicBezTo>
                  <a:pt x="7368" y="4584"/>
                  <a:pt x="7353" y="4607"/>
                  <a:pt x="7338" y="4630"/>
                </a:cubicBezTo>
                <a:cubicBezTo>
                  <a:pt x="7338" y="4632"/>
                  <a:pt x="7338" y="4632"/>
                  <a:pt x="7339" y="4633"/>
                </a:cubicBezTo>
                <a:cubicBezTo>
                  <a:pt x="7351" y="4636"/>
                  <a:pt x="7363" y="4620"/>
                  <a:pt x="7377" y="4618"/>
                </a:cubicBezTo>
                <a:cubicBezTo>
                  <a:pt x="7392" y="4617"/>
                  <a:pt x="7404" y="4632"/>
                  <a:pt x="7401" y="4656"/>
                </a:cubicBezTo>
                <a:cubicBezTo>
                  <a:pt x="7399" y="4677"/>
                  <a:pt x="7371" y="4684"/>
                  <a:pt x="7384" y="4711"/>
                </a:cubicBezTo>
                <a:cubicBezTo>
                  <a:pt x="7394" y="4715"/>
                  <a:pt x="7401" y="4704"/>
                  <a:pt x="7412" y="4705"/>
                </a:cubicBezTo>
                <a:cubicBezTo>
                  <a:pt x="7412" y="4705"/>
                  <a:pt x="7412" y="4705"/>
                  <a:pt x="7412" y="4705"/>
                </a:cubicBezTo>
                <a:cubicBezTo>
                  <a:pt x="7411" y="4714"/>
                  <a:pt x="7400" y="4729"/>
                  <a:pt x="7405" y="4738"/>
                </a:cubicBezTo>
                <a:cubicBezTo>
                  <a:pt x="7405" y="4739"/>
                  <a:pt x="7405" y="4740"/>
                  <a:pt x="7405" y="4741"/>
                </a:cubicBezTo>
                <a:cubicBezTo>
                  <a:pt x="7429" y="4728"/>
                  <a:pt x="7433" y="4700"/>
                  <a:pt x="7449" y="4683"/>
                </a:cubicBezTo>
                <a:cubicBezTo>
                  <a:pt x="7451" y="4684"/>
                  <a:pt x="7453" y="4685"/>
                  <a:pt x="7455" y="4686"/>
                </a:cubicBezTo>
                <a:cubicBezTo>
                  <a:pt x="7455" y="4697"/>
                  <a:pt x="7447" y="4710"/>
                  <a:pt x="7444" y="4719"/>
                </a:cubicBezTo>
                <a:cubicBezTo>
                  <a:pt x="7435" y="4746"/>
                  <a:pt x="7426" y="4771"/>
                  <a:pt x="7417" y="4797"/>
                </a:cubicBezTo>
                <a:cubicBezTo>
                  <a:pt x="7411" y="4818"/>
                  <a:pt x="7419" y="4842"/>
                  <a:pt x="7434" y="4848"/>
                </a:cubicBezTo>
                <a:cubicBezTo>
                  <a:pt x="7445" y="4848"/>
                  <a:pt x="7456" y="4848"/>
                  <a:pt x="7467" y="4848"/>
                </a:cubicBezTo>
                <a:cubicBezTo>
                  <a:pt x="7478" y="4850"/>
                  <a:pt x="7489" y="4851"/>
                  <a:pt x="7500" y="4853"/>
                </a:cubicBezTo>
                <a:cubicBezTo>
                  <a:pt x="7502" y="4860"/>
                  <a:pt x="7506" y="4870"/>
                  <a:pt x="7506" y="4878"/>
                </a:cubicBezTo>
                <a:cubicBezTo>
                  <a:pt x="7502" y="4884"/>
                  <a:pt x="7495" y="4890"/>
                  <a:pt x="7488" y="4893"/>
                </a:cubicBezTo>
                <a:cubicBezTo>
                  <a:pt x="7488" y="4898"/>
                  <a:pt x="7488" y="4899"/>
                  <a:pt x="7486" y="4902"/>
                </a:cubicBezTo>
                <a:cubicBezTo>
                  <a:pt x="7488" y="4909"/>
                  <a:pt x="7492" y="4912"/>
                  <a:pt x="7496" y="4914"/>
                </a:cubicBezTo>
                <a:cubicBezTo>
                  <a:pt x="7504" y="4910"/>
                  <a:pt x="7516" y="4903"/>
                  <a:pt x="7523" y="4897"/>
                </a:cubicBezTo>
                <a:cubicBezTo>
                  <a:pt x="7523" y="4898"/>
                  <a:pt x="7523" y="4899"/>
                  <a:pt x="7523" y="4901"/>
                </a:cubicBezTo>
                <a:cubicBezTo>
                  <a:pt x="7521" y="4905"/>
                  <a:pt x="7518" y="4907"/>
                  <a:pt x="7514" y="4910"/>
                </a:cubicBezTo>
                <a:cubicBezTo>
                  <a:pt x="7501" y="4922"/>
                  <a:pt x="7493" y="4929"/>
                  <a:pt x="7491" y="4950"/>
                </a:cubicBezTo>
                <a:cubicBezTo>
                  <a:pt x="7516" y="4943"/>
                  <a:pt x="7524" y="4919"/>
                  <a:pt x="7543" y="4910"/>
                </a:cubicBezTo>
                <a:cubicBezTo>
                  <a:pt x="7548" y="4939"/>
                  <a:pt x="7523" y="4948"/>
                  <a:pt x="7518" y="4972"/>
                </a:cubicBezTo>
                <a:cubicBezTo>
                  <a:pt x="7520" y="4981"/>
                  <a:pt x="7526" y="4981"/>
                  <a:pt x="7529" y="4988"/>
                </a:cubicBezTo>
                <a:cubicBezTo>
                  <a:pt x="7521" y="4994"/>
                  <a:pt x="7516" y="5002"/>
                  <a:pt x="7508" y="5008"/>
                </a:cubicBezTo>
                <a:cubicBezTo>
                  <a:pt x="7517" y="5022"/>
                  <a:pt x="7530" y="5033"/>
                  <a:pt x="7549" y="5017"/>
                </a:cubicBezTo>
                <a:cubicBezTo>
                  <a:pt x="7551" y="5015"/>
                  <a:pt x="7553" y="5013"/>
                  <a:pt x="7554" y="5011"/>
                </a:cubicBezTo>
                <a:cubicBezTo>
                  <a:pt x="7559" y="5008"/>
                  <a:pt x="7561" y="5014"/>
                  <a:pt x="7565" y="5011"/>
                </a:cubicBezTo>
                <a:cubicBezTo>
                  <a:pt x="7575" y="5004"/>
                  <a:pt x="7572" y="4988"/>
                  <a:pt x="7593" y="4997"/>
                </a:cubicBezTo>
                <a:cubicBezTo>
                  <a:pt x="7593" y="4997"/>
                  <a:pt x="7592" y="4997"/>
                  <a:pt x="7593" y="4998"/>
                </a:cubicBezTo>
                <a:cubicBezTo>
                  <a:pt x="7590" y="5011"/>
                  <a:pt x="7576" y="5017"/>
                  <a:pt x="7563" y="5023"/>
                </a:cubicBezTo>
                <a:cubicBezTo>
                  <a:pt x="7575" y="5035"/>
                  <a:pt x="7614" y="5029"/>
                  <a:pt x="7622" y="5045"/>
                </a:cubicBezTo>
                <a:cubicBezTo>
                  <a:pt x="7630" y="5060"/>
                  <a:pt x="7608" y="5077"/>
                  <a:pt x="7619" y="5092"/>
                </a:cubicBezTo>
                <a:cubicBezTo>
                  <a:pt x="7621" y="5093"/>
                  <a:pt x="7621" y="5093"/>
                  <a:pt x="7624" y="5092"/>
                </a:cubicBezTo>
                <a:cubicBezTo>
                  <a:pt x="7630" y="5082"/>
                  <a:pt x="7634" y="5073"/>
                  <a:pt x="7646" y="5066"/>
                </a:cubicBezTo>
                <a:cubicBezTo>
                  <a:pt x="7647" y="5067"/>
                  <a:pt x="7649" y="5069"/>
                  <a:pt x="7651" y="5070"/>
                </a:cubicBezTo>
                <a:cubicBezTo>
                  <a:pt x="7652" y="5083"/>
                  <a:pt x="7659" y="5094"/>
                  <a:pt x="7659" y="5105"/>
                </a:cubicBezTo>
                <a:cubicBezTo>
                  <a:pt x="7659" y="5118"/>
                  <a:pt x="7643" y="5129"/>
                  <a:pt x="7629" y="5134"/>
                </a:cubicBezTo>
                <a:cubicBezTo>
                  <a:pt x="7645" y="5141"/>
                  <a:pt x="7669" y="5147"/>
                  <a:pt x="7690" y="5134"/>
                </a:cubicBezTo>
                <a:cubicBezTo>
                  <a:pt x="7689" y="5130"/>
                  <a:pt x="7689" y="5124"/>
                  <a:pt x="7692" y="5120"/>
                </a:cubicBezTo>
                <a:cubicBezTo>
                  <a:pt x="7692" y="5120"/>
                  <a:pt x="7692" y="5120"/>
                  <a:pt x="7692" y="5119"/>
                </a:cubicBezTo>
                <a:cubicBezTo>
                  <a:pt x="7698" y="5116"/>
                  <a:pt x="7703" y="5114"/>
                  <a:pt x="7709" y="5111"/>
                </a:cubicBezTo>
                <a:cubicBezTo>
                  <a:pt x="7712" y="5107"/>
                  <a:pt x="7712" y="5101"/>
                  <a:pt x="7719" y="5099"/>
                </a:cubicBezTo>
                <a:cubicBezTo>
                  <a:pt x="7719" y="5099"/>
                  <a:pt x="7719" y="5099"/>
                  <a:pt x="7720" y="5099"/>
                </a:cubicBezTo>
                <a:cubicBezTo>
                  <a:pt x="7720" y="5098"/>
                  <a:pt x="7720" y="5098"/>
                  <a:pt x="7720" y="5098"/>
                </a:cubicBezTo>
                <a:cubicBezTo>
                  <a:pt x="7720" y="5097"/>
                  <a:pt x="7721" y="5098"/>
                  <a:pt x="7721" y="5098"/>
                </a:cubicBezTo>
                <a:cubicBezTo>
                  <a:pt x="7728" y="5097"/>
                  <a:pt x="7734" y="5104"/>
                  <a:pt x="7744" y="5099"/>
                </a:cubicBezTo>
                <a:cubicBezTo>
                  <a:pt x="7751" y="5092"/>
                  <a:pt x="7758" y="5086"/>
                  <a:pt x="7764" y="5078"/>
                </a:cubicBezTo>
                <a:cubicBezTo>
                  <a:pt x="7774" y="5072"/>
                  <a:pt x="7784" y="5086"/>
                  <a:pt x="7784" y="5064"/>
                </a:cubicBezTo>
                <a:cubicBezTo>
                  <a:pt x="7798" y="5065"/>
                  <a:pt x="7812" y="5054"/>
                  <a:pt x="7809" y="5039"/>
                </a:cubicBezTo>
                <a:cubicBezTo>
                  <a:pt x="7788" y="5025"/>
                  <a:pt x="7802" y="5011"/>
                  <a:pt x="7818" y="5000"/>
                </a:cubicBezTo>
                <a:cubicBezTo>
                  <a:pt x="7826" y="5005"/>
                  <a:pt x="7825" y="5016"/>
                  <a:pt x="7831" y="5026"/>
                </a:cubicBezTo>
                <a:cubicBezTo>
                  <a:pt x="7833" y="5029"/>
                  <a:pt x="7837" y="5029"/>
                  <a:pt x="7838" y="5033"/>
                </a:cubicBezTo>
                <a:cubicBezTo>
                  <a:pt x="7831" y="5047"/>
                  <a:pt x="7813" y="5073"/>
                  <a:pt x="7811" y="5089"/>
                </a:cubicBezTo>
                <a:cubicBezTo>
                  <a:pt x="7816" y="5082"/>
                  <a:pt x="7820" y="5070"/>
                  <a:pt x="7827" y="5065"/>
                </a:cubicBezTo>
                <a:cubicBezTo>
                  <a:pt x="7832" y="5062"/>
                  <a:pt x="7838" y="5064"/>
                  <a:pt x="7843" y="5060"/>
                </a:cubicBezTo>
                <a:cubicBezTo>
                  <a:pt x="7849" y="5053"/>
                  <a:pt x="7853" y="5046"/>
                  <a:pt x="7858" y="5039"/>
                </a:cubicBezTo>
                <a:cubicBezTo>
                  <a:pt x="7860" y="5048"/>
                  <a:pt x="7862" y="5054"/>
                  <a:pt x="7865" y="5060"/>
                </a:cubicBezTo>
                <a:cubicBezTo>
                  <a:pt x="7868" y="5065"/>
                  <a:pt x="7878" y="5069"/>
                  <a:pt x="7878" y="5077"/>
                </a:cubicBezTo>
                <a:cubicBezTo>
                  <a:pt x="7878" y="5091"/>
                  <a:pt x="7865" y="5095"/>
                  <a:pt x="7858" y="5105"/>
                </a:cubicBezTo>
                <a:cubicBezTo>
                  <a:pt x="7854" y="5111"/>
                  <a:pt x="7855" y="5122"/>
                  <a:pt x="7851" y="5129"/>
                </a:cubicBezTo>
                <a:cubicBezTo>
                  <a:pt x="7843" y="5139"/>
                  <a:pt x="7835" y="5148"/>
                  <a:pt x="7828" y="5158"/>
                </a:cubicBezTo>
                <a:cubicBezTo>
                  <a:pt x="7828" y="5158"/>
                  <a:pt x="7828" y="5159"/>
                  <a:pt x="7828" y="5159"/>
                </a:cubicBezTo>
                <a:cubicBezTo>
                  <a:pt x="7835" y="5159"/>
                  <a:pt x="7840" y="5153"/>
                  <a:pt x="7847" y="5153"/>
                </a:cubicBezTo>
                <a:cubicBezTo>
                  <a:pt x="7851" y="5157"/>
                  <a:pt x="7854" y="5162"/>
                  <a:pt x="7857" y="5170"/>
                </a:cubicBezTo>
                <a:cubicBezTo>
                  <a:pt x="7857" y="5170"/>
                  <a:pt x="7858" y="5171"/>
                  <a:pt x="7858" y="5171"/>
                </a:cubicBezTo>
                <a:cubicBezTo>
                  <a:pt x="7875" y="5163"/>
                  <a:pt x="7868" y="5134"/>
                  <a:pt x="7877" y="5120"/>
                </a:cubicBezTo>
                <a:cubicBezTo>
                  <a:pt x="7886" y="5115"/>
                  <a:pt x="7899" y="5117"/>
                  <a:pt x="7899" y="5130"/>
                </a:cubicBezTo>
                <a:cubicBezTo>
                  <a:pt x="7899" y="5148"/>
                  <a:pt x="7883" y="5162"/>
                  <a:pt x="7892" y="5184"/>
                </a:cubicBezTo>
                <a:cubicBezTo>
                  <a:pt x="7904" y="5187"/>
                  <a:pt x="7912" y="5155"/>
                  <a:pt x="7916" y="5146"/>
                </a:cubicBezTo>
                <a:cubicBezTo>
                  <a:pt x="7918" y="5139"/>
                  <a:pt x="7925" y="5134"/>
                  <a:pt x="7930" y="5129"/>
                </a:cubicBezTo>
                <a:cubicBezTo>
                  <a:pt x="7926" y="5146"/>
                  <a:pt x="7921" y="5161"/>
                  <a:pt x="7917" y="5178"/>
                </a:cubicBezTo>
                <a:cubicBezTo>
                  <a:pt x="7918" y="5178"/>
                  <a:pt x="7919" y="5179"/>
                  <a:pt x="7920" y="5178"/>
                </a:cubicBezTo>
                <a:cubicBezTo>
                  <a:pt x="7931" y="5196"/>
                  <a:pt x="7889" y="5222"/>
                  <a:pt x="7902" y="5251"/>
                </a:cubicBezTo>
                <a:cubicBezTo>
                  <a:pt x="7914" y="5254"/>
                  <a:pt x="7927" y="5236"/>
                  <a:pt x="7941" y="5237"/>
                </a:cubicBezTo>
                <a:cubicBezTo>
                  <a:pt x="7951" y="5238"/>
                  <a:pt x="7954" y="5254"/>
                  <a:pt x="7962" y="5259"/>
                </a:cubicBezTo>
                <a:cubicBezTo>
                  <a:pt x="7963" y="5258"/>
                  <a:pt x="7965" y="5257"/>
                  <a:pt x="7966" y="5256"/>
                </a:cubicBezTo>
                <a:cubicBezTo>
                  <a:pt x="7978" y="5245"/>
                  <a:pt x="7975" y="5206"/>
                  <a:pt x="7989" y="5200"/>
                </a:cubicBezTo>
                <a:cubicBezTo>
                  <a:pt x="8007" y="5192"/>
                  <a:pt x="8024" y="5205"/>
                  <a:pt x="8037" y="5207"/>
                </a:cubicBezTo>
                <a:cubicBezTo>
                  <a:pt x="8046" y="5206"/>
                  <a:pt x="8055" y="5205"/>
                  <a:pt x="8064" y="5205"/>
                </a:cubicBezTo>
                <a:cubicBezTo>
                  <a:pt x="8070" y="5205"/>
                  <a:pt x="8080" y="5213"/>
                  <a:pt x="8087" y="5205"/>
                </a:cubicBezTo>
                <a:cubicBezTo>
                  <a:pt x="8090" y="5201"/>
                  <a:pt x="8091" y="5195"/>
                  <a:pt x="8092" y="5190"/>
                </a:cubicBezTo>
                <a:cubicBezTo>
                  <a:pt x="8099" y="5156"/>
                  <a:pt x="8071" y="5163"/>
                  <a:pt x="8077" y="5141"/>
                </a:cubicBezTo>
                <a:cubicBezTo>
                  <a:pt x="8068" y="5145"/>
                  <a:pt x="8065" y="5152"/>
                  <a:pt x="8058" y="5158"/>
                </a:cubicBezTo>
                <a:cubicBezTo>
                  <a:pt x="8044" y="5169"/>
                  <a:pt x="8029" y="5157"/>
                  <a:pt x="8026" y="5141"/>
                </a:cubicBezTo>
                <a:cubicBezTo>
                  <a:pt x="8056" y="5130"/>
                  <a:pt x="8113" y="5094"/>
                  <a:pt x="8112" y="5068"/>
                </a:cubicBezTo>
                <a:cubicBezTo>
                  <a:pt x="8108" y="5068"/>
                  <a:pt x="8103" y="5068"/>
                  <a:pt x="8099" y="5069"/>
                </a:cubicBezTo>
                <a:cubicBezTo>
                  <a:pt x="8091" y="5072"/>
                  <a:pt x="8086" y="5082"/>
                  <a:pt x="8076" y="5083"/>
                </a:cubicBezTo>
                <a:cubicBezTo>
                  <a:pt x="8065" y="5084"/>
                  <a:pt x="8049" y="5071"/>
                  <a:pt x="8046" y="5056"/>
                </a:cubicBezTo>
                <a:cubicBezTo>
                  <a:pt x="8060" y="5050"/>
                  <a:pt x="8074" y="5046"/>
                  <a:pt x="8086" y="5044"/>
                </a:cubicBezTo>
                <a:cubicBezTo>
                  <a:pt x="8082" y="5038"/>
                  <a:pt x="8074" y="5034"/>
                  <a:pt x="8068" y="5034"/>
                </a:cubicBezTo>
                <a:cubicBezTo>
                  <a:pt x="8067" y="5034"/>
                  <a:pt x="8066" y="5032"/>
                  <a:pt x="8065" y="5032"/>
                </a:cubicBezTo>
                <a:cubicBezTo>
                  <a:pt x="8072" y="5027"/>
                  <a:pt x="8081" y="5024"/>
                  <a:pt x="8087" y="5020"/>
                </a:cubicBezTo>
                <a:cubicBezTo>
                  <a:pt x="8094" y="4996"/>
                  <a:pt x="8077" y="4991"/>
                  <a:pt x="8099" y="4973"/>
                </a:cubicBezTo>
                <a:cubicBezTo>
                  <a:pt x="8099" y="4972"/>
                  <a:pt x="8099" y="4970"/>
                  <a:pt x="8099" y="4969"/>
                </a:cubicBezTo>
                <a:cubicBezTo>
                  <a:pt x="8088" y="4957"/>
                  <a:pt x="8061" y="4970"/>
                  <a:pt x="8055" y="4951"/>
                </a:cubicBezTo>
                <a:cubicBezTo>
                  <a:pt x="8053" y="4946"/>
                  <a:pt x="8055" y="4940"/>
                  <a:pt x="8057" y="4937"/>
                </a:cubicBezTo>
                <a:cubicBezTo>
                  <a:pt x="8064" y="4915"/>
                  <a:pt x="8087" y="4922"/>
                  <a:pt x="8097" y="4932"/>
                </a:cubicBezTo>
                <a:cubicBezTo>
                  <a:pt x="8101" y="4931"/>
                  <a:pt x="8103" y="4928"/>
                  <a:pt x="8105" y="4926"/>
                </a:cubicBezTo>
                <a:cubicBezTo>
                  <a:pt x="8109" y="4920"/>
                  <a:pt x="8112" y="4886"/>
                  <a:pt x="8107" y="4877"/>
                </a:cubicBezTo>
                <a:cubicBezTo>
                  <a:pt x="8117" y="4867"/>
                  <a:pt x="8115" y="4855"/>
                  <a:pt x="8119" y="4842"/>
                </a:cubicBezTo>
                <a:cubicBezTo>
                  <a:pt x="8122" y="4838"/>
                  <a:pt x="8124" y="4834"/>
                  <a:pt x="8126" y="4830"/>
                </a:cubicBezTo>
                <a:cubicBezTo>
                  <a:pt x="8117" y="4832"/>
                  <a:pt x="8106" y="4840"/>
                  <a:pt x="8099" y="4836"/>
                </a:cubicBezTo>
                <a:cubicBezTo>
                  <a:pt x="8098" y="4834"/>
                  <a:pt x="8098" y="4832"/>
                  <a:pt x="8097" y="4830"/>
                </a:cubicBezTo>
                <a:cubicBezTo>
                  <a:pt x="8118" y="4824"/>
                  <a:pt x="8128" y="4796"/>
                  <a:pt x="8134" y="4778"/>
                </a:cubicBezTo>
                <a:cubicBezTo>
                  <a:pt x="8127" y="4757"/>
                  <a:pt x="8112" y="4744"/>
                  <a:pt x="8111" y="4714"/>
                </a:cubicBezTo>
                <a:cubicBezTo>
                  <a:pt x="8087" y="4707"/>
                  <a:pt x="8065" y="4698"/>
                  <a:pt x="8049" y="4675"/>
                </a:cubicBezTo>
                <a:cubicBezTo>
                  <a:pt x="8067" y="4670"/>
                  <a:pt x="8094" y="4700"/>
                  <a:pt x="8108" y="4688"/>
                </a:cubicBezTo>
                <a:cubicBezTo>
                  <a:pt x="8108" y="4688"/>
                  <a:pt x="8109" y="4686"/>
                  <a:pt x="8110" y="4686"/>
                </a:cubicBezTo>
                <a:cubicBezTo>
                  <a:pt x="8110" y="4685"/>
                  <a:pt x="8109" y="4684"/>
                  <a:pt x="8109" y="4683"/>
                </a:cubicBezTo>
                <a:cubicBezTo>
                  <a:pt x="8100" y="4677"/>
                  <a:pt x="8084" y="4676"/>
                  <a:pt x="8078" y="4665"/>
                </a:cubicBezTo>
                <a:cubicBezTo>
                  <a:pt x="8072" y="4656"/>
                  <a:pt x="8072" y="4637"/>
                  <a:pt x="8068" y="4629"/>
                </a:cubicBezTo>
                <a:cubicBezTo>
                  <a:pt x="8078" y="4617"/>
                  <a:pt x="8088" y="4604"/>
                  <a:pt x="8098" y="4592"/>
                </a:cubicBezTo>
                <a:cubicBezTo>
                  <a:pt x="8108" y="4584"/>
                  <a:pt x="8119" y="4581"/>
                  <a:pt x="8127" y="4573"/>
                </a:cubicBezTo>
                <a:cubicBezTo>
                  <a:pt x="8125" y="4569"/>
                  <a:pt x="8123" y="4565"/>
                  <a:pt x="8121" y="4561"/>
                </a:cubicBezTo>
                <a:cubicBezTo>
                  <a:pt x="8120" y="4555"/>
                  <a:pt x="8119" y="4549"/>
                  <a:pt x="8118" y="4544"/>
                </a:cubicBezTo>
                <a:cubicBezTo>
                  <a:pt x="8112" y="4530"/>
                  <a:pt x="8095" y="4514"/>
                  <a:pt x="8104" y="4493"/>
                </a:cubicBezTo>
                <a:cubicBezTo>
                  <a:pt x="8112" y="4500"/>
                  <a:pt x="8136" y="4515"/>
                  <a:pt x="8148" y="4510"/>
                </a:cubicBezTo>
                <a:cubicBezTo>
                  <a:pt x="8148" y="4509"/>
                  <a:pt x="8148" y="4509"/>
                  <a:pt x="8147" y="4508"/>
                </a:cubicBezTo>
                <a:cubicBezTo>
                  <a:pt x="8149" y="4505"/>
                  <a:pt x="8151" y="4505"/>
                  <a:pt x="8151" y="4501"/>
                </a:cubicBezTo>
                <a:cubicBezTo>
                  <a:pt x="8143" y="4493"/>
                  <a:pt x="8125" y="4480"/>
                  <a:pt x="8126" y="4467"/>
                </a:cubicBezTo>
                <a:cubicBezTo>
                  <a:pt x="8126" y="4467"/>
                  <a:pt x="8127" y="4466"/>
                  <a:pt x="8127" y="4466"/>
                </a:cubicBezTo>
                <a:cubicBezTo>
                  <a:pt x="8137" y="4467"/>
                  <a:pt x="8142" y="4474"/>
                  <a:pt x="8153" y="4474"/>
                </a:cubicBezTo>
                <a:cubicBezTo>
                  <a:pt x="8158" y="4471"/>
                  <a:pt x="8161" y="4467"/>
                  <a:pt x="8160" y="4460"/>
                </a:cubicBezTo>
                <a:cubicBezTo>
                  <a:pt x="8155" y="4450"/>
                  <a:pt x="8146" y="4448"/>
                  <a:pt x="8141" y="4439"/>
                </a:cubicBezTo>
                <a:cubicBezTo>
                  <a:pt x="8141" y="4438"/>
                  <a:pt x="8141" y="4437"/>
                  <a:pt x="8141" y="4436"/>
                </a:cubicBezTo>
                <a:cubicBezTo>
                  <a:pt x="8149" y="4432"/>
                  <a:pt x="8159" y="4440"/>
                  <a:pt x="8165" y="4430"/>
                </a:cubicBezTo>
                <a:cubicBezTo>
                  <a:pt x="8169" y="4425"/>
                  <a:pt x="8167" y="4414"/>
                  <a:pt x="8172" y="4408"/>
                </a:cubicBezTo>
                <a:cubicBezTo>
                  <a:pt x="8176" y="4403"/>
                  <a:pt x="8186" y="4403"/>
                  <a:pt x="8191" y="4400"/>
                </a:cubicBezTo>
                <a:cubicBezTo>
                  <a:pt x="8195" y="4391"/>
                  <a:pt x="8192" y="4381"/>
                  <a:pt x="8191" y="4370"/>
                </a:cubicBezTo>
                <a:cubicBezTo>
                  <a:pt x="8177" y="4384"/>
                  <a:pt x="8162" y="4371"/>
                  <a:pt x="8150" y="4370"/>
                </a:cubicBezTo>
                <a:cubicBezTo>
                  <a:pt x="8146" y="4370"/>
                  <a:pt x="8141" y="4371"/>
                  <a:pt x="8137" y="4371"/>
                </a:cubicBezTo>
                <a:cubicBezTo>
                  <a:pt x="8132" y="4369"/>
                  <a:pt x="8129" y="4360"/>
                  <a:pt x="8125" y="4355"/>
                </a:cubicBezTo>
                <a:cubicBezTo>
                  <a:pt x="8136" y="4355"/>
                  <a:pt x="8143" y="4361"/>
                  <a:pt x="8152" y="4363"/>
                </a:cubicBezTo>
                <a:cubicBezTo>
                  <a:pt x="8161" y="4362"/>
                  <a:pt x="8171" y="4362"/>
                  <a:pt x="8181" y="4361"/>
                </a:cubicBezTo>
                <a:cubicBezTo>
                  <a:pt x="8187" y="4361"/>
                  <a:pt x="8201" y="4357"/>
                  <a:pt x="8203" y="4351"/>
                </a:cubicBezTo>
                <a:cubicBezTo>
                  <a:pt x="8209" y="4336"/>
                  <a:pt x="8195" y="4320"/>
                  <a:pt x="8189" y="4313"/>
                </a:cubicBezTo>
                <a:cubicBezTo>
                  <a:pt x="8184" y="4308"/>
                  <a:pt x="8178" y="4303"/>
                  <a:pt x="8173" y="4298"/>
                </a:cubicBezTo>
                <a:cubicBezTo>
                  <a:pt x="8171" y="4292"/>
                  <a:pt x="8168" y="4287"/>
                  <a:pt x="8165" y="4282"/>
                </a:cubicBezTo>
                <a:cubicBezTo>
                  <a:pt x="8162" y="4278"/>
                  <a:pt x="8152" y="4281"/>
                  <a:pt x="8147" y="4280"/>
                </a:cubicBezTo>
                <a:cubicBezTo>
                  <a:pt x="8136" y="4273"/>
                  <a:pt x="8125" y="4267"/>
                  <a:pt x="8114" y="4260"/>
                </a:cubicBezTo>
                <a:cubicBezTo>
                  <a:pt x="8121" y="4255"/>
                  <a:pt x="8129" y="4250"/>
                  <a:pt x="8137" y="4245"/>
                </a:cubicBezTo>
                <a:cubicBezTo>
                  <a:pt x="8149" y="4236"/>
                  <a:pt x="8157" y="4223"/>
                  <a:pt x="8169" y="4216"/>
                </a:cubicBezTo>
                <a:cubicBezTo>
                  <a:pt x="8183" y="4208"/>
                  <a:pt x="8190" y="4218"/>
                  <a:pt x="8201" y="4208"/>
                </a:cubicBezTo>
                <a:cubicBezTo>
                  <a:pt x="8200" y="4194"/>
                  <a:pt x="8189" y="4194"/>
                  <a:pt x="8185" y="4184"/>
                </a:cubicBezTo>
                <a:cubicBezTo>
                  <a:pt x="8194" y="4178"/>
                  <a:pt x="8191" y="4167"/>
                  <a:pt x="8191" y="4156"/>
                </a:cubicBezTo>
                <a:cubicBezTo>
                  <a:pt x="8190" y="4149"/>
                  <a:pt x="8186" y="4154"/>
                  <a:pt x="8184" y="4150"/>
                </a:cubicBezTo>
                <a:cubicBezTo>
                  <a:pt x="8181" y="4143"/>
                  <a:pt x="8179" y="4135"/>
                  <a:pt x="8177" y="4128"/>
                </a:cubicBezTo>
                <a:cubicBezTo>
                  <a:pt x="8174" y="4124"/>
                  <a:pt x="8170" y="4120"/>
                  <a:pt x="8167" y="4116"/>
                </a:cubicBezTo>
                <a:cubicBezTo>
                  <a:pt x="8148" y="4099"/>
                  <a:pt x="8124" y="4118"/>
                  <a:pt x="8124" y="4075"/>
                </a:cubicBezTo>
                <a:cubicBezTo>
                  <a:pt x="8120" y="4073"/>
                  <a:pt x="8117" y="4070"/>
                  <a:pt x="8113" y="4067"/>
                </a:cubicBezTo>
                <a:cubicBezTo>
                  <a:pt x="8158" y="4035"/>
                  <a:pt x="8150" y="4064"/>
                  <a:pt x="8182" y="4067"/>
                </a:cubicBezTo>
                <a:cubicBezTo>
                  <a:pt x="8189" y="4064"/>
                  <a:pt x="8200" y="4057"/>
                  <a:pt x="8205" y="4050"/>
                </a:cubicBezTo>
                <a:cubicBezTo>
                  <a:pt x="8213" y="4038"/>
                  <a:pt x="8226" y="3991"/>
                  <a:pt x="8210" y="3975"/>
                </a:cubicBezTo>
                <a:cubicBezTo>
                  <a:pt x="8200" y="3964"/>
                  <a:pt x="8182" y="3967"/>
                  <a:pt x="8170" y="3960"/>
                </a:cubicBezTo>
                <a:cubicBezTo>
                  <a:pt x="8202" y="3954"/>
                  <a:pt x="8200" y="3948"/>
                  <a:pt x="8204" y="3914"/>
                </a:cubicBezTo>
                <a:cubicBezTo>
                  <a:pt x="8205" y="3913"/>
                  <a:pt x="8206" y="3912"/>
                  <a:pt x="8208" y="3911"/>
                </a:cubicBezTo>
                <a:cubicBezTo>
                  <a:pt x="8208" y="3911"/>
                  <a:pt x="8208" y="3911"/>
                  <a:pt x="8209" y="3911"/>
                </a:cubicBezTo>
                <a:cubicBezTo>
                  <a:pt x="8215" y="3920"/>
                  <a:pt x="8219" y="3930"/>
                  <a:pt x="8229" y="3931"/>
                </a:cubicBezTo>
                <a:cubicBezTo>
                  <a:pt x="8231" y="3932"/>
                  <a:pt x="8231" y="3931"/>
                  <a:pt x="8234" y="3930"/>
                </a:cubicBezTo>
                <a:cubicBezTo>
                  <a:pt x="8234" y="3930"/>
                  <a:pt x="8234" y="3931"/>
                  <a:pt x="8234" y="3930"/>
                </a:cubicBezTo>
                <a:cubicBezTo>
                  <a:pt x="8231" y="3916"/>
                  <a:pt x="8226" y="3901"/>
                  <a:pt x="8222" y="3887"/>
                </a:cubicBezTo>
                <a:cubicBezTo>
                  <a:pt x="8223" y="3887"/>
                  <a:pt x="8223" y="3886"/>
                  <a:pt x="8224" y="3886"/>
                </a:cubicBezTo>
                <a:cubicBezTo>
                  <a:pt x="8232" y="3890"/>
                  <a:pt x="8233" y="3895"/>
                  <a:pt x="8239" y="3901"/>
                </a:cubicBezTo>
                <a:cubicBezTo>
                  <a:pt x="8241" y="3902"/>
                  <a:pt x="8244" y="3903"/>
                  <a:pt x="8246" y="3904"/>
                </a:cubicBezTo>
                <a:cubicBezTo>
                  <a:pt x="8249" y="3908"/>
                  <a:pt x="8250" y="3911"/>
                  <a:pt x="8252" y="3914"/>
                </a:cubicBezTo>
                <a:cubicBezTo>
                  <a:pt x="8259" y="3922"/>
                  <a:pt x="8281" y="3918"/>
                  <a:pt x="8289" y="3907"/>
                </a:cubicBezTo>
                <a:cubicBezTo>
                  <a:pt x="8295" y="3898"/>
                  <a:pt x="8293" y="3882"/>
                  <a:pt x="8301" y="3874"/>
                </a:cubicBezTo>
                <a:cubicBezTo>
                  <a:pt x="8304" y="3871"/>
                  <a:pt x="8308" y="3871"/>
                  <a:pt x="8309" y="3874"/>
                </a:cubicBezTo>
                <a:cubicBezTo>
                  <a:pt x="8338" y="3832"/>
                  <a:pt x="8279" y="3827"/>
                  <a:pt x="8280" y="3806"/>
                </a:cubicBezTo>
                <a:cubicBezTo>
                  <a:pt x="8280" y="3800"/>
                  <a:pt x="8291" y="3792"/>
                  <a:pt x="8294" y="3787"/>
                </a:cubicBezTo>
                <a:cubicBezTo>
                  <a:pt x="8304" y="3774"/>
                  <a:pt x="8314" y="3757"/>
                  <a:pt x="8320" y="3742"/>
                </a:cubicBezTo>
                <a:cubicBezTo>
                  <a:pt x="8318" y="3741"/>
                  <a:pt x="8316" y="3742"/>
                  <a:pt x="8314" y="3742"/>
                </a:cubicBezTo>
                <a:cubicBezTo>
                  <a:pt x="8313" y="3741"/>
                  <a:pt x="8313" y="3740"/>
                  <a:pt x="8313" y="3739"/>
                </a:cubicBezTo>
                <a:cubicBezTo>
                  <a:pt x="8323" y="3730"/>
                  <a:pt x="8317" y="3713"/>
                  <a:pt x="8313" y="3699"/>
                </a:cubicBezTo>
                <a:cubicBezTo>
                  <a:pt x="8325" y="3703"/>
                  <a:pt x="8344" y="3708"/>
                  <a:pt x="8362" y="3695"/>
                </a:cubicBezTo>
                <a:cubicBezTo>
                  <a:pt x="8355" y="3714"/>
                  <a:pt x="8354" y="3738"/>
                  <a:pt x="8348" y="3758"/>
                </a:cubicBezTo>
                <a:cubicBezTo>
                  <a:pt x="8344" y="3772"/>
                  <a:pt x="8333" y="3786"/>
                  <a:pt x="8333" y="3800"/>
                </a:cubicBezTo>
                <a:cubicBezTo>
                  <a:pt x="8334" y="3805"/>
                  <a:pt x="8336" y="3809"/>
                  <a:pt x="8338" y="3814"/>
                </a:cubicBezTo>
                <a:cubicBezTo>
                  <a:pt x="8341" y="3826"/>
                  <a:pt x="8328" y="3841"/>
                  <a:pt x="8337" y="3852"/>
                </a:cubicBezTo>
                <a:cubicBezTo>
                  <a:pt x="8341" y="3859"/>
                  <a:pt x="8351" y="3857"/>
                  <a:pt x="8359" y="3857"/>
                </a:cubicBezTo>
                <a:cubicBezTo>
                  <a:pt x="8359" y="3857"/>
                  <a:pt x="8360" y="3856"/>
                  <a:pt x="8360" y="3856"/>
                </a:cubicBezTo>
                <a:cubicBezTo>
                  <a:pt x="8359" y="3841"/>
                  <a:pt x="8362" y="3824"/>
                  <a:pt x="8354" y="3811"/>
                </a:cubicBezTo>
                <a:cubicBezTo>
                  <a:pt x="8372" y="3809"/>
                  <a:pt x="8381" y="3783"/>
                  <a:pt x="8383" y="3768"/>
                </a:cubicBezTo>
                <a:cubicBezTo>
                  <a:pt x="8384" y="3768"/>
                  <a:pt x="8384" y="3768"/>
                  <a:pt x="8384" y="3768"/>
                </a:cubicBezTo>
                <a:cubicBezTo>
                  <a:pt x="8389" y="3776"/>
                  <a:pt x="8390" y="3795"/>
                  <a:pt x="8399" y="3796"/>
                </a:cubicBezTo>
                <a:cubicBezTo>
                  <a:pt x="8399" y="3796"/>
                  <a:pt x="8400" y="3796"/>
                  <a:pt x="8401" y="3796"/>
                </a:cubicBezTo>
                <a:cubicBezTo>
                  <a:pt x="8413" y="3784"/>
                  <a:pt x="8424" y="3758"/>
                  <a:pt x="8427" y="3740"/>
                </a:cubicBezTo>
                <a:cubicBezTo>
                  <a:pt x="8426" y="3739"/>
                  <a:pt x="8425" y="3736"/>
                  <a:pt x="8424" y="3734"/>
                </a:cubicBezTo>
                <a:cubicBezTo>
                  <a:pt x="8434" y="3738"/>
                  <a:pt x="8460" y="3755"/>
                  <a:pt x="8467" y="3732"/>
                </a:cubicBezTo>
                <a:cubicBezTo>
                  <a:pt x="8468" y="3719"/>
                  <a:pt x="8468" y="3707"/>
                  <a:pt x="8469" y="3693"/>
                </a:cubicBezTo>
                <a:cubicBezTo>
                  <a:pt x="8471" y="3684"/>
                  <a:pt x="8481" y="3677"/>
                  <a:pt x="8480" y="3666"/>
                </a:cubicBezTo>
                <a:cubicBezTo>
                  <a:pt x="8481" y="3647"/>
                  <a:pt x="8453" y="3652"/>
                  <a:pt x="8454" y="3630"/>
                </a:cubicBezTo>
                <a:cubicBezTo>
                  <a:pt x="8457" y="3616"/>
                  <a:pt x="8498" y="3621"/>
                  <a:pt x="8508" y="3620"/>
                </a:cubicBezTo>
                <a:cubicBezTo>
                  <a:pt x="8512" y="3626"/>
                  <a:pt x="8516" y="3634"/>
                  <a:pt x="8522" y="3637"/>
                </a:cubicBezTo>
                <a:cubicBezTo>
                  <a:pt x="8536" y="3636"/>
                  <a:pt x="8541" y="3621"/>
                  <a:pt x="8544" y="3609"/>
                </a:cubicBezTo>
                <a:cubicBezTo>
                  <a:pt x="8551" y="3585"/>
                  <a:pt x="8554" y="3560"/>
                  <a:pt x="8561" y="3535"/>
                </a:cubicBezTo>
                <a:cubicBezTo>
                  <a:pt x="8564" y="3524"/>
                  <a:pt x="8567" y="3512"/>
                  <a:pt x="8570" y="3500"/>
                </a:cubicBezTo>
                <a:cubicBezTo>
                  <a:pt x="8572" y="3491"/>
                  <a:pt x="8570" y="3471"/>
                  <a:pt x="8565" y="3463"/>
                </a:cubicBezTo>
                <a:cubicBezTo>
                  <a:pt x="8563" y="3462"/>
                  <a:pt x="8564" y="3462"/>
                  <a:pt x="8562" y="3463"/>
                </a:cubicBezTo>
                <a:cubicBezTo>
                  <a:pt x="8566" y="3448"/>
                  <a:pt x="8576" y="3439"/>
                  <a:pt x="8579" y="3422"/>
                </a:cubicBezTo>
                <a:cubicBezTo>
                  <a:pt x="8576" y="3418"/>
                  <a:pt x="8573" y="3413"/>
                  <a:pt x="8570" y="3409"/>
                </a:cubicBezTo>
                <a:cubicBezTo>
                  <a:pt x="8564" y="3398"/>
                  <a:pt x="8562" y="3371"/>
                  <a:pt x="8565" y="3360"/>
                </a:cubicBezTo>
                <a:cubicBezTo>
                  <a:pt x="8568" y="3348"/>
                  <a:pt x="8577" y="3341"/>
                  <a:pt x="8580" y="3330"/>
                </a:cubicBezTo>
                <a:cubicBezTo>
                  <a:pt x="8583" y="3314"/>
                  <a:pt x="8573" y="3298"/>
                  <a:pt x="8579" y="3281"/>
                </a:cubicBezTo>
                <a:cubicBezTo>
                  <a:pt x="8583" y="3271"/>
                  <a:pt x="8604" y="3266"/>
                  <a:pt x="8609" y="3248"/>
                </a:cubicBezTo>
                <a:cubicBezTo>
                  <a:pt x="8609" y="3241"/>
                  <a:pt x="8609" y="3235"/>
                  <a:pt x="8609" y="3229"/>
                </a:cubicBezTo>
                <a:cubicBezTo>
                  <a:pt x="8613" y="3216"/>
                  <a:pt x="8638" y="3182"/>
                  <a:pt x="8622" y="3166"/>
                </a:cubicBezTo>
                <a:cubicBezTo>
                  <a:pt x="8617" y="3161"/>
                  <a:pt x="8609" y="3164"/>
                  <a:pt x="8602" y="3163"/>
                </a:cubicBezTo>
                <a:cubicBezTo>
                  <a:pt x="8605" y="3159"/>
                  <a:pt x="8608" y="3158"/>
                  <a:pt x="8609" y="3153"/>
                </a:cubicBezTo>
                <a:cubicBezTo>
                  <a:pt x="8613" y="3126"/>
                  <a:pt x="8578" y="3119"/>
                  <a:pt x="8572" y="3106"/>
                </a:cubicBezTo>
                <a:cubicBezTo>
                  <a:pt x="8574" y="3101"/>
                  <a:pt x="8576" y="3095"/>
                  <a:pt x="8578" y="3091"/>
                </a:cubicBezTo>
                <a:cubicBezTo>
                  <a:pt x="8578" y="3090"/>
                  <a:pt x="8578" y="3090"/>
                  <a:pt x="8578" y="3089"/>
                </a:cubicBezTo>
                <a:cubicBezTo>
                  <a:pt x="8585" y="3113"/>
                  <a:pt x="8611" y="3127"/>
                  <a:pt x="8631" y="3127"/>
                </a:cubicBezTo>
                <a:cubicBezTo>
                  <a:pt x="8641" y="3127"/>
                  <a:pt x="8650" y="3122"/>
                  <a:pt x="8659" y="3125"/>
                </a:cubicBezTo>
                <a:cubicBezTo>
                  <a:pt x="8669" y="3129"/>
                  <a:pt x="8675" y="3142"/>
                  <a:pt x="8687" y="3143"/>
                </a:cubicBezTo>
                <a:cubicBezTo>
                  <a:pt x="8696" y="3145"/>
                  <a:pt x="8724" y="3135"/>
                  <a:pt x="8728" y="3125"/>
                </a:cubicBezTo>
                <a:cubicBezTo>
                  <a:pt x="8728" y="3107"/>
                  <a:pt x="8710" y="3104"/>
                  <a:pt x="8703" y="3092"/>
                </a:cubicBezTo>
                <a:cubicBezTo>
                  <a:pt x="8723" y="3094"/>
                  <a:pt x="8720" y="3078"/>
                  <a:pt x="8733" y="3105"/>
                </a:cubicBezTo>
                <a:cubicBezTo>
                  <a:pt x="8741" y="3108"/>
                  <a:pt x="8755" y="3099"/>
                  <a:pt x="8758" y="3091"/>
                </a:cubicBezTo>
                <a:cubicBezTo>
                  <a:pt x="8758" y="3069"/>
                  <a:pt x="8744" y="3057"/>
                  <a:pt x="8746" y="3035"/>
                </a:cubicBezTo>
                <a:cubicBezTo>
                  <a:pt x="8747" y="3033"/>
                  <a:pt x="8747" y="3031"/>
                  <a:pt x="8749" y="3029"/>
                </a:cubicBezTo>
                <a:cubicBezTo>
                  <a:pt x="8755" y="3039"/>
                  <a:pt x="8765" y="3058"/>
                  <a:pt x="8781" y="3050"/>
                </a:cubicBezTo>
                <a:cubicBezTo>
                  <a:pt x="8797" y="3040"/>
                  <a:pt x="8784" y="3019"/>
                  <a:pt x="8797" y="3008"/>
                </a:cubicBezTo>
                <a:cubicBezTo>
                  <a:pt x="8807" y="3002"/>
                  <a:pt x="8816" y="2995"/>
                  <a:pt x="8827" y="2990"/>
                </a:cubicBezTo>
                <a:cubicBezTo>
                  <a:pt x="8837" y="2979"/>
                  <a:pt x="8844" y="2964"/>
                  <a:pt x="8856" y="2954"/>
                </a:cubicBezTo>
                <a:cubicBezTo>
                  <a:pt x="8863" y="2948"/>
                  <a:pt x="8870" y="2942"/>
                  <a:pt x="8877" y="2937"/>
                </a:cubicBezTo>
                <a:cubicBezTo>
                  <a:pt x="8882" y="2931"/>
                  <a:pt x="8883" y="2922"/>
                  <a:pt x="8889" y="2916"/>
                </a:cubicBezTo>
                <a:cubicBezTo>
                  <a:pt x="8900" y="2906"/>
                  <a:pt x="8925" y="2874"/>
                  <a:pt x="8924" y="2856"/>
                </a:cubicBezTo>
                <a:cubicBezTo>
                  <a:pt x="8927" y="2856"/>
                  <a:pt x="8929" y="2856"/>
                  <a:pt x="8932" y="2856"/>
                </a:cubicBezTo>
                <a:cubicBezTo>
                  <a:pt x="8934" y="2854"/>
                  <a:pt x="8933" y="2850"/>
                  <a:pt x="8935" y="2848"/>
                </a:cubicBezTo>
                <a:cubicBezTo>
                  <a:pt x="8940" y="2840"/>
                  <a:pt x="8957" y="2844"/>
                  <a:pt x="8950" y="2830"/>
                </a:cubicBezTo>
                <a:cubicBezTo>
                  <a:pt x="8949" y="2827"/>
                  <a:pt x="8947" y="2823"/>
                  <a:pt x="8946" y="2818"/>
                </a:cubicBezTo>
                <a:cubicBezTo>
                  <a:pt x="8950" y="2809"/>
                  <a:pt x="8956" y="2802"/>
                  <a:pt x="8968" y="2797"/>
                </a:cubicBezTo>
                <a:cubicBezTo>
                  <a:pt x="8967" y="2793"/>
                  <a:pt x="8966" y="2789"/>
                  <a:pt x="8965" y="2785"/>
                </a:cubicBezTo>
                <a:cubicBezTo>
                  <a:pt x="8966" y="2781"/>
                  <a:pt x="8970" y="2779"/>
                  <a:pt x="8974" y="2777"/>
                </a:cubicBezTo>
                <a:cubicBezTo>
                  <a:pt x="8975" y="2760"/>
                  <a:pt x="8970" y="2749"/>
                  <a:pt x="8963" y="2739"/>
                </a:cubicBezTo>
                <a:cubicBezTo>
                  <a:pt x="8965" y="2724"/>
                  <a:pt x="8981" y="2719"/>
                  <a:pt x="8987" y="2707"/>
                </a:cubicBezTo>
                <a:cubicBezTo>
                  <a:pt x="8987" y="2696"/>
                  <a:pt x="8980" y="2686"/>
                  <a:pt x="8973" y="2685"/>
                </a:cubicBezTo>
                <a:cubicBezTo>
                  <a:pt x="8981" y="2670"/>
                  <a:pt x="9002" y="2672"/>
                  <a:pt x="9005" y="2653"/>
                </a:cubicBezTo>
                <a:cubicBezTo>
                  <a:pt x="9000" y="2645"/>
                  <a:pt x="8992" y="2644"/>
                  <a:pt x="8990" y="2630"/>
                </a:cubicBezTo>
                <a:cubicBezTo>
                  <a:pt x="8995" y="2621"/>
                  <a:pt x="9006" y="2606"/>
                  <a:pt x="9019" y="2609"/>
                </a:cubicBezTo>
                <a:cubicBezTo>
                  <a:pt x="9012" y="2601"/>
                  <a:pt x="9005" y="2592"/>
                  <a:pt x="8998" y="2584"/>
                </a:cubicBezTo>
                <a:cubicBezTo>
                  <a:pt x="8979" y="2551"/>
                  <a:pt x="9033" y="2526"/>
                  <a:pt x="9043" y="2504"/>
                </a:cubicBezTo>
                <a:cubicBezTo>
                  <a:pt x="9038" y="2506"/>
                  <a:pt x="9036" y="2505"/>
                  <a:pt x="9035" y="2501"/>
                </a:cubicBezTo>
                <a:cubicBezTo>
                  <a:pt x="9034" y="2501"/>
                  <a:pt x="9034" y="2500"/>
                  <a:pt x="9033" y="2500"/>
                </a:cubicBezTo>
                <a:cubicBezTo>
                  <a:pt x="9033" y="2500"/>
                  <a:pt x="9034" y="2498"/>
                  <a:pt x="9033" y="2498"/>
                </a:cubicBezTo>
                <a:cubicBezTo>
                  <a:pt x="9041" y="2497"/>
                  <a:pt x="9048" y="2501"/>
                  <a:pt x="9055" y="2496"/>
                </a:cubicBezTo>
                <a:cubicBezTo>
                  <a:pt x="9056" y="2495"/>
                  <a:pt x="9057" y="2492"/>
                  <a:pt x="9058" y="2491"/>
                </a:cubicBezTo>
                <a:cubicBezTo>
                  <a:pt x="9058" y="2481"/>
                  <a:pt x="9050" y="2476"/>
                  <a:pt x="9045" y="2473"/>
                </a:cubicBezTo>
                <a:cubicBezTo>
                  <a:pt x="9044" y="2455"/>
                  <a:pt x="9060" y="2437"/>
                  <a:pt x="9069" y="2426"/>
                </a:cubicBezTo>
                <a:cubicBezTo>
                  <a:pt x="9072" y="2428"/>
                  <a:pt x="9075" y="2429"/>
                  <a:pt x="9079" y="2430"/>
                </a:cubicBezTo>
                <a:cubicBezTo>
                  <a:pt x="9077" y="2414"/>
                  <a:pt x="9075" y="2398"/>
                  <a:pt x="9073" y="2382"/>
                </a:cubicBezTo>
                <a:cubicBezTo>
                  <a:pt x="9065" y="2388"/>
                  <a:pt x="9066" y="2397"/>
                  <a:pt x="9060" y="2405"/>
                </a:cubicBezTo>
                <a:cubicBezTo>
                  <a:pt x="9052" y="2417"/>
                  <a:pt x="9039" y="2432"/>
                  <a:pt x="9027" y="2441"/>
                </a:cubicBezTo>
                <a:cubicBezTo>
                  <a:pt x="9017" y="2448"/>
                  <a:pt x="8990" y="2463"/>
                  <a:pt x="8978" y="2464"/>
                </a:cubicBezTo>
                <a:cubicBezTo>
                  <a:pt x="8966" y="2464"/>
                  <a:pt x="8957" y="2460"/>
                  <a:pt x="8942" y="2466"/>
                </a:cubicBezTo>
                <a:cubicBezTo>
                  <a:pt x="8923" y="2472"/>
                  <a:pt x="8899" y="2494"/>
                  <a:pt x="8882" y="2488"/>
                </a:cubicBezTo>
                <a:cubicBezTo>
                  <a:pt x="8880" y="2480"/>
                  <a:pt x="8879" y="2473"/>
                  <a:pt x="8877" y="2466"/>
                </a:cubicBezTo>
                <a:cubicBezTo>
                  <a:pt x="8877" y="2466"/>
                  <a:pt x="8877" y="2466"/>
                  <a:pt x="8876" y="2466"/>
                </a:cubicBezTo>
                <a:cubicBezTo>
                  <a:pt x="8861" y="2488"/>
                  <a:pt x="8843" y="2516"/>
                  <a:pt x="8832" y="2542"/>
                </a:cubicBezTo>
                <a:cubicBezTo>
                  <a:pt x="8826" y="2558"/>
                  <a:pt x="8820" y="2573"/>
                  <a:pt x="8810" y="2587"/>
                </a:cubicBezTo>
                <a:cubicBezTo>
                  <a:pt x="8802" y="2600"/>
                  <a:pt x="8801" y="2622"/>
                  <a:pt x="8789" y="2632"/>
                </a:cubicBezTo>
                <a:cubicBezTo>
                  <a:pt x="8777" y="2641"/>
                  <a:pt x="8761" y="2636"/>
                  <a:pt x="8749" y="2642"/>
                </a:cubicBezTo>
                <a:cubicBezTo>
                  <a:pt x="8749" y="2642"/>
                  <a:pt x="8748" y="2643"/>
                  <a:pt x="8747" y="2642"/>
                </a:cubicBezTo>
                <a:cubicBezTo>
                  <a:pt x="8737" y="2633"/>
                  <a:pt x="8725" y="2651"/>
                  <a:pt x="8713" y="2653"/>
                </a:cubicBezTo>
                <a:cubicBezTo>
                  <a:pt x="8710" y="2648"/>
                  <a:pt x="8711" y="2646"/>
                  <a:pt x="8714" y="2641"/>
                </a:cubicBezTo>
                <a:cubicBezTo>
                  <a:pt x="8718" y="2632"/>
                  <a:pt x="8726" y="2621"/>
                  <a:pt x="8740" y="2620"/>
                </a:cubicBezTo>
                <a:cubicBezTo>
                  <a:pt x="8745" y="2619"/>
                  <a:pt x="8752" y="2619"/>
                  <a:pt x="8757" y="2615"/>
                </a:cubicBezTo>
                <a:cubicBezTo>
                  <a:pt x="8771" y="2601"/>
                  <a:pt x="8766" y="2571"/>
                  <a:pt x="8777" y="2558"/>
                </a:cubicBezTo>
                <a:cubicBezTo>
                  <a:pt x="8778" y="2558"/>
                  <a:pt x="8779" y="2557"/>
                  <a:pt x="8780" y="2556"/>
                </a:cubicBezTo>
                <a:cubicBezTo>
                  <a:pt x="8781" y="2554"/>
                  <a:pt x="8783" y="2554"/>
                  <a:pt x="8784" y="2552"/>
                </a:cubicBezTo>
                <a:cubicBezTo>
                  <a:pt x="8794" y="2544"/>
                  <a:pt x="8810" y="2534"/>
                  <a:pt x="8812" y="2527"/>
                </a:cubicBezTo>
                <a:cubicBezTo>
                  <a:pt x="8813" y="2526"/>
                  <a:pt x="8811" y="2526"/>
                  <a:pt x="8811" y="2525"/>
                </a:cubicBezTo>
                <a:cubicBezTo>
                  <a:pt x="8817" y="2516"/>
                  <a:pt x="8823" y="2506"/>
                  <a:pt x="8828" y="2497"/>
                </a:cubicBezTo>
                <a:cubicBezTo>
                  <a:pt x="8829" y="2496"/>
                  <a:pt x="8830" y="2495"/>
                  <a:pt x="8830" y="2494"/>
                </a:cubicBezTo>
                <a:cubicBezTo>
                  <a:pt x="8833" y="2497"/>
                  <a:pt x="8839" y="2501"/>
                  <a:pt x="8844" y="2497"/>
                </a:cubicBezTo>
                <a:cubicBezTo>
                  <a:pt x="8854" y="2487"/>
                  <a:pt x="8853" y="2469"/>
                  <a:pt x="8865" y="2459"/>
                </a:cubicBezTo>
                <a:cubicBezTo>
                  <a:pt x="8869" y="2438"/>
                  <a:pt x="8832" y="2407"/>
                  <a:pt x="8825" y="2396"/>
                </a:cubicBezTo>
                <a:cubicBezTo>
                  <a:pt x="8823" y="2396"/>
                  <a:pt x="8822" y="2397"/>
                  <a:pt x="8821" y="2397"/>
                </a:cubicBezTo>
                <a:cubicBezTo>
                  <a:pt x="8809" y="2419"/>
                  <a:pt x="8797" y="2440"/>
                  <a:pt x="8784" y="2461"/>
                </a:cubicBezTo>
                <a:cubicBezTo>
                  <a:pt x="8772" y="2471"/>
                  <a:pt x="8761" y="2480"/>
                  <a:pt x="8749" y="2490"/>
                </a:cubicBezTo>
                <a:cubicBezTo>
                  <a:pt x="8741" y="2502"/>
                  <a:pt x="8741" y="2531"/>
                  <a:pt x="8738" y="2545"/>
                </a:cubicBezTo>
                <a:cubicBezTo>
                  <a:pt x="8737" y="2548"/>
                  <a:pt x="8736" y="2554"/>
                  <a:pt x="8734" y="2561"/>
                </a:cubicBezTo>
                <a:cubicBezTo>
                  <a:pt x="8723" y="2571"/>
                  <a:pt x="8712" y="2580"/>
                  <a:pt x="8701" y="2580"/>
                </a:cubicBezTo>
                <a:cubicBezTo>
                  <a:pt x="8697" y="2576"/>
                  <a:pt x="8697" y="2568"/>
                  <a:pt x="8692" y="2566"/>
                </a:cubicBezTo>
                <a:cubicBezTo>
                  <a:pt x="8681" y="2567"/>
                  <a:pt x="8664" y="2597"/>
                  <a:pt x="8660" y="2608"/>
                </a:cubicBezTo>
                <a:cubicBezTo>
                  <a:pt x="8659" y="2608"/>
                  <a:pt x="8657" y="2609"/>
                  <a:pt x="8656" y="2609"/>
                </a:cubicBezTo>
                <a:cubicBezTo>
                  <a:pt x="8656" y="2609"/>
                  <a:pt x="8655" y="2609"/>
                  <a:pt x="8654" y="2609"/>
                </a:cubicBezTo>
                <a:cubicBezTo>
                  <a:pt x="8644" y="2579"/>
                  <a:pt x="8711" y="2521"/>
                  <a:pt x="8688" y="2483"/>
                </a:cubicBezTo>
                <a:cubicBezTo>
                  <a:pt x="8681" y="2472"/>
                  <a:pt x="8669" y="2472"/>
                  <a:pt x="8661" y="2465"/>
                </a:cubicBezTo>
                <a:cubicBezTo>
                  <a:pt x="8683" y="2454"/>
                  <a:pt x="8705" y="2443"/>
                  <a:pt x="8727" y="2432"/>
                </a:cubicBezTo>
                <a:cubicBezTo>
                  <a:pt x="8730" y="2430"/>
                  <a:pt x="8732" y="2428"/>
                  <a:pt x="8732" y="2424"/>
                </a:cubicBezTo>
                <a:cubicBezTo>
                  <a:pt x="8743" y="2416"/>
                  <a:pt x="8754" y="2412"/>
                  <a:pt x="8762" y="2402"/>
                </a:cubicBezTo>
                <a:cubicBezTo>
                  <a:pt x="8770" y="2392"/>
                  <a:pt x="8794" y="2336"/>
                  <a:pt x="8796" y="2321"/>
                </a:cubicBezTo>
                <a:cubicBezTo>
                  <a:pt x="8797" y="2314"/>
                  <a:pt x="8790" y="2296"/>
                  <a:pt x="8787" y="2292"/>
                </a:cubicBezTo>
                <a:cubicBezTo>
                  <a:pt x="8784" y="2286"/>
                  <a:pt x="8778" y="2286"/>
                  <a:pt x="8772" y="2283"/>
                </a:cubicBezTo>
                <a:cubicBezTo>
                  <a:pt x="8748" y="2274"/>
                  <a:pt x="8748" y="2291"/>
                  <a:pt x="8729" y="2301"/>
                </a:cubicBezTo>
                <a:cubicBezTo>
                  <a:pt x="8708" y="2313"/>
                  <a:pt x="8692" y="2302"/>
                  <a:pt x="8686" y="2330"/>
                </a:cubicBezTo>
                <a:cubicBezTo>
                  <a:pt x="8676" y="2331"/>
                  <a:pt x="8670" y="2319"/>
                  <a:pt x="8661" y="2318"/>
                </a:cubicBezTo>
                <a:cubicBezTo>
                  <a:pt x="8651" y="2317"/>
                  <a:pt x="8641" y="2332"/>
                  <a:pt x="8635" y="2337"/>
                </a:cubicBezTo>
                <a:cubicBezTo>
                  <a:pt x="8638" y="2322"/>
                  <a:pt x="8656" y="2313"/>
                  <a:pt x="8657" y="2298"/>
                </a:cubicBezTo>
                <a:cubicBezTo>
                  <a:pt x="8659" y="2281"/>
                  <a:pt x="8625" y="2269"/>
                  <a:pt x="8614" y="2271"/>
                </a:cubicBezTo>
                <a:cubicBezTo>
                  <a:pt x="8608" y="2274"/>
                  <a:pt x="8602" y="2277"/>
                  <a:pt x="8596" y="2280"/>
                </a:cubicBezTo>
                <a:cubicBezTo>
                  <a:pt x="8582" y="2280"/>
                  <a:pt x="8568" y="2264"/>
                  <a:pt x="8562" y="2247"/>
                </a:cubicBezTo>
                <a:cubicBezTo>
                  <a:pt x="8569" y="2246"/>
                  <a:pt x="8574" y="2249"/>
                  <a:pt x="8579" y="2251"/>
                </a:cubicBezTo>
                <a:cubicBezTo>
                  <a:pt x="8586" y="2253"/>
                  <a:pt x="8612" y="2253"/>
                  <a:pt x="8615" y="2250"/>
                </a:cubicBezTo>
                <a:cubicBezTo>
                  <a:pt x="8642" y="2266"/>
                  <a:pt x="8674" y="2277"/>
                  <a:pt x="8697" y="2299"/>
                </a:cubicBezTo>
                <a:cubicBezTo>
                  <a:pt x="8718" y="2290"/>
                  <a:pt x="8730" y="2266"/>
                  <a:pt x="8756" y="2263"/>
                </a:cubicBezTo>
                <a:cubicBezTo>
                  <a:pt x="8778" y="2260"/>
                  <a:pt x="8793" y="2275"/>
                  <a:pt x="8813" y="2279"/>
                </a:cubicBezTo>
                <a:cubicBezTo>
                  <a:pt x="8822" y="2274"/>
                  <a:pt x="8821" y="2266"/>
                  <a:pt x="8828" y="2262"/>
                </a:cubicBezTo>
                <a:cubicBezTo>
                  <a:pt x="8841" y="2266"/>
                  <a:pt x="8851" y="2279"/>
                  <a:pt x="8861" y="2288"/>
                </a:cubicBezTo>
                <a:cubicBezTo>
                  <a:pt x="8866" y="2292"/>
                  <a:pt x="8872" y="2294"/>
                  <a:pt x="8877" y="2298"/>
                </a:cubicBezTo>
                <a:cubicBezTo>
                  <a:pt x="8881" y="2305"/>
                  <a:pt x="8883" y="2313"/>
                  <a:pt x="8887" y="2321"/>
                </a:cubicBezTo>
                <a:cubicBezTo>
                  <a:pt x="8891" y="2323"/>
                  <a:pt x="8894" y="2319"/>
                  <a:pt x="8897" y="2324"/>
                </a:cubicBezTo>
                <a:cubicBezTo>
                  <a:pt x="8900" y="2333"/>
                  <a:pt x="8904" y="2342"/>
                  <a:pt x="8907" y="2351"/>
                </a:cubicBezTo>
                <a:cubicBezTo>
                  <a:pt x="8916" y="2366"/>
                  <a:pt x="8936" y="2375"/>
                  <a:pt x="8950" y="2379"/>
                </a:cubicBezTo>
                <a:cubicBezTo>
                  <a:pt x="8972" y="2386"/>
                  <a:pt x="8992" y="2383"/>
                  <a:pt x="9009" y="2361"/>
                </a:cubicBezTo>
                <a:cubicBezTo>
                  <a:pt x="9013" y="2357"/>
                  <a:pt x="9017" y="2353"/>
                  <a:pt x="9018" y="2347"/>
                </a:cubicBezTo>
                <a:cubicBezTo>
                  <a:pt x="9021" y="2327"/>
                  <a:pt x="8993" y="2312"/>
                  <a:pt x="8994" y="2280"/>
                </a:cubicBezTo>
                <a:cubicBezTo>
                  <a:pt x="8995" y="2280"/>
                  <a:pt x="8995" y="2279"/>
                  <a:pt x="8996" y="2279"/>
                </a:cubicBezTo>
                <a:cubicBezTo>
                  <a:pt x="8999" y="2294"/>
                  <a:pt x="9034" y="2335"/>
                  <a:pt x="9044" y="2339"/>
                </a:cubicBezTo>
                <a:cubicBezTo>
                  <a:pt x="9048" y="2341"/>
                  <a:pt x="9056" y="2342"/>
                  <a:pt x="9062" y="2336"/>
                </a:cubicBezTo>
                <a:cubicBezTo>
                  <a:pt x="9066" y="2332"/>
                  <a:pt x="9069" y="2325"/>
                  <a:pt x="9071" y="2319"/>
                </a:cubicBezTo>
                <a:cubicBezTo>
                  <a:pt x="9079" y="2295"/>
                  <a:pt x="9055" y="2288"/>
                  <a:pt x="9048" y="2274"/>
                </a:cubicBezTo>
                <a:cubicBezTo>
                  <a:pt x="9048" y="2271"/>
                  <a:pt x="9048" y="2269"/>
                  <a:pt x="9049" y="2267"/>
                </a:cubicBezTo>
                <a:cubicBezTo>
                  <a:pt x="9043" y="2267"/>
                  <a:pt x="9042" y="2258"/>
                  <a:pt x="9040" y="2252"/>
                </a:cubicBezTo>
                <a:cubicBezTo>
                  <a:pt x="9037" y="2251"/>
                  <a:pt x="9034" y="2253"/>
                  <a:pt x="9029" y="2255"/>
                </a:cubicBezTo>
                <a:cubicBezTo>
                  <a:pt x="9029" y="2238"/>
                  <a:pt x="9037" y="2209"/>
                  <a:pt x="9014" y="2223"/>
                </a:cubicBezTo>
                <a:cubicBezTo>
                  <a:pt x="9016" y="2217"/>
                  <a:pt x="9017" y="2210"/>
                  <a:pt x="9017" y="2202"/>
                </a:cubicBezTo>
                <a:cubicBezTo>
                  <a:pt x="9014" y="2203"/>
                  <a:pt x="9011" y="2205"/>
                  <a:pt x="9007" y="2205"/>
                </a:cubicBezTo>
                <a:cubicBezTo>
                  <a:pt x="9007" y="2205"/>
                  <a:pt x="9006" y="2204"/>
                  <a:pt x="9005" y="2204"/>
                </a:cubicBezTo>
                <a:cubicBezTo>
                  <a:pt x="8998" y="2157"/>
                  <a:pt x="9002" y="2138"/>
                  <a:pt x="8970" y="2122"/>
                </a:cubicBezTo>
                <a:cubicBezTo>
                  <a:pt x="8969" y="2122"/>
                  <a:pt x="8969" y="2122"/>
                  <a:pt x="8968" y="2122"/>
                </a:cubicBezTo>
                <a:cubicBezTo>
                  <a:pt x="8964" y="2141"/>
                  <a:pt x="8962" y="2166"/>
                  <a:pt x="8960" y="2184"/>
                </a:cubicBezTo>
                <a:cubicBezTo>
                  <a:pt x="8960" y="2184"/>
                  <a:pt x="8960" y="2185"/>
                  <a:pt x="8959" y="2185"/>
                </a:cubicBezTo>
                <a:cubicBezTo>
                  <a:pt x="8958" y="2184"/>
                  <a:pt x="8956" y="2181"/>
                  <a:pt x="8955" y="2180"/>
                </a:cubicBezTo>
                <a:cubicBezTo>
                  <a:pt x="8954" y="2170"/>
                  <a:pt x="8956" y="2158"/>
                  <a:pt x="8952" y="2146"/>
                </a:cubicBezTo>
                <a:cubicBezTo>
                  <a:pt x="8947" y="2131"/>
                  <a:pt x="8942" y="2108"/>
                  <a:pt x="8943" y="2094"/>
                </a:cubicBezTo>
                <a:cubicBezTo>
                  <a:pt x="8932" y="2098"/>
                  <a:pt x="8930" y="2117"/>
                  <a:pt x="8922" y="2126"/>
                </a:cubicBezTo>
                <a:cubicBezTo>
                  <a:pt x="8920" y="2125"/>
                  <a:pt x="8919" y="2124"/>
                  <a:pt x="8917" y="2124"/>
                </a:cubicBezTo>
                <a:cubicBezTo>
                  <a:pt x="8917" y="2100"/>
                  <a:pt x="8913" y="2103"/>
                  <a:pt x="8897" y="2103"/>
                </a:cubicBezTo>
                <a:cubicBezTo>
                  <a:pt x="8894" y="2095"/>
                  <a:pt x="8897" y="2089"/>
                  <a:pt x="8895" y="2080"/>
                </a:cubicBezTo>
                <a:cubicBezTo>
                  <a:pt x="8894" y="2080"/>
                  <a:pt x="8893" y="2081"/>
                  <a:pt x="8892" y="2080"/>
                </a:cubicBezTo>
                <a:cubicBezTo>
                  <a:pt x="8889" y="2081"/>
                  <a:pt x="8888" y="2081"/>
                  <a:pt x="8886" y="2083"/>
                </a:cubicBezTo>
                <a:cubicBezTo>
                  <a:pt x="8885" y="2082"/>
                  <a:pt x="8884" y="2082"/>
                  <a:pt x="8884" y="2079"/>
                </a:cubicBezTo>
                <a:cubicBezTo>
                  <a:pt x="8872" y="2084"/>
                  <a:pt x="8866" y="2080"/>
                  <a:pt x="8856" y="2080"/>
                </a:cubicBezTo>
                <a:cubicBezTo>
                  <a:pt x="8823" y="2083"/>
                  <a:pt x="8819" y="2095"/>
                  <a:pt x="8804" y="2060"/>
                </a:cubicBezTo>
                <a:cubicBezTo>
                  <a:pt x="8795" y="2056"/>
                  <a:pt x="8760" y="2054"/>
                  <a:pt x="8747" y="2059"/>
                </a:cubicBezTo>
                <a:cubicBezTo>
                  <a:pt x="8745" y="2073"/>
                  <a:pt x="8743" y="2087"/>
                  <a:pt x="8739" y="2100"/>
                </a:cubicBezTo>
                <a:cubicBezTo>
                  <a:pt x="8735" y="2111"/>
                  <a:pt x="8731" y="2121"/>
                  <a:pt x="8727" y="2132"/>
                </a:cubicBezTo>
                <a:cubicBezTo>
                  <a:pt x="8727" y="2133"/>
                  <a:pt x="8726" y="2135"/>
                  <a:pt x="8725" y="2136"/>
                </a:cubicBezTo>
                <a:cubicBezTo>
                  <a:pt x="8720" y="2129"/>
                  <a:pt x="8700" y="2111"/>
                  <a:pt x="8703" y="2094"/>
                </a:cubicBezTo>
                <a:cubicBezTo>
                  <a:pt x="8704" y="2088"/>
                  <a:pt x="8711" y="2085"/>
                  <a:pt x="8715" y="2080"/>
                </a:cubicBezTo>
                <a:cubicBezTo>
                  <a:pt x="8719" y="2075"/>
                  <a:pt x="8734" y="2044"/>
                  <a:pt x="8731" y="2035"/>
                </a:cubicBezTo>
                <a:cubicBezTo>
                  <a:pt x="8728" y="2023"/>
                  <a:pt x="8713" y="2023"/>
                  <a:pt x="8705" y="2019"/>
                </a:cubicBezTo>
                <a:cubicBezTo>
                  <a:pt x="8697" y="2015"/>
                  <a:pt x="8690" y="2002"/>
                  <a:pt x="8679" y="2002"/>
                </a:cubicBezTo>
                <a:cubicBezTo>
                  <a:pt x="8669" y="2003"/>
                  <a:pt x="8666" y="2017"/>
                  <a:pt x="8664" y="2023"/>
                </a:cubicBezTo>
                <a:cubicBezTo>
                  <a:pt x="8660" y="2029"/>
                  <a:pt x="8657" y="2035"/>
                  <a:pt x="8653" y="2042"/>
                </a:cubicBezTo>
                <a:cubicBezTo>
                  <a:pt x="8648" y="2053"/>
                  <a:pt x="8646" y="2067"/>
                  <a:pt x="8643" y="2080"/>
                </a:cubicBezTo>
                <a:cubicBezTo>
                  <a:pt x="8642" y="2081"/>
                  <a:pt x="8641" y="2081"/>
                  <a:pt x="8639" y="2082"/>
                </a:cubicBezTo>
                <a:cubicBezTo>
                  <a:pt x="8636" y="2061"/>
                  <a:pt x="8623" y="2049"/>
                  <a:pt x="8606" y="2055"/>
                </a:cubicBezTo>
                <a:cubicBezTo>
                  <a:pt x="8611" y="2042"/>
                  <a:pt x="8628" y="2049"/>
                  <a:pt x="8636" y="2041"/>
                </a:cubicBezTo>
                <a:cubicBezTo>
                  <a:pt x="8649" y="2026"/>
                  <a:pt x="8652" y="1993"/>
                  <a:pt x="8666" y="1978"/>
                </a:cubicBezTo>
                <a:cubicBezTo>
                  <a:pt x="8667" y="1976"/>
                  <a:pt x="8669" y="1974"/>
                  <a:pt x="8670" y="1972"/>
                </a:cubicBezTo>
                <a:cubicBezTo>
                  <a:pt x="8653" y="1966"/>
                  <a:pt x="8636" y="1959"/>
                  <a:pt x="8617" y="1955"/>
                </a:cubicBezTo>
                <a:cubicBezTo>
                  <a:pt x="8610" y="1965"/>
                  <a:pt x="8606" y="1960"/>
                  <a:pt x="8597" y="1967"/>
                </a:cubicBezTo>
                <a:cubicBezTo>
                  <a:pt x="8592" y="1974"/>
                  <a:pt x="8587" y="1980"/>
                  <a:pt x="8583" y="1987"/>
                </a:cubicBezTo>
                <a:cubicBezTo>
                  <a:pt x="8567" y="2005"/>
                  <a:pt x="8559" y="2013"/>
                  <a:pt x="8560" y="2044"/>
                </a:cubicBezTo>
                <a:cubicBezTo>
                  <a:pt x="8555" y="2043"/>
                  <a:pt x="8552" y="2042"/>
                  <a:pt x="8549" y="2038"/>
                </a:cubicBezTo>
                <a:cubicBezTo>
                  <a:pt x="8522" y="2005"/>
                  <a:pt x="8571" y="1996"/>
                  <a:pt x="8571" y="1973"/>
                </a:cubicBezTo>
                <a:cubicBezTo>
                  <a:pt x="8571" y="1961"/>
                  <a:pt x="8557" y="1961"/>
                  <a:pt x="8552" y="1958"/>
                </a:cubicBezTo>
                <a:cubicBezTo>
                  <a:pt x="8567" y="1950"/>
                  <a:pt x="8588" y="1938"/>
                  <a:pt x="8596" y="1949"/>
                </a:cubicBezTo>
                <a:cubicBezTo>
                  <a:pt x="8608" y="1943"/>
                  <a:pt x="8616" y="1915"/>
                  <a:pt x="8618" y="1901"/>
                </a:cubicBezTo>
                <a:cubicBezTo>
                  <a:pt x="8618" y="1897"/>
                  <a:pt x="8619" y="1892"/>
                  <a:pt x="8620" y="1887"/>
                </a:cubicBezTo>
                <a:cubicBezTo>
                  <a:pt x="8624" y="1875"/>
                  <a:pt x="8640" y="1860"/>
                  <a:pt x="8649" y="1852"/>
                </a:cubicBezTo>
                <a:cubicBezTo>
                  <a:pt x="8649" y="1851"/>
                  <a:pt x="8650" y="1852"/>
                  <a:pt x="8650" y="1851"/>
                </a:cubicBezTo>
                <a:cubicBezTo>
                  <a:pt x="8639" y="1849"/>
                  <a:pt x="8627" y="1844"/>
                  <a:pt x="8620" y="1833"/>
                </a:cubicBezTo>
                <a:cubicBezTo>
                  <a:pt x="8634" y="1835"/>
                  <a:pt x="8647" y="1836"/>
                  <a:pt x="8662" y="1835"/>
                </a:cubicBezTo>
                <a:cubicBezTo>
                  <a:pt x="8660" y="1828"/>
                  <a:pt x="8657" y="1825"/>
                  <a:pt x="8655" y="1821"/>
                </a:cubicBezTo>
                <a:cubicBezTo>
                  <a:pt x="8651" y="1795"/>
                  <a:pt x="8687" y="1779"/>
                  <a:pt x="8709" y="1776"/>
                </a:cubicBezTo>
                <a:cubicBezTo>
                  <a:pt x="8713" y="1775"/>
                  <a:pt x="8717" y="1773"/>
                  <a:pt x="8722" y="1772"/>
                </a:cubicBezTo>
                <a:cubicBezTo>
                  <a:pt x="8725" y="1772"/>
                  <a:pt x="8729" y="1775"/>
                  <a:pt x="8735" y="1770"/>
                </a:cubicBezTo>
                <a:cubicBezTo>
                  <a:pt x="8739" y="1768"/>
                  <a:pt x="8741" y="1764"/>
                  <a:pt x="8744" y="1761"/>
                </a:cubicBezTo>
                <a:cubicBezTo>
                  <a:pt x="8745" y="1773"/>
                  <a:pt x="8738" y="1779"/>
                  <a:pt x="8732" y="1786"/>
                </a:cubicBezTo>
                <a:cubicBezTo>
                  <a:pt x="8724" y="1788"/>
                  <a:pt x="8688" y="1783"/>
                  <a:pt x="8681" y="1799"/>
                </a:cubicBezTo>
                <a:cubicBezTo>
                  <a:pt x="8681" y="1800"/>
                  <a:pt x="8681" y="1802"/>
                  <a:pt x="8681" y="1803"/>
                </a:cubicBezTo>
                <a:cubicBezTo>
                  <a:pt x="8690" y="1811"/>
                  <a:pt x="8700" y="1825"/>
                  <a:pt x="8711" y="1828"/>
                </a:cubicBezTo>
                <a:cubicBezTo>
                  <a:pt x="8717" y="1830"/>
                  <a:pt x="8727" y="1828"/>
                  <a:pt x="8735" y="1827"/>
                </a:cubicBezTo>
                <a:cubicBezTo>
                  <a:pt x="8730" y="1835"/>
                  <a:pt x="8726" y="1842"/>
                  <a:pt x="8727" y="1852"/>
                </a:cubicBezTo>
                <a:cubicBezTo>
                  <a:pt x="8735" y="1865"/>
                  <a:pt x="8757" y="1882"/>
                  <a:pt x="8777" y="1868"/>
                </a:cubicBezTo>
                <a:cubicBezTo>
                  <a:pt x="8784" y="1862"/>
                  <a:pt x="8788" y="1853"/>
                  <a:pt x="8793" y="1847"/>
                </a:cubicBezTo>
                <a:cubicBezTo>
                  <a:pt x="8798" y="1839"/>
                  <a:pt x="8802" y="1830"/>
                  <a:pt x="8806" y="1822"/>
                </a:cubicBezTo>
                <a:cubicBezTo>
                  <a:pt x="8798" y="1818"/>
                  <a:pt x="8792" y="1810"/>
                  <a:pt x="8785" y="1804"/>
                </a:cubicBezTo>
                <a:cubicBezTo>
                  <a:pt x="8792" y="1785"/>
                  <a:pt x="8800" y="1765"/>
                  <a:pt x="8803" y="1745"/>
                </a:cubicBezTo>
                <a:cubicBezTo>
                  <a:pt x="8806" y="1743"/>
                  <a:pt x="8809" y="1746"/>
                  <a:pt x="8813" y="1745"/>
                </a:cubicBezTo>
                <a:cubicBezTo>
                  <a:pt x="8821" y="1744"/>
                  <a:pt x="8843" y="1728"/>
                  <a:pt x="8847" y="1724"/>
                </a:cubicBezTo>
                <a:cubicBezTo>
                  <a:pt x="8857" y="1710"/>
                  <a:pt x="8826" y="1647"/>
                  <a:pt x="8818" y="1644"/>
                </a:cubicBezTo>
                <a:cubicBezTo>
                  <a:pt x="8811" y="1642"/>
                  <a:pt x="8803" y="1643"/>
                  <a:pt x="8795" y="1642"/>
                </a:cubicBezTo>
                <a:cubicBezTo>
                  <a:pt x="8782" y="1640"/>
                  <a:pt x="8743" y="1626"/>
                  <a:pt x="8736" y="1655"/>
                </a:cubicBezTo>
                <a:cubicBezTo>
                  <a:pt x="8738" y="1662"/>
                  <a:pt x="8741" y="1664"/>
                  <a:pt x="8744" y="1668"/>
                </a:cubicBezTo>
                <a:cubicBezTo>
                  <a:pt x="8744" y="1669"/>
                  <a:pt x="8743" y="1670"/>
                  <a:pt x="8744" y="1671"/>
                </a:cubicBezTo>
                <a:cubicBezTo>
                  <a:pt x="8732" y="1671"/>
                  <a:pt x="8720" y="1671"/>
                  <a:pt x="8708" y="1671"/>
                </a:cubicBezTo>
                <a:cubicBezTo>
                  <a:pt x="8708" y="1671"/>
                  <a:pt x="8707" y="1672"/>
                  <a:pt x="8707" y="1672"/>
                </a:cubicBezTo>
                <a:cubicBezTo>
                  <a:pt x="8705" y="1659"/>
                  <a:pt x="8715" y="1636"/>
                  <a:pt x="8707" y="1624"/>
                </a:cubicBezTo>
                <a:cubicBezTo>
                  <a:pt x="8705" y="1621"/>
                  <a:pt x="8694" y="1625"/>
                  <a:pt x="8690" y="1624"/>
                </a:cubicBezTo>
                <a:cubicBezTo>
                  <a:pt x="8690" y="1617"/>
                  <a:pt x="8696" y="1614"/>
                  <a:pt x="8701" y="1611"/>
                </a:cubicBezTo>
                <a:cubicBezTo>
                  <a:pt x="8706" y="1591"/>
                  <a:pt x="8682" y="1575"/>
                  <a:pt x="8676" y="1561"/>
                </a:cubicBezTo>
                <a:cubicBezTo>
                  <a:pt x="8686" y="1563"/>
                  <a:pt x="8694" y="1569"/>
                  <a:pt x="8707" y="1567"/>
                </a:cubicBezTo>
                <a:cubicBezTo>
                  <a:pt x="8716" y="1566"/>
                  <a:pt x="8723" y="1559"/>
                  <a:pt x="8731" y="1551"/>
                </a:cubicBezTo>
                <a:cubicBezTo>
                  <a:pt x="8736" y="1563"/>
                  <a:pt x="8747" y="1589"/>
                  <a:pt x="8748" y="1591"/>
                </a:cubicBezTo>
                <a:cubicBezTo>
                  <a:pt x="8750" y="1595"/>
                  <a:pt x="8754" y="1599"/>
                  <a:pt x="8758" y="1601"/>
                </a:cubicBezTo>
                <a:cubicBezTo>
                  <a:pt x="8766" y="1600"/>
                  <a:pt x="8806" y="1558"/>
                  <a:pt x="8811" y="1549"/>
                </a:cubicBezTo>
                <a:cubicBezTo>
                  <a:pt x="8814" y="1544"/>
                  <a:pt x="8817" y="1534"/>
                  <a:pt x="8812" y="1528"/>
                </a:cubicBezTo>
                <a:cubicBezTo>
                  <a:pt x="8805" y="1518"/>
                  <a:pt x="8796" y="1538"/>
                  <a:pt x="8792" y="1543"/>
                </a:cubicBezTo>
                <a:cubicBezTo>
                  <a:pt x="8790" y="1544"/>
                  <a:pt x="8790" y="1541"/>
                  <a:pt x="8788" y="1541"/>
                </a:cubicBezTo>
                <a:cubicBezTo>
                  <a:pt x="8790" y="1540"/>
                  <a:pt x="8791" y="1539"/>
                  <a:pt x="8793" y="1537"/>
                </a:cubicBezTo>
                <a:cubicBezTo>
                  <a:pt x="8809" y="1523"/>
                  <a:pt x="8820" y="1503"/>
                  <a:pt x="8818" y="1476"/>
                </a:cubicBezTo>
                <a:cubicBezTo>
                  <a:pt x="8817" y="1462"/>
                  <a:pt x="8794" y="1445"/>
                  <a:pt x="8781" y="1453"/>
                </a:cubicBezTo>
                <a:cubicBezTo>
                  <a:pt x="8764" y="1467"/>
                  <a:pt x="8748" y="1480"/>
                  <a:pt x="8731" y="1494"/>
                </a:cubicBezTo>
                <a:cubicBezTo>
                  <a:pt x="8726" y="1500"/>
                  <a:pt x="8722" y="1509"/>
                  <a:pt x="8716" y="1515"/>
                </a:cubicBezTo>
                <a:cubicBezTo>
                  <a:pt x="8717" y="1504"/>
                  <a:pt x="8720" y="1483"/>
                  <a:pt x="8716" y="1473"/>
                </a:cubicBezTo>
                <a:cubicBezTo>
                  <a:pt x="8711" y="1456"/>
                  <a:pt x="8701" y="1445"/>
                  <a:pt x="8697" y="1427"/>
                </a:cubicBezTo>
                <a:cubicBezTo>
                  <a:pt x="8666" y="1438"/>
                  <a:pt x="8677" y="1456"/>
                  <a:pt x="8666" y="1477"/>
                </a:cubicBezTo>
                <a:cubicBezTo>
                  <a:pt x="8644" y="1490"/>
                  <a:pt x="8629" y="1467"/>
                  <a:pt x="8609" y="1470"/>
                </a:cubicBezTo>
                <a:cubicBezTo>
                  <a:pt x="8617" y="1455"/>
                  <a:pt x="8643" y="1468"/>
                  <a:pt x="8653" y="1469"/>
                </a:cubicBezTo>
                <a:cubicBezTo>
                  <a:pt x="8654" y="1469"/>
                  <a:pt x="8654" y="1469"/>
                  <a:pt x="8655" y="1469"/>
                </a:cubicBezTo>
                <a:cubicBezTo>
                  <a:pt x="8656" y="1464"/>
                  <a:pt x="8657" y="1458"/>
                  <a:pt x="8659" y="1452"/>
                </a:cubicBezTo>
                <a:cubicBezTo>
                  <a:pt x="8663" y="1438"/>
                  <a:pt x="8670" y="1426"/>
                  <a:pt x="8678" y="1415"/>
                </a:cubicBezTo>
                <a:cubicBezTo>
                  <a:pt x="8678" y="1414"/>
                  <a:pt x="8678" y="1413"/>
                  <a:pt x="8677" y="1413"/>
                </a:cubicBezTo>
                <a:cubicBezTo>
                  <a:pt x="8674" y="1409"/>
                  <a:pt x="8668" y="1411"/>
                  <a:pt x="8664" y="1410"/>
                </a:cubicBezTo>
                <a:cubicBezTo>
                  <a:pt x="8656" y="1408"/>
                  <a:pt x="8648" y="1404"/>
                  <a:pt x="8639" y="1404"/>
                </a:cubicBezTo>
                <a:cubicBezTo>
                  <a:pt x="8622" y="1404"/>
                  <a:pt x="8603" y="1412"/>
                  <a:pt x="8591" y="1403"/>
                </a:cubicBezTo>
                <a:cubicBezTo>
                  <a:pt x="8601" y="1399"/>
                  <a:pt x="8605" y="1395"/>
                  <a:pt x="8607" y="1387"/>
                </a:cubicBezTo>
                <a:cubicBezTo>
                  <a:pt x="8605" y="1378"/>
                  <a:pt x="8590" y="1376"/>
                  <a:pt x="8584" y="1373"/>
                </a:cubicBezTo>
                <a:cubicBezTo>
                  <a:pt x="8584" y="1372"/>
                  <a:pt x="8584" y="1371"/>
                  <a:pt x="8584" y="1370"/>
                </a:cubicBezTo>
                <a:cubicBezTo>
                  <a:pt x="8597" y="1366"/>
                  <a:pt x="8621" y="1370"/>
                  <a:pt x="8631" y="1374"/>
                </a:cubicBezTo>
                <a:cubicBezTo>
                  <a:pt x="8642" y="1379"/>
                  <a:pt x="8652" y="1391"/>
                  <a:pt x="8667" y="1387"/>
                </a:cubicBezTo>
                <a:cubicBezTo>
                  <a:pt x="8675" y="1380"/>
                  <a:pt x="8684" y="1361"/>
                  <a:pt x="8696" y="1368"/>
                </a:cubicBezTo>
                <a:cubicBezTo>
                  <a:pt x="8703" y="1371"/>
                  <a:pt x="8705" y="1383"/>
                  <a:pt x="8712" y="1386"/>
                </a:cubicBezTo>
                <a:cubicBezTo>
                  <a:pt x="8726" y="1383"/>
                  <a:pt x="8732" y="1357"/>
                  <a:pt x="8725" y="1338"/>
                </a:cubicBezTo>
                <a:cubicBezTo>
                  <a:pt x="8717" y="1313"/>
                  <a:pt x="8698" y="1305"/>
                  <a:pt x="8686" y="1289"/>
                </a:cubicBezTo>
                <a:cubicBezTo>
                  <a:pt x="8681" y="1283"/>
                  <a:pt x="8684" y="1270"/>
                  <a:pt x="8679" y="1265"/>
                </a:cubicBezTo>
                <a:cubicBezTo>
                  <a:pt x="8670" y="1255"/>
                  <a:pt x="8652" y="1264"/>
                  <a:pt x="8636" y="1266"/>
                </a:cubicBezTo>
                <a:cubicBezTo>
                  <a:pt x="8631" y="1266"/>
                  <a:pt x="8626" y="1265"/>
                  <a:pt x="8620" y="1265"/>
                </a:cubicBezTo>
                <a:cubicBezTo>
                  <a:pt x="8619" y="1265"/>
                  <a:pt x="8619" y="1266"/>
                  <a:pt x="8618" y="1266"/>
                </a:cubicBezTo>
                <a:cubicBezTo>
                  <a:pt x="8614" y="1261"/>
                  <a:pt x="8611" y="1256"/>
                  <a:pt x="8607" y="1252"/>
                </a:cubicBezTo>
                <a:cubicBezTo>
                  <a:pt x="8615" y="1245"/>
                  <a:pt x="8624" y="1239"/>
                  <a:pt x="8630" y="1230"/>
                </a:cubicBezTo>
                <a:cubicBezTo>
                  <a:pt x="8634" y="1224"/>
                  <a:pt x="8637" y="1213"/>
                  <a:pt x="8631" y="1206"/>
                </a:cubicBezTo>
                <a:cubicBezTo>
                  <a:pt x="8628" y="1201"/>
                  <a:pt x="8615" y="1192"/>
                  <a:pt x="8607" y="1198"/>
                </a:cubicBezTo>
                <a:cubicBezTo>
                  <a:pt x="8601" y="1201"/>
                  <a:pt x="8596" y="1209"/>
                  <a:pt x="8589" y="1211"/>
                </a:cubicBezTo>
                <a:cubicBezTo>
                  <a:pt x="8585" y="1212"/>
                  <a:pt x="8581" y="1213"/>
                  <a:pt x="8577" y="1213"/>
                </a:cubicBezTo>
                <a:cubicBezTo>
                  <a:pt x="8574" y="1208"/>
                  <a:pt x="8571" y="1200"/>
                  <a:pt x="8565" y="1199"/>
                </a:cubicBezTo>
                <a:cubicBezTo>
                  <a:pt x="8566" y="1204"/>
                  <a:pt x="8568" y="1210"/>
                  <a:pt x="8568" y="1216"/>
                </a:cubicBezTo>
                <a:cubicBezTo>
                  <a:pt x="8566" y="1216"/>
                  <a:pt x="8563" y="1214"/>
                  <a:pt x="8561" y="1216"/>
                </a:cubicBezTo>
                <a:cubicBezTo>
                  <a:pt x="8555" y="1223"/>
                  <a:pt x="8553" y="1235"/>
                  <a:pt x="8544" y="1241"/>
                </a:cubicBezTo>
                <a:cubicBezTo>
                  <a:pt x="8544" y="1241"/>
                  <a:pt x="8543" y="1241"/>
                  <a:pt x="8543" y="1241"/>
                </a:cubicBezTo>
                <a:cubicBezTo>
                  <a:pt x="8536" y="1226"/>
                  <a:pt x="8533" y="1211"/>
                  <a:pt x="8516" y="1216"/>
                </a:cubicBezTo>
                <a:cubicBezTo>
                  <a:pt x="8515" y="1213"/>
                  <a:pt x="8514" y="1210"/>
                  <a:pt x="8515" y="1207"/>
                </a:cubicBezTo>
                <a:cubicBezTo>
                  <a:pt x="8508" y="1201"/>
                  <a:pt x="8493" y="1211"/>
                  <a:pt x="8486" y="1206"/>
                </a:cubicBezTo>
                <a:cubicBezTo>
                  <a:pt x="8477" y="1199"/>
                  <a:pt x="8474" y="1170"/>
                  <a:pt x="8466" y="1159"/>
                </a:cubicBezTo>
                <a:cubicBezTo>
                  <a:pt x="8466" y="1158"/>
                  <a:pt x="8466" y="1157"/>
                  <a:pt x="8466" y="1155"/>
                </a:cubicBezTo>
                <a:cubicBezTo>
                  <a:pt x="8467" y="1154"/>
                  <a:pt x="8469" y="1153"/>
                  <a:pt x="8470" y="1151"/>
                </a:cubicBezTo>
                <a:cubicBezTo>
                  <a:pt x="8482" y="1153"/>
                  <a:pt x="8495" y="1173"/>
                  <a:pt x="8508" y="1165"/>
                </a:cubicBezTo>
                <a:cubicBezTo>
                  <a:pt x="8510" y="1159"/>
                  <a:pt x="8509" y="1150"/>
                  <a:pt x="8510" y="1142"/>
                </a:cubicBezTo>
                <a:cubicBezTo>
                  <a:pt x="8512" y="1131"/>
                  <a:pt x="8525" y="1116"/>
                  <a:pt x="8521" y="1103"/>
                </a:cubicBezTo>
                <a:cubicBezTo>
                  <a:pt x="8521" y="1102"/>
                  <a:pt x="8521" y="1102"/>
                  <a:pt x="8521" y="1101"/>
                </a:cubicBezTo>
                <a:cubicBezTo>
                  <a:pt x="8516" y="1098"/>
                  <a:pt x="8512" y="1096"/>
                  <a:pt x="8507" y="1092"/>
                </a:cubicBezTo>
                <a:cubicBezTo>
                  <a:pt x="8507" y="1091"/>
                  <a:pt x="8506" y="1088"/>
                  <a:pt x="8506" y="1087"/>
                </a:cubicBezTo>
                <a:cubicBezTo>
                  <a:pt x="8529" y="1074"/>
                  <a:pt x="8526" y="1077"/>
                  <a:pt x="8539" y="1057"/>
                </a:cubicBezTo>
                <a:cubicBezTo>
                  <a:pt x="8545" y="1059"/>
                  <a:pt x="8551" y="1060"/>
                  <a:pt x="8556" y="1062"/>
                </a:cubicBezTo>
                <a:cubicBezTo>
                  <a:pt x="8573" y="1064"/>
                  <a:pt x="8609" y="1053"/>
                  <a:pt x="8610" y="1032"/>
                </a:cubicBezTo>
                <a:cubicBezTo>
                  <a:pt x="8611" y="1013"/>
                  <a:pt x="8597" y="998"/>
                  <a:pt x="8591" y="989"/>
                </a:cubicBezTo>
                <a:cubicBezTo>
                  <a:pt x="8589" y="985"/>
                  <a:pt x="8585" y="982"/>
                  <a:pt x="8583" y="978"/>
                </a:cubicBezTo>
                <a:cubicBezTo>
                  <a:pt x="8579" y="969"/>
                  <a:pt x="8581" y="958"/>
                  <a:pt x="8575" y="954"/>
                </a:cubicBezTo>
                <a:cubicBezTo>
                  <a:pt x="8573" y="954"/>
                  <a:pt x="8571" y="954"/>
                  <a:pt x="8569" y="955"/>
                </a:cubicBezTo>
                <a:cubicBezTo>
                  <a:pt x="8563" y="954"/>
                  <a:pt x="8560" y="946"/>
                  <a:pt x="8554" y="945"/>
                </a:cubicBezTo>
                <a:cubicBezTo>
                  <a:pt x="8539" y="944"/>
                  <a:pt x="8533" y="975"/>
                  <a:pt x="8532" y="986"/>
                </a:cubicBezTo>
                <a:cubicBezTo>
                  <a:pt x="8532" y="987"/>
                  <a:pt x="8531" y="987"/>
                  <a:pt x="8531" y="987"/>
                </a:cubicBezTo>
                <a:cubicBezTo>
                  <a:pt x="8522" y="984"/>
                  <a:pt x="8515" y="981"/>
                  <a:pt x="8502" y="983"/>
                </a:cubicBezTo>
                <a:cubicBezTo>
                  <a:pt x="8489" y="985"/>
                  <a:pt x="8482" y="995"/>
                  <a:pt x="8470" y="997"/>
                </a:cubicBezTo>
                <a:cubicBezTo>
                  <a:pt x="8452" y="999"/>
                  <a:pt x="8441" y="982"/>
                  <a:pt x="8438" y="958"/>
                </a:cubicBezTo>
                <a:cubicBezTo>
                  <a:pt x="8453" y="936"/>
                  <a:pt x="8478" y="931"/>
                  <a:pt x="8503" y="932"/>
                </a:cubicBezTo>
                <a:cubicBezTo>
                  <a:pt x="8496" y="911"/>
                  <a:pt x="8487" y="897"/>
                  <a:pt x="8465" y="907"/>
                </a:cubicBezTo>
                <a:cubicBezTo>
                  <a:pt x="8457" y="899"/>
                  <a:pt x="8465" y="891"/>
                  <a:pt x="8464" y="880"/>
                </a:cubicBezTo>
                <a:cubicBezTo>
                  <a:pt x="8463" y="880"/>
                  <a:pt x="8462" y="878"/>
                  <a:pt x="8461" y="877"/>
                </a:cubicBezTo>
                <a:cubicBezTo>
                  <a:pt x="8455" y="877"/>
                  <a:pt x="8450" y="879"/>
                  <a:pt x="8445" y="884"/>
                </a:cubicBezTo>
                <a:cubicBezTo>
                  <a:pt x="8445" y="889"/>
                  <a:pt x="8445" y="896"/>
                  <a:pt x="8445" y="902"/>
                </a:cubicBezTo>
                <a:cubicBezTo>
                  <a:pt x="8439" y="908"/>
                  <a:pt x="8435" y="903"/>
                  <a:pt x="8431" y="901"/>
                </a:cubicBezTo>
                <a:cubicBezTo>
                  <a:pt x="8418" y="912"/>
                  <a:pt x="8405" y="943"/>
                  <a:pt x="8417" y="963"/>
                </a:cubicBezTo>
                <a:cubicBezTo>
                  <a:pt x="8399" y="957"/>
                  <a:pt x="8389" y="948"/>
                  <a:pt x="8384" y="918"/>
                </a:cubicBezTo>
                <a:cubicBezTo>
                  <a:pt x="8382" y="908"/>
                  <a:pt x="8380" y="899"/>
                  <a:pt x="8379" y="890"/>
                </a:cubicBezTo>
                <a:cubicBezTo>
                  <a:pt x="8375" y="883"/>
                  <a:pt x="8371" y="875"/>
                  <a:pt x="8367" y="867"/>
                </a:cubicBezTo>
                <a:cubicBezTo>
                  <a:pt x="8363" y="853"/>
                  <a:pt x="8358" y="839"/>
                  <a:pt x="8353" y="825"/>
                </a:cubicBezTo>
                <a:cubicBezTo>
                  <a:pt x="8350" y="815"/>
                  <a:pt x="8351" y="800"/>
                  <a:pt x="8345" y="792"/>
                </a:cubicBezTo>
                <a:cubicBezTo>
                  <a:pt x="8341" y="792"/>
                  <a:pt x="8337" y="792"/>
                  <a:pt x="8333" y="793"/>
                </a:cubicBezTo>
                <a:cubicBezTo>
                  <a:pt x="8328" y="787"/>
                  <a:pt x="8321" y="780"/>
                  <a:pt x="8319" y="770"/>
                </a:cubicBezTo>
                <a:cubicBezTo>
                  <a:pt x="8327" y="748"/>
                  <a:pt x="8341" y="732"/>
                  <a:pt x="8353" y="713"/>
                </a:cubicBezTo>
                <a:cubicBezTo>
                  <a:pt x="8350" y="709"/>
                  <a:pt x="8346" y="705"/>
                  <a:pt x="8342" y="700"/>
                </a:cubicBezTo>
                <a:cubicBezTo>
                  <a:pt x="8331" y="675"/>
                  <a:pt x="8328" y="642"/>
                  <a:pt x="8317" y="620"/>
                </a:cubicBezTo>
                <a:cubicBezTo>
                  <a:pt x="8307" y="600"/>
                  <a:pt x="8287" y="589"/>
                  <a:pt x="8287" y="550"/>
                </a:cubicBezTo>
                <a:cubicBezTo>
                  <a:pt x="8286" y="536"/>
                  <a:pt x="8296" y="530"/>
                  <a:pt x="8302" y="520"/>
                </a:cubicBezTo>
                <a:cubicBezTo>
                  <a:pt x="8310" y="507"/>
                  <a:pt x="8314" y="491"/>
                  <a:pt x="8314" y="472"/>
                </a:cubicBezTo>
                <a:cubicBezTo>
                  <a:pt x="8314" y="466"/>
                  <a:pt x="8312" y="454"/>
                  <a:pt x="8309" y="450"/>
                </a:cubicBezTo>
                <a:cubicBezTo>
                  <a:pt x="8298" y="436"/>
                  <a:pt x="8274" y="463"/>
                  <a:pt x="8265" y="472"/>
                </a:cubicBezTo>
                <a:cubicBezTo>
                  <a:pt x="8253" y="485"/>
                  <a:pt x="8248" y="493"/>
                  <a:pt x="8245" y="513"/>
                </a:cubicBezTo>
                <a:cubicBezTo>
                  <a:pt x="8244" y="517"/>
                  <a:pt x="8242" y="523"/>
                  <a:pt x="8244" y="528"/>
                </a:cubicBezTo>
                <a:cubicBezTo>
                  <a:pt x="8247" y="536"/>
                  <a:pt x="8254" y="535"/>
                  <a:pt x="8258" y="540"/>
                </a:cubicBezTo>
                <a:cubicBezTo>
                  <a:pt x="8262" y="547"/>
                  <a:pt x="8260" y="558"/>
                  <a:pt x="8259" y="563"/>
                </a:cubicBezTo>
                <a:cubicBezTo>
                  <a:pt x="8252" y="568"/>
                  <a:pt x="8248" y="565"/>
                  <a:pt x="8244" y="561"/>
                </a:cubicBezTo>
                <a:cubicBezTo>
                  <a:pt x="8237" y="555"/>
                  <a:pt x="8229" y="549"/>
                  <a:pt x="8230" y="532"/>
                </a:cubicBezTo>
                <a:cubicBezTo>
                  <a:pt x="8231" y="527"/>
                  <a:pt x="8232" y="520"/>
                  <a:pt x="8230" y="514"/>
                </a:cubicBezTo>
                <a:cubicBezTo>
                  <a:pt x="8226" y="505"/>
                  <a:pt x="8212" y="497"/>
                  <a:pt x="8214" y="483"/>
                </a:cubicBezTo>
                <a:cubicBezTo>
                  <a:pt x="8216" y="466"/>
                  <a:pt x="8240" y="460"/>
                  <a:pt x="8252" y="449"/>
                </a:cubicBezTo>
                <a:cubicBezTo>
                  <a:pt x="8266" y="437"/>
                  <a:pt x="8302" y="391"/>
                  <a:pt x="8287" y="368"/>
                </a:cubicBezTo>
                <a:cubicBezTo>
                  <a:pt x="8282" y="361"/>
                  <a:pt x="8273" y="358"/>
                  <a:pt x="8266" y="356"/>
                </a:cubicBezTo>
                <a:cubicBezTo>
                  <a:pt x="8261" y="353"/>
                  <a:pt x="8256" y="351"/>
                  <a:pt x="8250" y="348"/>
                </a:cubicBezTo>
                <a:cubicBezTo>
                  <a:pt x="8249" y="348"/>
                  <a:pt x="8248" y="348"/>
                  <a:pt x="8246" y="348"/>
                </a:cubicBezTo>
                <a:cubicBezTo>
                  <a:pt x="8241" y="358"/>
                  <a:pt x="8236" y="379"/>
                  <a:pt x="8227" y="386"/>
                </a:cubicBezTo>
                <a:cubicBezTo>
                  <a:pt x="8218" y="389"/>
                  <a:pt x="8209" y="393"/>
                  <a:pt x="8200" y="396"/>
                </a:cubicBezTo>
                <a:cubicBezTo>
                  <a:pt x="8191" y="401"/>
                  <a:pt x="8185" y="411"/>
                  <a:pt x="8178" y="418"/>
                </a:cubicBezTo>
                <a:cubicBezTo>
                  <a:pt x="8175" y="414"/>
                  <a:pt x="8173" y="406"/>
                  <a:pt x="8173" y="400"/>
                </a:cubicBezTo>
                <a:cubicBezTo>
                  <a:pt x="8182" y="388"/>
                  <a:pt x="8205" y="384"/>
                  <a:pt x="8215" y="372"/>
                </a:cubicBezTo>
                <a:cubicBezTo>
                  <a:pt x="8225" y="362"/>
                  <a:pt x="8227" y="346"/>
                  <a:pt x="8232" y="333"/>
                </a:cubicBezTo>
                <a:cubicBezTo>
                  <a:pt x="8236" y="327"/>
                  <a:pt x="8240" y="321"/>
                  <a:pt x="8243" y="315"/>
                </a:cubicBezTo>
                <a:cubicBezTo>
                  <a:pt x="8249" y="314"/>
                  <a:pt x="8254" y="318"/>
                  <a:pt x="8259" y="312"/>
                </a:cubicBezTo>
                <a:cubicBezTo>
                  <a:pt x="8269" y="303"/>
                  <a:pt x="8286" y="244"/>
                  <a:pt x="8285" y="227"/>
                </a:cubicBezTo>
                <a:cubicBezTo>
                  <a:pt x="8277" y="224"/>
                  <a:pt x="8261" y="223"/>
                  <a:pt x="8256" y="214"/>
                </a:cubicBezTo>
                <a:cubicBezTo>
                  <a:pt x="8252" y="204"/>
                  <a:pt x="8256" y="187"/>
                  <a:pt x="8257" y="178"/>
                </a:cubicBezTo>
                <a:cubicBezTo>
                  <a:pt x="8259" y="148"/>
                  <a:pt x="8262" y="120"/>
                  <a:pt x="8265" y="91"/>
                </a:cubicBezTo>
                <a:cubicBezTo>
                  <a:pt x="8255" y="83"/>
                  <a:pt x="8235" y="85"/>
                  <a:pt x="8222" y="83"/>
                </a:cubicBezTo>
                <a:cubicBezTo>
                  <a:pt x="8210" y="81"/>
                  <a:pt x="8200" y="76"/>
                  <a:pt x="8186" y="74"/>
                </a:cubicBezTo>
                <a:cubicBezTo>
                  <a:pt x="8179" y="74"/>
                  <a:pt x="8174" y="67"/>
                  <a:pt x="8165" y="70"/>
                </a:cubicBezTo>
                <a:cubicBezTo>
                  <a:pt x="8161" y="77"/>
                  <a:pt x="8160" y="88"/>
                  <a:pt x="8154" y="92"/>
                </a:cubicBezTo>
                <a:cubicBezTo>
                  <a:pt x="8145" y="101"/>
                  <a:pt x="8131" y="98"/>
                  <a:pt x="8127" y="110"/>
                </a:cubicBezTo>
                <a:cubicBezTo>
                  <a:pt x="8125" y="123"/>
                  <a:pt x="8123" y="135"/>
                  <a:pt x="8121" y="148"/>
                </a:cubicBezTo>
                <a:cubicBezTo>
                  <a:pt x="8121" y="163"/>
                  <a:pt x="8134" y="170"/>
                  <a:pt x="8134" y="187"/>
                </a:cubicBezTo>
                <a:cubicBezTo>
                  <a:pt x="8133" y="200"/>
                  <a:pt x="8117" y="219"/>
                  <a:pt x="8103" y="222"/>
                </a:cubicBezTo>
                <a:cubicBezTo>
                  <a:pt x="8097" y="221"/>
                  <a:pt x="8091" y="222"/>
                  <a:pt x="8084" y="221"/>
                </a:cubicBezTo>
                <a:cubicBezTo>
                  <a:pt x="8083" y="237"/>
                  <a:pt x="8081" y="253"/>
                  <a:pt x="8079" y="269"/>
                </a:cubicBezTo>
                <a:cubicBezTo>
                  <a:pt x="8074" y="305"/>
                  <a:pt x="8072" y="345"/>
                  <a:pt x="8071" y="383"/>
                </a:cubicBezTo>
                <a:cubicBezTo>
                  <a:pt x="8072" y="392"/>
                  <a:pt x="8073" y="400"/>
                  <a:pt x="8074" y="408"/>
                </a:cubicBezTo>
                <a:cubicBezTo>
                  <a:pt x="8074" y="424"/>
                  <a:pt x="8070" y="438"/>
                  <a:pt x="8068" y="452"/>
                </a:cubicBezTo>
                <a:cubicBezTo>
                  <a:pt x="8068" y="452"/>
                  <a:pt x="8068" y="453"/>
                  <a:pt x="8068" y="453"/>
                </a:cubicBezTo>
                <a:cubicBezTo>
                  <a:pt x="8058" y="424"/>
                  <a:pt x="8058" y="396"/>
                  <a:pt x="8057" y="364"/>
                </a:cubicBezTo>
                <a:cubicBezTo>
                  <a:pt x="8056" y="339"/>
                  <a:pt x="8047" y="319"/>
                  <a:pt x="8041" y="303"/>
                </a:cubicBezTo>
                <a:cubicBezTo>
                  <a:pt x="8036" y="290"/>
                  <a:pt x="8044" y="279"/>
                  <a:pt x="8039" y="265"/>
                </a:cubicBezTo>
                <a:cubicBezTo>
                  <a:pt x="8027" y="235"/>
                  <a:pt x="8009" y="200"/>
                  <a:pt x="7983" y="195"/>
                </a:cubicBezTo>
                <a:cubicBezTo>
                  <a:pt x="7971" y="201"/>
                  <a:pt x="7968" y="218"/>
                  <a:pt x="7958" y="226"/>
                </a:cubicBezTo>
                <a:cubicBezTo>
                  <a:pt x="7966" y="243"/>
                  <a:pt x="7975" y="264"/>
                  <a:pt x="7979" y="286"/>
                </a:cubicBezTo>
                <a:cubicBezTo>
                  <a:pt x="7954" y="306"/>
                  <a:pt x="7951" y="380"/>
                  <a:pt x="7928" y="396"/>
                </a:cubicBezTo>
                <a:cubicBezTo>
                  <a:pt x="7922" y="400"/>
                  <a:pt x="7917" y="388"/>
                  <a:pt x="7914" y="384"/>
                </a:cubicBezTo>
                <a:cubicBezTo>
                  <a:pt x="7909" y="350"/>
                  <a:pt x="7956" y="327"/>
                  <a:pt x="7941" y="283"/>
                </a:cubicBezTo>
                <a:cubicBezTo>
                  <a:pt x="7938" y="278"/>
                  <a:pt x="7935" y="273"/>
                  <a:pt x="7932" y="268"/>
                </a:cubicBezTo>
                <a:cubicBezTo>
                  <a:pt x="7927" y="258"/>
                  <a:pt x="7927" y="252"/>
                  <a:pt x="7919" y="249"/>
                </a:cubicBezTo>
                <a:cubicBezTo>
                  <a:pt x="7915" y="253"/>
                  <a:pt x="7914" y="260"/>
                  <a:pt x="7909" y="263"/>
                </a:cubicBezTo>
                <a:cubicBezTo>
                  <a:pt x="7905" y="265"/>
                  <a:pt x="7900" y="268"/>
                  <a:pt x="7895" y="270"/>
                </a:cubicBezTo>
                <a:cubicBezTo>
                  <a:pt x="7878" y="280"/>
                  <a:pt x="7862" y="290"/>
                  <a:pt x="7845" y="300"/>
                </a:cubicBezTo>
                <a:cubicBezTo>
                  <a:pt x="7844" y="304"/>
                  <a:pt x="7842" y="307"/>
                  <a:pt x="7840" y="310"/>
                </a:cubicBezTo>
                <a:cubicBezTo>
                  <a:pt x="7836" y="315"/>
                  <a:pt x="7830" y="315"/>
                  <a:pt x="7828" y="321"/>
                </a:cubicBezTo>
                <a:cubicBezTo>
                  <a:pt x="7827" y="323"/>
                  <a:pt x="7827" y="326"/>
                  <a:pt x="7827" y="329"/>
                </a:cubicBezTo>
                <a:cubicBezTo>
                  <a:pt x="7824" y="332"/>
                  <a:pt x="7821" y="336"/>
                  <a:pt x="7819" y="339"/>
                </a:cubicBezTo>
                <a:cubicBezTo>
                  <a:pt x="7811" y="350"/>
                  <a:pt x="7805" y="359"/>
                  <a:pt x="7795" y="370"/>
                </a:cubicBezTo>
                <a:cubicBezTo>
                  <a:pt x="7787" y="379"/>
                  <a:pt x="7777" y="420"/>
                  <a:pt x="7765" y="416"/>
                </a:cubicBezTo>
                <a:cubicBezTo>
                  <a:pt x="7761" y="414"/>
                  <a:pt x="7751" y="405"/>
                  <a:pt x="7752" y="398"/>
                </a:cubicBezTo>
                <a:cubicBezTo>
                  <a:pt x="7754" y="385"/>
                  <a:pt x="7777" y="359"/>
                  <a:pt x="7782" y="344"/>
                </a:cubicBezTo>
                <a:cubicBezTo>
                  <a:pt x="7789" y="326"/>
                  <a:pt x="7785" y="300"/>
                  <a:pt x="7797" y="286"/>
                </a:cubicBezTo>
                <a:cubicBezTo>
                  <a:pt x="7801" y="287"/>
                  <a:pt x="7805" y="289"/>
                  <a:pt x="7809" y="291"/>
                </a:cubicBezTo>
                <a:cubicBezTo>
                  <a:pt x="7817" y="287"/>
                  <a:pt x="7821" y="280"/>
                  <a:pt x="7826" y="275"/>
                </a:cubicBezTo>
                <a:cubicBezTo>
                  <a:pt x="7834" y="269"/>
                  <a:pt x="7841" y="262"/>
                  <a:pt x="7849" y="256"/>
                </a:cubicBezTo>
                <a:cubicBezTo>
                  <a:pt x="7865" y="248"/>
                  <a:pt x="7881" y="240"/>
                  <a:pt x="7897" y="232"/>
                </a:cubicBezTo>
                <a:cubicBezTo>
                  <a:pt x="7901" y="230"/>
                  <a:pt x="7905" y="230"/>
                  <a:pt x="7909" y="228"/>
                </a:cubicBezTo>
                <a:cubicBezTo>
                  <a:pt x="7938" y="210"/>
                  <a:pt x="7975" y="119"/>
                  <a:pt x="7965" y="76"/>
                </a:cubicBezTo>
                <a:cubicBezTo>
                  <a:pt x="7960" y="75"/>
                  <a:pt x="7954" y="75"/>
                  <a:pt x="7949" y="74"/>
                </a:cubicBezTo>
                <a:cubicBezTo>
                  <a:pt x="7935" y="70"/>
                  <a:pt x="7909" y="61"/>
                  <a:pt x="7893" y="65"/>
                </a:cubicBezTo>
                <a:cubicBezTo>
                  <a:pt x="7892" y="65"/>
                  <a:pt x="7891" y="65"/>
                  <a:pt x="7891" y="66"/>
                </a:cubicBezTo>
                <a:cubicBezTo>
                  <a:pt x="7890" y="68"/>
                  <a:pt x="7889" y="70"/>
                  <a:pt x="7890" y="73"/>
                </a:cubicBezTo>
                <a:cubicBezTo>
                  <a:pt x="7890" y="73"/>
                  <a:pt x="7890" y="73"/>
                  <a:pt x="7889" y="73"/>
                </a:cubicBezTo>
                <a:cubicBezTo>
                  <a:pt x="7880" y="71"/>
                  <a:pt x="7876" y="60"/>
                  <a:pt x="7867" y="56"/>
                </a:cubicBezTo>
                <a:cubicBezTo>
                  <a:pt x="7868" y="62"/>
                  <a:pt x="7868" y="62"/>
                  <a:pt x="7865" y="65"/>
                </a:cubicBezTo>
                <a:cubicBezTo>
                  <a:pt x="7862" y="60"/>
                  <a:pt x="7860" y="56"/>
                  <a:pt x="7857" y="50"/>
                </a:cubicBezTo>
                <a:cubicBezTo>
                  <a:pt x="7850" y="43"/>
                  <a:pt x="7840" y="39"/>
                  <a:pt x="7833" y="31"/>
                </a:cubicBezTo>
                <a:cubicBezTo>
                  <a:pt x="7833" y="31"/>
                  <a:pt x="7833" y="30"/>
                  <a:pt x="7833" y="30"/>
                </a:cubicBezTo>
                <a:cubicBezTo>
                  <a:pt x="7830" y="46"/>
                  <a:pt x="7807" y="71"/>
                  <a:pt x="7793" y="79"/>
                </a:cubicBezTo>
                <a:cubicBezTo>
                  <a:pt x="7788" y="81"/>
                  <a:pt x="7785" y="81"/>
                  <a:pt x="7780" y="83"/>
                </a:cubicBezTo>
                <a:cubicBezTo>
                  <a:pt x="7766" y="88"/>
                  <a:pt x="7750" y="92"/>
                  <a:pt x="7740" y="101"/>
                </a:cubicBezTo>
                <a:cubicBezTo>
                  <a:pt x="7728" y="112"/>
                  <a:pt x="7729" y="139"/>
                  <a:pt x="7718" y="149"/>
                </a:cubicBezTo>
                <a:cubicBezTo>
                  <a:pt x="7713" y="150"/>
                  <a:pt x="7708" y="152"/>
                  <a:pt x="7703" y="154"/>
                </a:cubicBezTo>
                <a:cubicBezTo>
                  <a:pt x="7684" y="164"/>
                  <a:pt x="7673" y="184"/>
                  <a:pt x="7676" y="208"/>
                </a:cubicBezTo>
                <a:cubicBezTo>
                  <a:pt x="7668" y="209"/>
                  <a:pt x="7659" y="201"/>
                  <a:pt x="7652" y="208"/>
                </a:cubicBezTo>
                <a:cubicBezTo>
                  <a:pt x="7646" y="214"/>
                  <a:pt x="7647" y="225"/>
                  <a:pt x="7641" y="232"/>
                </a:cubicBezTo>
                <a:cubicBezTo>
                  <a:pt x="7640" y="231"/>
                  <a:pt x="7640" y="230"/>
                  <a:pt x="7639" y="229"/>
                </a:cubicBezTo>
                <a:cubicBezTo>
                  <a:pt x="7635" y="227"/>
                  <a:pt x="7631" y="210"/>
                  <a:pt x="7632" y="205"/>
                </a:cubicBezTo>
                <a:cubicBezTo>
                  <a:pt x="7632" y="205"/>
                  <a:pt x="7667" y="165"/>
                  <a:pt x="7668" y="165"/>
                </a:cubicBezTo>
                <a:cubicBezTo>
                  <a:pt x="7672" y="161"/>
                  <a:pt x="7677" y="159"/>
                  <a:pt x="7682" y="156"/>
                </a:cubicBezTo>
                <a:cubicBezTo>
                  <a:pt x="7688" y="149"/>
                  <a:pt x="7681" y="140"/>
                  <a:pt x="7676" y="139"/>
                </a:cubicBezTo>
                <a:cubicBezTo>
                  <a:pt x="7676" y="138"/>
                  <a:pt x="7675" y="136"/>
                  <a:pt x="7675" y="135"/>
                </a:cubicBezTo>
                <a:cubicBezTo>
                  <a:pt x="7683" y="135"/>
                  <a:pt x="7690" y="139"/>
                  <a:pt x="7698" y="131"/>
                </a:cubicBezTo>
                <a:cubicBezTo>
                  <a:pt x="7712" y="118"/>
                  <a:pt x="7719" y="99"/>
                  <a:pt x="7735" y="86"/>
                </a:cubicBezTo>
                <a:cubicBezTo>
                  <a:pt x="7760" y="68"/>
                  <a:pt x="7800" y="60"/>
                  <a:pt x="7809" y="31"/>
                </a:cubicBezTo>
                <a:cubicBezTo>
                  <a:pt x="7818" y="1"/>
                  <a:pt x="7797" y="3"/>
                  <a:pt x="7782" y="1"/>
                </a:cubicBezTo>
                <a:cubicBezTo>
                  <a:pt x="7777" y="1"/>
                  <a:pt x="7771" y="-3"/>
                  <a:pt x="7764" y="1"/>
                </a:cubicBezTo>
                <a:close/>
                <a:moveTo>
                  <a:pt x="11412" y="312"/>
                </a:moveTo>
                <a:cubicBezTo>
                  <a:pt x="11394" y="355"/>
                  <a:pt x="11377" y="398"/>
                  <a:pt x="11359" y="441"/>
                </a:cubicBezTo>
                <a:cubicBezTo>
                  <a:pt x="11340" y="466"/>
                  <a:pt x="11326" y="468"/>
                  <a:pt x="11316" y="509"/>
                </a:cubicBezTo>
                <a:cubicBezTo>
                  <a:pt x="11316" y="511"/>
                  <a:pt x="11315" y="514"/>
                  <a:pt x="11314" y="515"/>
                </a:cubicBezTo>
                <a:cubicBezTo>
                  <a:pt x="11365" y="575"/>
                  <a:pt x="11461" y="542"/>
                  <a:pt x="11543" y="540"/>
                </a:cubicBezTo>
                <a:cubicBezTo>
                  <a:pt x="11543" y="541"/>
                  <a:pt x="11543" y="542"/>
                  <a:pt x="11543" y="543"/>
                </a:cubicBezTo>
                <a:cubicBezTo>
                  <a:pt x="11529" y="602"/>
                  <a:pt x="11521" y="637"/>
                  <a:pt x="11482" y="651"/>
                </a:cubicBezTo>
                <a:cubicBezTo>
                  <a:pt x="11482" y="666"/>
                  <a:pt x="11482" y="681"/>
                  <a:pt x="11482" y="697"/>
                </a:cubicBezTo>
                <a:cubicBezTo>
                  <a:pt x="11542" y="702"/>
                  <a:pt x="11603" y="707"/>
                  <a:pt x="11663" y="712"/>
                </a:cubicBezTo>
                <a:cubicBezTo>
                  <a:pt x="11676" y="696"/>
                  <a:pt x="11689" y="680"/>
                  <a:pt x="11701" y="664"/>
                </a:cubicBezTo>
                <a:cubicBezTo>
                  <a:pt x="11719" y="651"/>
                  <a:pt x="11737" y="657"/>
                  <a:pt x="11757" y="646"/>
                </a:cubicBezTo>
                <a:cubicBezTo>
                  <a:pt x="11774" y="630"/>
                  <a:pt x="11791" y="614"/>
                  <a:pt x="11808" y="598"/>
                </a:cubicBezTo>
                <a:cubicBezTo>
                  <a:pt x="11831" y="566"/>
                  <a:pt x="11854" y="534"/>
                  <a:pt x="11876" y="502"/>
                </a:cubicBezTo>
                <a:cubicBezTo>
                  <a:pt x="11877" y="500"/>
                  <a:pt x="11877" y="499"/>
                  <a:pt x="11878" y="497"/>
                </a:cubicBezTo>
                <a:cubicBezTo>
                  <a:pt x="11873" y="482"/>
                  <a:pt x="11867" y="467"/>
                  <a:pt x="11862" y="452"/>
                </a:cubicBezTo>
                <a:cubicBezTo>
                  <a:pt x="11849" y="445"/>
                  <a:pt x="11835" y="437"/>
                  <a:pt x="11822" y="430"/>
                </a:cubicBezTo>
                <a:cubicBezTo>
                  <a:pt x="11796" y="421"/>
                  <a:pt x="11768" y="442"/>
                  <a:pt x="11741" y="441"/>
                </a:cubicBezTo>
                <a:cubicBezTo>
                  <a:pt x="11735" y="420"/>
                  <a:pt x="11729" y="399"/>
                  <a:pt x="11723" y="378"/>
                </a:cubicBezTo>
                <a:cubicBezTo>
                  <a:pt x="11717" y="374"/>
                  <a:pt x="11711" y="371"/>
                  <a:pt x="11705" y="366"/>
                </a:cubicBezTo>
                <a:cubicBezTo>
                  <a:pt x="11676" y="373"/>
                  <a:pt x="11656" y="423"/>
                  <a:pt x="11642" y="459"/>
                </a:cubicBezTo>
                <a:cubicBezTo>
                  <a:pt x="11634" y="459"/>
                  <a:pt x="11626" y="459"/>
                  <a:pt x="11619" y="459"/>
                </a:cubicBezTo>
                <a:cubicBezTo>
                  <a:pt x="11612" y="419"/>
                  <a:pt x="11618" y="359"/>
                  <a:pt x="11624" y="321"/>
                </a:cubicBezTo>
                <a:cubicBezTo>
                  <a:pt x="11595" y="345"/>
                  <a:pt x="11592" y="413"/>
                  <a:pt x="11565" y="437"/>
                </a:cubicBezTo>
                <a:cubicBezTo>
                  <a:pt x="11563" y="442"/>
                  <a:pt x="11561" y="447"/>
                  <a:pt x="11559" y="452"/>
                </a:cubicBezTo>
                <a:cubicBezTo>
                  <a:pt x="11522" y="348"/>
                  <a:pt x="11487" y="443"/>
                  <a:pt x="11451" y="396"/>
                </a:cubicBezTo>
                <a:cubicBezTo>
                  <a:pt x="11438" y="368"/>
                  <a:pt x="11425" y="341"/>
                  <a:pt x="11412" y="312"/>
                </a:cubicBezTo>
                <a:close/>
                <a:moveTo>
                  <a:pt x="11169" y="611"/>
                </a:moveTo>
                <a:cubicBezTo>
                  <a:pt x="11161" y="629"/>
                  <a:pt x="11154" y="646"/>
                  <a:pt x="11146" y="663"/>
                </a:cubicBezTo>
                <a:cubicBezTo>
                  <a:pt x="11137" y="707"/>
                  <a:pt x="11169" y="782"/>
                  <a:pt x="11173" y="825"/>
                </a:cubicBezTo>
                <a:cubicBezTo>
                  <a:pt x="11169" y="832"/>
                  <a:pt x="11165" y="839"/>
                  <a:pt x="11161" y="846"/>
                </a:cubicBezTo>
                <a:cubicBezTo>
                  <a:pt x="11137" y="836"/>
                  <a:pt x="11095" y="730"/>
                  <a:pt x="11085" y="692"/>
                </a:cubicBezTo>
                <a:cubicBezTo>
                  <a:pt x="11069" y="668"/>
                  <a:pt x="11063" y="676"/>
                  <a:pt x="11043" y="692"/>
                </a:cubicBezTo>
                <a:cubicBezTo>
                  <a:pt x="11040" y="723"/>
                  <a:pt x="11037" y="754"/>
                  <a:pt x="11033" y="784"/>
                </a:cubicBezTo>
                <a:cubicBezTo>
                  <a:pt x="11033" y="786"/>
                  <a:pt x="11033" y="787"/>
                  <a:pt x="11033" y="789"/>
                </a:cubicBezTo>
                <a:cubicBezTo>
                  <a:pt x="11017" y="783"/>
                  <a:pt x="11001" y="777"/>
                  <a:pt x="10985" y="771"/>
                </a:cubicBezTo>
                <a:cubicBezTo>
                  <a:pt x="10978" y="749"/>
                  <a:pt x="10976" y="711"/>
                  <a:pt x="10977" y="673"/>
                </a:cubicBezTo>
                <a:cubicBezTo>
                  <a:pt x="10960" y="666"/>
                  <a:pt x="10939" y="682"/>
                  <a:pt x="10926" y="687"/>
                </a:cubicBezTo>
                <a:cubicBezTo>
                  <a:pt x="10916" y="685"/>
                  <a:pt x="10905" y="683"/>
                  <a:pt x="10895" y="681"/>
                </a:cubicBezTo>
                <a:cubicBezTo>
                  <a:pt x="10863" y="686"/>
                  <a:pt x="10847" y="711"/>
                  <a:pt x="10828" y="737"/>
                </a:cubicBezTo>
                <a:cubicBezTo>
                  <a:pt x="10833" y="777"/>
                  <a:pt x="10847" y="825"/>
                  <a:pt x="10865" y="841"/>
                </a:cubicBezTo>
                <a:cubicBezTo>
                  <a:pt x="10879" y="828"/>
                  <a:pt x="10892" y="815"/>
                  <a:pt x="10906" y="802"/>
                </a:cubicBezTo>
                <a:cubicBezTo>
                  <a:pt x="10913" y="825"/>
                  <a:pt x="10922" y="846"/>
                  <a:pt x="10930" y="868"/>
                </a:cubicBezTo>
                <a:cubicBezTo>
                  <a:pt x="10913" y="883"/>
                  <a:pt x="10896" y="898"/>
                  <a:pt x="10880" y="913"/>
                </a:cubicBezTo>
                <a:cubicBezTo>
                  <a:pt x="10892" y="967"/>
                  <a:pt x="10974" y="1097"/>
                  <a:pt x="11015" y="1069"/>
                </a:cubicBezTo>
                <a:cubicBezTo>
                  <a:pt x="11051" y="1045"/>
                  <a:pt x="11061" y="978"/>
                  <a:pt x="11092" y="943"/>
                </a:cubicBezTo>
                <a:cubicBezTo>
                  <a:pt x="11110" y="982"/>
                  <a:pt x="11155" y="1013"/>
                  <a:pt x="11188" y="1022"/>
                </a:cubicBezTo>
                <a:cubicBezTo>
                  <a:pt x="11188" y="1023"/>
                  <a:pt x="11188" y="1025"/>
                  <a:pt x="11188" y="1026"/>
                </a:cubicBezTo>
                <a:cubicBezTo>
                  <a:pt x="11149" y="1102"/>
                  <a:pt x="11076" y="1100"/>
                  <a:pt x="11020" y="1146"/>
                </a:cubicBezTo>
                <a:cubicBezTo>
                  <a:pt x="11019" y="1146"/>
                  <a:pt x="11018" y="1146"/>
                  <a:pt x="11017" y="1146"/>
                </a:cubicBezTo>
                <a:cubicBezTo>
                  <a:pt x="11022" y="1166"/>
                  <a:pt x="11027" y="1185"/>
                  <a:pt x="11033" y="1205"/>
                </a:cubicBezTo>
                <a:cubicBezTo>
                  <a:pt x="11087" y="1197"/>
                  <a:pt x="11129" y="1177"/>
                  <a:pt x="11177" y="1169"/>
                </a:cubicBezTo>
                <a:cubicBezTo>
                  <a:pt x="11183" y="1179"/>
                  <a:pt x="11189" y="1190"/>
                  <a:pt x="11195" y="1200"/>
                </a:cubicBezTo>
                <a:cubicBezTo>
                  <a:pt x="11172" y="1253"/>
                  <a:pt x="11124" y="1261"/>
                  <a:pt x="11072" y="1259"/>
                </a:cubicBezTo>
                <a:cubicBezTo>
                  <a:pt x="11067" y="1272"/>
                  <a:pt x="11062" y="1286"/>
                  <a:pt x="11057" y="1300"/>
                </a:cubicBezTo>
                <a:cubicBezTo>
                  <a:pt x="11056" y="1302"/>
                  <a:pt x="11056" y="1304"/>
                  <a:pt x="11055" y="1306"/>
                </a:cubicBezTo>
                <a:cubicBezTo>
                  <a:pt x="11077" y="1331"/>
                  <a:pt x="11177" y="1485"/>
                  <a:pt x="11212" y="1468"/>
                </a:cubicBezTo>
                <a:cubicBezTo>
                  <a:pt x="11218" y="1460"/>
                  <a:pt x="11225" y="1453"/>
                  <a:pt x="11232" y="1445"/>
                </a:cubicBezTo>
                <a:cubicBezTo>
                  <a:pt x="11232" y="1373"/>
                  <a:pt x="11246" y="1314"/>
                  <a:pt x="11267" y="1279"/>
                </a:cubicBezTo>
                <a:cubicBezTo>
                  <a:pt x="11273" y="1267"/>
                  <a:pt x="11294" y="1263"/>
                  <a:pt x="11304" y="1261"/>
                </a:cubicBezTo>
                <a:cubicBezTo>
                  <a:pt x="11312" y="1229"/>
                  <a:pt x="11321" y="1196"/>
                  <a:pt x="11329" y="1164"/>
                </a:cubicBezTo>
                <a:cubicBezTo>
                  <a:pt x="11341" y="1106"/>
                  <a:pt x="11341" y="1025"/>
                  <a:pt x="11368" y="995"/>
                </a:cubicBezTo>
                <a:cubicBezTo>
                  <a:pt x="11388" y="986"/>
                  <a:pt x="11408" y="978"/>
                  <a:pt x="11429" y="969"/>
                </a:cubicBezTo>
                <a:cubicBezTo>
                  <a:pt x="11440" y="959"/>
                  <a:pt x="11452" y="948"/>
                  <a:pt x="11464" y="938"/>
                </a:cubicBezTo>
                <a:cubicBezTo>
                  <a:pt x="11453" y="905"/>
                  <a:pt x="11422" y="867"/>
                  <a:pt x="11402" y="853"/>
                </a:cubicBezTo>
                <a:cubicBezTo>
                  <a:pt x="11384" y="840"/>
                  <a:pt x="11367" y="845"/>
                  <a:pt x="11353" y="828"/>
                </a:cubicBezTo>
                <a:cubicBezTo>
                  <a:pt x="11340" y="798"/>
                  <a:pt x="11328" y="767"/>
                  <a:pt x="11315" y="737"/>
                </a:cubicBezTo>
                <a:cubicBezTo>
                  <a:pt x="11298" y="737"/>
                  <a:pt x="11290" y="771"/>
                  <a:pt x="11278" y="789"/>
                </a:cubicBezTo>
                <a:cubicBezTo>
                  <a:pt x="11273" y="786"/>
                  <a:pt x="11269" y="782"/>
                  <a:pt x="11265" y="778"/>
                </a:cubicBezTo>
                <a:cubicBezTo>
                  <a:pt x="11258" y="749"/>
                  <a:pt x="11266" y="708"/>
                  <a:pt x="11267" y="665"/>
                </a:cubicBezTo>
                <a:cubicBezTo>
                  <a:pt x="11262" y="659"/>
                  <a:pt x="11257" y="653"/>
                  <a:pt x="11252" y="647"/>
                </a:cubicBezTo>
                <a:cubicBezTo>
                  <a:pt x="11240" y="647"/>
                  <a:pt x="11228" y="647"/>
                  <a:pt x="11215" y="647"/>
                </a:cubicBezTo>
                <a:cubicBezTo>
                  <a:pt x="11201" y="638"/>
                  <a:pt x="11191" y="615"/>
                  <a:pt x="11169" y="611"/>
                </a:cubicBezTo>
                <a:close/>
                <a:moveTo>
                  <a:pt x="6874" y="895"/>
                </a:moveTo>
                <a:cubicBezTo>
                  <a:pt x="6876" y="900"/>
                  <a:pt x="6880" y="902"/>
                  <a:pt x="6881" y="910"/>
                </a:cubicBezTo>
                <a:cubicBezTo>
                  <a:pt x="6874" y="925"/>
                  <a:pt x="6861" y="933"/>
                  <a:pt x="6852" y="946"/>
                </a:cubicBezTo>
                <a:cubicBezTo>
                  <a:pt x="6842" y="961"/>
                  <a:pt x="6828" y="1001"/>
                  <a:pt x="6824" y="1020"/>
                </a:cubicBezTo>
                <a:cubicBezTo>
                  <a:pt x="6826" y="1023"/>
                  <a:pt x="6827" y="1025"/>
                  <a:pt x="6829" y="1028"/>
                </a:cubicBezTo>
                <a:cubicBezTo>
                  <a:pt x="6828" y="1035"/>
                  <a:pt x="6826" y="1043"/>
                  <a:pt x="6825" y="1050"/>
                </a:cubicBezTo>
                <a:cubicBezTo>
                  <a:pt x="6818" y="1072"/>
                  <a:pt x="6806" y="1095"/>
                  <a:pt x="6782" y="1105"/>
                </a:cubicBezTo>
                <a:cubicBezTo>
                  <a:pt x="6777" y="1106"/>
                  <a:pt x="6771" y="1108"/>
                  <a:pt x="6766" y="1110"/>
                </a:cubicBezTo>
                <a:cubicBezTo>
                  <a:pt x="6754" y="1114"/>
                  <a:pt x="6743" y="1118"/>
                  <a:pt x="6731" y="1122"/>
                </a:cubicBezTo>
                <a:cubicBezTo>
                  <a:pt x="6715" y="1124"/>
                  <a:pt x="6698" y="1118"/>
                  <a:pt x="6679" y="1129"/>
                </a:cubicBezTo>
                <a:cubicBezTo>
                  <a:pt x="6661" y="1139"/>
                  <a:pt x="6645" y="1147"/>
                  <a:pt x="6632" y="1159"/>
                </a:cubicBezTo>
                <a:cubicBezTo>
                  <a:pt x="6625" y="1168"/>
                  <a:pt x="6617" y="1177"/>
                  <a:pt x="6609" y="1187"/>
                </a:cubicBezTo>
                <a:cubicBezTo>
                  <a:pt x="6603" y="1188"/>
                  <a:pt x="6600" y="1184"/>
                  <a:pt x="6594" y="1183"/>
                </a:cubicBezTo>
                <a:cubicBezTo>
                  <a:pt x="6585" y="1187"/>
                  <a:pt x="6583" y="1204"/>
                  <a:pt x="6572" y="1205"/>
                </a:cubicBezTo>
                <a:cubicBezTo>
                  <a:pt x="6565" y="1202"/>
                  <a:pt x="6558" y="1198"/>
                  <a:pt x="6552" y="1195"/>
                </a:cubicBezTo>
                <a:cubicBezTo>
                  <a:pt x="6541" y="1195"/>
                  <a:pt x="6528" y="1201"/>
                  <a:pt x="6518" y="1207"/>
                </a:cubicBezTo>
                <a:cubicBezTo>
                  <a:pt x="6560" y="1160"/>
                  <a:pt x="6603" y="1111"/>
                  <a:pt x="6660" y="1093"/>
                </a:cubicBezTo>
                <a:cubicBezTo>
                  <a:pt x="6661" y="1088"/>
                  <a:pt x="6663" y="1082"/>
                  <a:pt x="6664" y="1077"/>
                </a:cubicBezTo>
                <a:cubicBezTo>
                  <a:pt x="6656" y="1058"/>
                  <a:pt x="6648" y="1038"/>
                  <a:pt x="6640" y="1019"/>
                </a:cubicBezTo>
                <a:cubicBezTo>
                  <a:pt x="6595" y="1020"/>
                  <a:pt x="6568" y="1078"/>
                  <a:pt x="6521" y="1053"/>
                </a:cubicBezTo>
                <a:cubicBezTo>
                  <a:pt x="6514" y="1039"/>
                  <a:pt x="6508" y="1026"/>
                  <a:pt x="6502" y="1011"/>
                </a:cubicBezTo>
                <a:cubicBezTo>
                  <a:pt x="6498" y="997"/>
                  <a:pt x="6509" y="965"/>
                  <a:pt x="6514" y="949"/>
                </a:cubicBezTo>
                <a:cubicBezTo>
                  <a:pt x="6559" y="931"/>
                  <a:pt x="6598" y="886"/>
                  <a:pt x="6657" y="906"/>
                </a:cubicBezTo>
                <a:cubicBezTo>
                  <a:pt x="6689" y="915"/>
                  <a:pt x="6722" y="924"/>
                  <a:pt x="6754" y="933"/>
                </a:cubicBezTo>
                <a:cubicBezTo>
                  <a:pt x="6763" y="930"/>
                  <a:pt x="6769" y="921"/>
                  <a:pt x="6777" y="915"/>
                </a:cubicBezTo>
                <a:cubicBezTo>
                  <a:pt x="6776" y="932"/>
                  <a:pt x="6796" y="934"/>
                  <a:pt x="6805" y="934"/>
                </a:cubicBezTo>
                <a:cubicBezTo>
                  <a:pt x="6831" y="936"/>
                  <a:pt x="6866" y="930"/>
                  <a:pt x="6872" y="897"/>
                </a:cubicBezTo>
                <a:cubicBezTo>
                  <a:pt x="6872" y="896"/>
                  <a:pt x="6873" y="895"/>
                  <a:pt x="6874" y="895"/>
                </a:cubicBezTo>
                <a:close/>
                <a:moveTo>
                  <a:pt x="16800" y="1210"/>
                </a:moveTo>
                <a:cubicBezTo>
                  <a:pt x="16778" y="1206"/>
                  <a:pt x="16756" y="1211"/>
                  <a:pt x="16733" y="1220"/>
                </a:cubicBezTo>
                <a:cubicBezTo>
                  <a:pt x="16687" y="1239"/>
                  <a:pt x="16642" y="1284"/>
                  <a:pt x="16617" y="1314"/>
                </a:cubicBezTo>
                <a:cubicBezTo>
                  <a:pt x="16607" y="1328"/>
                  <a:pt x="16597" y="1337"/>
                  <a:pt x="16587" y="1351"/>
                </a:cubicBezTo>
                <a:cubicBezTo>
                  <a:pt x="16580" y="1391"/>
                  <a:pt x="16590" y="1420"/>
                  <a:pt x="16602" y="1445"/>
                </a:cubicBezTo>
                <a:cubicBezTo>
                  <a:pt x="16591" y="1460"/>
                  <a:pt x="16577" y="1479"/>
                  <a:pt x="16566" y="1492"/>
                </a:cubicBezTo>
                <a:cubicBezTo>
                  <a:pt x="16555" y="1498"/>
                  <a:pt x="16524" y="1497"/>
                  <a:pt x="16511" y="1501"/>
                </a:cubicBezTo>
                <a:cubicBezTo>
                  <a:pt x="16501" y="1530"/>
                  <a:pt x="16502" y="1541"/>
                  <a:pt x="16501" y="1584"/>
                </a:cubicBezTo>
                <a:cubicBezTo>
                  <a:pt x="16494" y="1593"/>
                  <a:pt x="16482" y="1605"/>
                  <a:pt x="16475" y="1613"/>
                </a:cubicBezTo>
                <a:cubicBezTo>
                  <a:pt x="16451" y="1610"/>
                  <a:pt x="16438" y="1576"/>
                  <a:pt x="16410" y="1584"/>
                </a:cubicBezTo>
                <a:cubicBezTo>
                  <a:pt x="16376" y="1602"/>
                  <a:pt x="16343" y="1625"/>
                  <a:pt x="16309" y="1642"/>
                </a:cubicBezTo>
                <a:cubicBezTo>
                  <a:pt x="16291" y="1638"/>
                  <a:pt x="16276" y="1627"/>
                  <a:pt x="16258" y="1623"/>
                </a:cubicBezTo>
                <a:cubicBezTo>
                  <a:pt x="16261" y="1608"/>
                  <a:pt x="16265" y="1599"/>
                  <a:pt x="16268" y="1584"/>
                </a:cubicBezTo>
                <a:cubicBezTo>
                  <a:pt x="16267" y="1581"/>
                  <a:pt x="16265" y="1579"/>
                  <a:pt x="16263" y="1576"/>
                </a:cubicBezTo>
                <a:cubicBezTo>
                  <a:pt x="16254" y="1564"/>
                  <a:pt x="16234" y="1558"/>
                  <a:pt x="16218" y="1558"/>
                </a:cubicBezTo>
                <a:cubicBezTo>
                  <a:pt x="16143" y="1558"/>
                  <a:pt x="16151" y="1602"/>
                  <a:pt x="16101" y="1632"/>
                </a:cubicBezTo>
                <a:cubicBezTo>
                  <a:pt x="16041" y="1669"/>
                  <a:pt x="15965" y="1681"/>
                  <a:pt x="15900" y="1707"/>
                </a:cubicBezTo>
                <a:cubicBezTo>
                  <a:pt x="15876" y="1714"/>
                  <a:pt x="15853" y="1717"/>
                  <a:pt x="15829" y="1725"/>
                </a:cubicBezTo>
                <a:cubicBezTo>
                  <a:pt x="15780" y="1760"/>
                  <a:pt x="15734" y="1862"/>
                  <a:pt x="15682" y="1894"/>
                </a:cubicBezTo>
                <a:cubicBezTo>
                  <a:pt x="15676" y="1920"/>
                  <a:pt x="15672" y="1944"/>
                  <a:pt x="15672" y="1978"/>
                </a:cubicBezTo>
                <a:cubicBezTo>
                  <a:pt x="15677" y="1990"/>
                  <a:pt x="15678" y="1996"/>
                  <a:pt x="15682" y="2007"/>
                </a:cubicBezTo>
                <a:cubicBezTo>
                  <a:pt x="15693" y="2022"/>
                  <a:pt x="15710" y="2031"/>
                  <a:pt x="15718" y="2053"/>
                </a:cubicBezTo>
                <a:cubicBezTo>
                  <a:pt x="15721" y="2068"/>
                  <a:pt x="15725" y="2084"/>
                  <a:pt x="15728" y="2100"/>
                </a:cubicBezTo>
                <a:cubicBezTo>
                  <a:pt x="15713" y="2162"/>
                  <a:pt x="15673" y="2193"/>
                  <a:pt x="15632" y="2204"/>
                </a:cubicBezTo>
                <a:cubicBezTo>
                  <a:pt x="15639" y="2169"/>
                  <a:pt x="15649" y="2141"/>
                  <a:pt x="15667" y="2128"/>
                </a:cubicBezTo>
                <a:cubicBezTo>
                  <a:pt x="15626" y="2086"/>
                  <a:pt x="15588" y="2139"/>
                  <a:pt x="15556" y="2175"/>
                </a:cubicBezTo>
                <a:cubicBezTo>
                  <a:pt x="15545" y="2163"/>
                  <a:pt x="15540" y="2153"/>
                  <a:pt x="15531" y="2138"/>
                </a:cubicBezTo>
                <a:cubicBezTo>
                  <a:pt x="15523" y="2127"/>
                  <a:pt x="15488" y="2155"/>
                  <a:pt x="15471" y="2156"/>
                </a:cubicBezTo>
                <a:cubicBezTo>
                  <a:pt x="15435" y="2159"/>
                  <a:pt x="15283" y="2170"/>
                  <a:pt x="15273" y="2204"/>
                </a:cubicBezTo>
                <a:cubicBezTo>
                  <a:pt x="15253" y="2237"/>
                  <a:pt x="15289" y="2278"/>
                  <a:pt x="15294" y="2306"/>
                </a:cubicBezTo>
                <a:cubicBezTo>
                  <a:pt x="15294" y="2340"/>
                  <a:pt x="15293" y="2374"/>
                  <a:pt x="15294" y="2408"/>
                </a:cubicBezTo>
                <a:cubicBezTo>
                  <a:pt x="15299" y="2439"/>
                  <a:pt x="15363" y="2469"/>
                  <a:pt x="15385" y="2474"/>
                </a:cubicBezTo>
                <a:cubicBezTo>
                  <a:pt x="15393" y="2534"/>
                  <a:pt x="15417" y="2538"/>
                  <a:pt x="15440" y="2568"/>
                </a:cubicBezTo>
                <a:cubicBezTo>
                  <a:pt x="15447" y="2581"/>
                  <a:pt x="15458" y="2591"/>
                  <a:pt x="15466" y="2605"/>
                </a:cubicBezTo>
                <a:cubicBezTo>
                  <a:pt x="15458" y="2639"/>
                  <a:pt x="15448" y="2674"/>
                  <a:pt x="15440" y="2709"/>
                </a:cubicBezTo>
                <a:cubicBezTo>
                  <a:pt x="15452" y="2751"/>
                  <a:pt x="15471" y="2796"/>
                  <a:pt x="15471" y="2857"/>
                </a:cubicBezTo>
                <a:cubicBezTo>
                  <a:pt x="15458" y="2874"/>
                  <a:pt x="15451" y="2893"/>
                  <a:pt x="15435" y="2906"/>
                </a:cubicBezTo>
                <a:cubicBezTo>
                  <a:pt x="15440" y="2846"/>
                  <a:pt x="15427" y="2830"/>
                  <a:pt x="15420" y="2793"/>
                </a:cubicBezTo>
                <a:cubicBezTo>
                  <a:pt x="15416" y="2790"/>
                  <a:pt x="15412" y="2786"/>
                  <a:pt x="15409" y="2783"/>
                </a:cubicBezTo>
                <a:cubicBezTo>
                  <a:pt x="15395" y="2802"/>
                  <a:pt x="15385" y="2843"/>
                  <a:pt x="15379" y="2877"/>
                </a:cubicBezTo>
                <a:cubicBezTo>
                  <a:pt x="15376" y="2874"/>
                  <a:pt x="15373" y="2870"/>
                  <a:pt x="15370" y="2867"/>
                </a:cubicBezTo>
                <a:cubicBezTo>
                  <a:pt x="15373" y="2811"/>
                  <a:pt x="15376" y="2764"/>
                  <a:pt x="15379" y="2709"/>
                </a:cubicBezTo>
                <a:cubicBezTo>
                  <a:pt x="15393" y="2687"/>
                  <a:pt x="15406" y="2665"/>
                  <a:pt x="15420" y="2644"/>
                </a:cubicBezTo>
                <a:cubicBezTo>
                  <a:pt x="15419" y="2632"/>
                  <a:pt x="15421" y="2617"/>
                  <a:pt x="15420" y="2605"/>
                </a:cubicBezTo>
                <a:cubicBezTo>
                  <a:pt x="15402" y="2612"/>
                  <a:pt x="15367" y="2638"/>
                  <a:pt x="15339" y="2624"/>
                </a:cubicBezTo>
                <a:cubicBezTo>
                  <a:pt x="15271" y="2590"/>
                  <a:pt x="15214" y="2405"/>
                  <a:pt x="15117" y="2494"/>
                </a:cubicBezTo>
                <a:cubicBezTo>
                  <a:pt x="15118" y="2518"/>
                  <a:pt x="15121" y="2535"/>
                  <a:pt x="15122" y="2558"/>
                </a:cubicBezTo>
                <a:cubicBezTo>
                  <a:pt x="15086" y="2577"/>
                  <a:pt x="15085" y="2568"/>
                  <a:pt x="15056" y="2549"/>
                </a:cubicBezTo>
                <a:cubicBezTo>
                  <a:pt x="15042" y="2551"/>
                  <a:pt x="15024" y="2557"/>
                  <a:pt x="15011" y="2558"/>
                </a:cubicBezTo>
                <a:cubicBezTo>
                  <a:pt x="15008" y="2570"/>
                  <a:pt x="15008" y="2584"/>
                  <a:pt x="15005" y="2596"/>
                </a:cubicBezTo>
                <a:cubicBezTo>
                  <a:pt x="15034" y="2656"/>
                  <a:pt x="15063" y="2661"/>
                  <a:pt x="15122" y="2662"/>
                </a:cubicBezTo>
                <a:cubicBezTo>
                  <a:pt x="15136" y="2695"/>
                  <a:pt x="15143" y="2728"/>
                  <a:pt x="15152" y="2775"/>
                </a:cubicBezTo>
                <a:cubicBezTo>
                  <a:pt x="15141" y="2778"/>
                  <a:pt x="15128" y="2782"/>
                  <a:pt x="15117" y="2783"/>
                </a:cubicBezTo>
                <a:cubicBezTo>
                  <a:pt x="15109" y="2768"/>
                  <a:pt x="15105" y="2751"/>
                  <a:pt x="15097" y="2736"/>
                </a:cubicBezTo>
                <a:cubicBezTo>
                  <a:pt x="15088" y="2734"/>
                  <a:pt x="15075" y="2738"/>
                  <a:pt x="15066" y="2736"/>
                </a:cubicBezTo>
                <a:cubicBezTo>
                  <a:pt x="15019" y="2720"/>
                  <a:pt x="14959" y="2722"/>
                  <a:pt x="14940" y="2652"/>
                </a:cubicBezTo>
                <a:cubicBezTo>
                  <a:pt x="14922" y="2586"/>
                  <a:pt x="14954" y="2534"/>
                  <a:pt x="14961" y="2494"/>
                </a:cubicBezTo>
                <a:cubicBezTo>
                  <a:pt x="14966" y="2464"/>
                  <a:pt x="14962" y="2422"/>
                  <a:pt x="14961" y="2390"/>
                </a:cubicBezTo>
                <a:cubicBezTo>
                  <a:pt x="14948" y="2384"/>
                  <a:pt x="14933" y="2378"/>
                  <a:pt x="14920" y="2371"/>
                </a:cubicBezTo>
                <a:cubicBezTo>
                  <a:pt x="14922" y="2450"/>
                  <a:pt x="14924" y="2520"/>
                  <a:pt x="14895" y="2558"/>
                </a:cubicBezTo>
                <a:cubicBezTo>
                  <a:pt x="14864" y="2597"/>
                  <a:pt x="14821" y="2580"/>
                  <a:pt x="14808" y="2652"/>
                </a:cubicBezTo>
                <a:cubicBezTo>
                  <a:pt x="14823" y="2703"/>
                  <a:pt x="14865" y="2765"/>
                  <a:pt x="14869" y="2831"/>
                </a:cubicBezTo>
                <a:cubicBezTo>
                  <a:pt x="14873" y="2881"/>
                  <a:pt x="14836" y="2944"/>
                  <a:pt x="14834" y="3009"/>
                </a:cubicBezTo>
                <a:cubicBezTo>
                  <a:pt x="14833" y="3051"/>
                  <a:pt x="14849" y="3086"/>
                  <a:pt x="14849" y="3140"/>
                </a:cubicBezTo>
                <a:cubicBezTo>
                  <a:pt x="14872" y="3139"/>
                  <a:pt x="14899" y="3155"/>
                  <a:pt x="14915" y="3149"/>
                </a:cubicBezTo>
                <a:cubicBezTo>
                  <a:pt x="14927" y="3142"/>
                  <a:pt x="14944" y="3138"/>
                  <a:pt x="14956" y="3130"/>
                </a:cubicBezTo>
                <a:cubicBezTo>
                  <a:pt x="14987" y="3118"/>
                  <a:pt x="15024" y="3162"/>
                  <a:pt x="15046" y="3176"/>
                </a:cubicBezTo>
                <a:cubicBezTo>
                  <a:pt x="15056" y="3178"/>
                  <a:pt x="15062" y="3183"/>
                  <a:pt x="15071" y="3185"/>
                </a:cubicBezTo>
                <a:cubicBezTo>
                  <a:pt x="15086" y="3200"/>
                  <a:pt x="15090" y="3239"/>
                  <a:pt x="15097" y="3271"/>
                </a:cubicBezTo>
                <a:cubicBezTo>
                  <a:pt x="15101" y="3291"/>
                  <a:pt x="15114" y="3312"/>
                  <a:pt x="15112" y="3336"/>
                </a:cubicBezTo>
                <a:cubicBezTo>
                  <a:pt x="15107" y="3351"/>
                  <a:pt x="15091" y="3367"/>
                  <a:pt x="15081" y="3373"/>
                </a:cubicBezTo>
                <a:cubicBezTo>
                  <a:pt x="15080" y="3385"/>
                  <a:pt x="15077" y="3399"/>
                  <a:pt x="15076" y="3411"/>
                </a:cubicBezTo>
                <a:cubicBezTo>
                  <a:pt x="15101" y="3425"/>
                  <a:pt x="15125" y="3417"/>
                  <a:pt x="15142" y="3448"/>
                </a:cubicBezTo>
                <a:cubicBezTo>
                  <a:pt x="15141" y="3455"/>
                  <a:pt x="15142" y="3469"/>
                  <a:pt x="15142" y="3476"/>
                </a:cubicBezTo>
                <a:cubicBezTo>
                  <a:pt x="15117" y="3494"/>
                  <a:pt x="15056" y="3501"/>
                  <a:pt x="15046" y="3448"/>
                </a:cubicBezTo>
                <a:cubicBezTo>
                  <a:pt x="15041" y="3433"/>
                  <a:pt x="15058" y="3325"/>
                  <a:pt x="15051" y="3280"/>
                </a:cubicBezTo>
                <a:cubicBezTo>
                  <a:pt x="15027" y="3189"/>
                  <a:pt x="14890" y="3183"/>
                  <a:pt x="14879" y="3308"/>
                </a:cubicBezTo>
                <a:cubicBezTo>
                  <a:pt x="14891" y="3348"/>
                  <a:pt x="14905" y="3369"/>
                  <a:pt x="14904" y="3429"/>
                </a:cubicBezTo>
                <a:cubicBezTo>
                  <a:pt x="14895" y="3450"/>
                  <a:pt x="14884" y="3473"/>
                  <a:pt x="14875" y="3494"/>
                </a:cubicBezTo>
                <a:cubicBezTo>
                  <a:pt x="14867" y="3503"/>
                  <a:pt x="14862" y="3514"/>
                  <a:pt x="14854" y="3523"/>
                </a:cubicBezTo>
                <a:cubicBezTo>
                  <a:pt x="14845" y="3547"/>
                  <a:pt x="14846" y="3588"/>
                  <a:pt x="14834" y="3607"/>
                </a:cubicBezTo>
                <a:cubicBezTo>
                  <a:pt x="14803" y="3653"/>
                  <a:pt x="14760" y="3657"/>
                  <a:pt x="14743" y="3728"/>
                </a:cubicBezTo>
                <a:cubicBezTo>
                  <a:pt x="14724" y="3744"/>
                  <a:pt x="14704" y="3734"/>
                  <a:pt x="14688" y="3728"/>
                </a:cubicBezTo>
                <a:cubicBezTo>
                  <a:pt x="14676" y="3729"/>
                  <a:pt x="14664" y="3727"/>
                  <a:pt x="14652" y="3728"/>
                </a:cubicBezTo>
                <a:cubicBezTo>
                  <a:pt x="14604" y="3716"/>
                  <a:pt x="14563" y="3706"/>
                  <a:pt x="14546" y="3636"/>
                </a:cubicBezTo>
                <a:cubicBezTo>
                  <a:pt x="14574" y="3622"/>
                  <a:pt x="14600" y="3617"/>
                  <a:pt x="14626" y="3636"/>
                </a:cubicBezTo>
                <a:cubicBezTo>
                  <a:pt x="14635" y="3643"/>
                  <a:pt x="14644" y="3657"/>
                  <a:pt x="14652" y="3663"/>
                </a:cubicBezTo>
                <a:cubicBezTo>
                  <a:pt x="14667" y="3653"/>
                  <a:pt x="14682" y="3636"/>
                  <a:pt x="14698" y="3626"/>
                </a:cubicBezTo>
                <a:cubicBezTo>
                  <a:pt x="14695" y="3612"/>
                  <a:pt x="14695" y="3604"/>
                  <a:pt x="14692" y="3589"/>
                </a:cubicBezTo>
                <a:cubicBezTo>
                  <a:pt x="14700" y="3558"/>
                  <a:pt x="14719" y="3543"/>
                  <a:pt x="14733" y="3523"/>
                </a:cubicBezTo>
                <a:cubicBezTo>
                  <a:pt x="14751" y="3496"/>
                  <a:pt x="14785" y="3453"/>
                  <a:pt x="14794" y="3411"/>
                </a:cubicBezTo>
                <a:cubicBezTo>
                  <a:pt x="14797" y="3387"/>
                  <a:pt x="14800" y="3360"/>
                  <a:pt x="14803" y="3336"/>
                </a:cubicBezTo>
                <a:cubicBezTo>
                  <a:pt x="14808" y="3314"/>
                  <a:pt x="14818" y="3311"/>
                  <a:pt x="14819" y="3280"/>
                </a:cubicBezTo>
                <a:cubicBezTo>
                  <a:pt x="14797" y="3228"/>
                  <a:pt x="14774" y="3260"/>
                  <a:pt x="14763" y="3158"/>
                </a:cubicBezTo>
                <a:cubicBezTo>
                  <a:pt x="14764" y="3106"/>
                  <a:pt x="14763" y="3060"/>
                  <a:pt x="14763" y="3009"/>
                </a:cubicBezTo>
                <a:cubicBezTo>
                  <a:pt x="14761" y="2979"/>
                  <a:pt x="14760" y="2944"/>
                  <a:pt x="14759" y="2914"/>
                </a:cubicBezTo>
                <a:cubicBezTo>
                  <a:pt x="14765" y="2897"/>
                  <a:pt x="14772" y="2884"/>
                  <a:pt x="14779" y="2867"/>
                </a:cubicBezTo>
                <a:cubicBezTo>
                  <a:pt x="14791" y="2789"/>
                  <a:pt x="14740" y="2671"/>
                  <a:pt x="14718" y="2652"/>
                </a:cubicBezTo>
                <a:cubicBezTo>
                  <a:pt x="14725" y="2594"/>
                  <a:pt x="14816" y="2454"/>
                  <a:pt x="14779" y="2363"/>
                </a:cubicBezTo>
                <a:cubicBezTo>
                  <a:pt x="14766" y="2332"/>
                  <a:pt x="14743" y="2358"/>
                  <a:pt x="14723" y="2353"/>
                </a:cubicBezTo>
                <a:cubicBezTo>
                  <a:pt x="14692" y="2346"/>
                  <a:pt x="14659" y="2353"/>
                  <a:pt x="14626" y="2363"/>
                </a:cubicBezTo>
                <a:cubicBezTo>
                  <a:pt x="14603" y="2369"/>
                  <a:pt x="14575" y="2352"/>
                  <a:pt x="14556" y="2343"/>
                </a:cubicBezTo>
                <a:cubicBezTo>
                  <a:pt x="14551" y="2357"/>
                  <a:pt x="14546" y="2367"/>
                  <a:pt x="14541" y="2381"/>
                </a:cubicBezTo>
                <a:cubicBezTo>
                  <a:pt x="14536" y="2421"/>
                  <a:pt x="14531" y="2463"/>
                  <a:pt x="14526" y="2503"/>
                </a:cubicBezTo>
                <a:cubicBezTo>
                  <a:pt x="14515" y="2537"/>
                  <a:pt x="14506" y="2572"/>
                  <a:pt x="14495" y="2605"/>
                </a:cubicBezTo>
                <a:cubicBezTo>
                  <a:pt x="14466" y="2676"/>
                  <a:pt x="14380" y="2678"/>
                  <a:pt x="14394" y="2802"/>
                </a:cubicBezTo>
                <a:cubicBezTo>
                  <a:pt x="14406" y="2804"/>
                  <a:pt x="14418" y="2810"/>
                  <a:pt x="14430" y="2812"/>
                </a:cubicBezTo>
                <a:cubicBezTo>
                  <a:pt x="14459" y="2965"/>
                  <a:pt x="14409" y="2926"/>
                  <a:pt x="14399" y="3017"/>
                </a:cubicBezTo>
                <a:cubicBezTo>
                  <a:pt x="14415" y="3061"/>
                  <a:pt x="14456" y="3038"/>
                  <a:pt x="14475" y="3074"/>
                </a:cubicBezTo>
                <a:cubicBezTo>
                  <a:pt x="14482" y="3088"/>
                  <a:pt x="14477" y="3128"/>
                  <a:pt x="14480" y="3149"/>
                </a:cubicBezTo>
                <a:cubicBezTo>
                  <a:pt x="14488" y="3199"/>
                  <a:pt x="14508" y="3213"/>
                  <a:pt x="14541" y="3205"/>
                </a:cubicBezTo>
                <a:cubicBezTo>
                  <a:pt x="14537" y="3243"/>
                  <a:pt x="14516" y="3308"/>
                  <a:pt x="14501" y="3327"/>
                </a:cubicBezTo>
                <a:cubicBezTo>
                  <a:pt x="14497" y="3333"/>
                  <a:pt x="14493" y="3336"/>
                  <a:pt x="14486" y="3336"/>
                </a:cubicBezTo>
                <a:cubicBezTo>
                  <a:pt x="14403" y="3193"/>
                  <a:pt x="14293" y="3109"/>
                  <a:pt x="14167" y="3045"/>
                </a:cubicBezTo>
                <a:cubicBezTo>
                  <a:pt x="14141" y="3031"/>
                  <a:pt x="14069" y="3001"/>
                  <a:pt x="14031" y="3017"/>
                </a:cubicBezTo>
                <a:cubicBezTo>
                  <a:pt x="14013" y="3025"/>
                  <a:pt x="14005" y="3051"/>
                  <a:pt x="13991" y="3064"/>
                </a:cubicBezTo>
                <a:cubicBezTo>
                  <a:pt x="13990" y="3066"/>
                  <a:pt x="13986" y="3072"/>
                  <a:pt x="13985" y="3074"/>
                </a:cubicBezTo>
                <a:cubicBezTo>
                  <a:pt x="13999" y="3105"/>
                  <a:pt x="14012" y="3136"/>
                  <a:pt x="14026" y="3167"/>
                </a:cubicBezTo>
                <a:cubicBezTo>
                  <a:pt x="14023" y="3258"/>
                  <a:pt x="14003" y="3242"/>
                  <a:pt x="13965" y="3251"/>
                </a:cubicBezTo>
                <a:cubicBezTo>
                  <a:pt x="13961" y="3265"/>
                  <a:pt x="13953" y="3295"/>
                  <a:pt x="13950" y="3308"/>
                </a:cubicBezTo>
                <a:cubicBezTo>
                  <a:pt x="13929" y="3327"/>
                  <a:pt x="13910" y="3299"/>
                  <a:pt x="13905" y="3271"/>
                </a:cubicBezTo>
                <a:cubicBezTo>
                  <a:pt x="13911" y="3255"/>
                  <a:pt x="13918" y="3238"/>
                  <a:pt x="13924" y="3223"/>
                </a:cubicBezTo>
                <a:cubicBezTo>
                  <a:pt x="13886" y="3190"/>
                  <a:pt x="13860" y="3191"/>
                  <a:pt x="13824" y="3242"/>
                </a:cubicBezTo>
                <a:cubicBezTo>
                  <a:pt x="13815" y="3255"/>
                  <a:pt x="13808" y="3267"/>
                  <a:pt x="13799" y="3280"/>
                </a:cubicBezTo>
                <a:cubicBezTo>
                  <a:pt x="13777" y="3292"/>
                  <a:pt x="13761" y="3269"/>
                  <a:pt x="13749" y="3262"/>
                </a:cubicBezTo>
                <a:cubicBezTo>
                  <a:pt x="13749" y="3255"/>
                  <a:pt x="13750" y="3247"/>
                  <a:pt x="13751" y="3239"/>
                </a:cubicBezTo>
                <a:cubicBezTo>
                  <a:pt x="13744" y="3236"/>
                  <a:pt x="13738" y="3234"/>
                  <a:pt x="13731" y="3231"/>
                </a:cubicBezTo>
                <a:cubicBezTo>
                  <a:pt x="13728" y="3240"/>
                  <a:pt x="13723" y="3248"/>
                  <a:pt x="13720" y="3257"/>
                </a:cubicBezTo>
                <a:cubicBezTo>
                  <a:pt x="13718" y="3257"/>
                  <a:pt x="13716" y="3257"/>
                  <a:pt x="13714" y="3257"/>
                </a:cubicBezTo>
                <a:cubicBezTo>
                  <a:pt x="13710" y="3246"/>
                  <a:pt x="13704" y="3236"/>
                  <a:pt x="13700" y="3225"/>
                </a:cubicBezTo>
                <a:cubicBezTo>
                  <a:pt x="13693" y="3239"/>
                  <a:pt x="13686" y="3252"/>
                  <a:pt x="13679" y="3266"/>
                </a:cubicBezTo>
                <a:cubicBezTo>
                  <a:pt x="13679" y="3266"/>
                  <a:pt x="13678" y="3267"/>
                  <a:pt x="13677" y="3267"/>
                </a:cubicBezTo>
                <a:cubicBezTo>
                  <a:pt x="13678" y="3266"/>
                  <a:pt x="13678" y="3265"/>
                  <a:pt x="13678" y="3263"/>
                </a:cubicBezTo>
                <a:cubicBezTo>
                  <a:pt x="13677" y="3264"/>
                  <a:pt x="13675" y="3263"/>
                  <a:pt x="13674" y="3263"/>
                </a:cubicBezTo>
                <a:cubicBezTo>
                  <a:pt x="13671" y="3251"/>
                  <a:pt x="13669" y="3241"/>
                  <a:pt x="13668" y="3226"/>
                </a:cubicBezTo>
                <a:cubicBezTo>
                  <a:pt x="13663" y="3213"/>
                  <a:pt x="13656" y="3211"/>
                  <a:pt x="13649" y="3209"/>
                </a:cubicBezTo>
                <a:cubicBezTo>
                  <a:pt x="13645" y="3225"/>
                  <a:pt x="13641" y="3241"/>
                  <a:pt x="13637" y="3256"/>
                </a:cubicBezTo>
                <a:cubicBezTo>
                  <a:pt x="13629" y="3254"/>
                  <a:pt x="13625" y="3238"/>
                  <a:pt x="13619" y="3236"/>
                </a:cubicBezTo>
                <a:cubicBezTo>
                  <a:pt x="13612" y="3245"/>
                  <a:pt x="13605" y="3254"/>
                  <a:pt x="13598" y="3263"/>
                </a:cubicBezTo>
                <a:cubicBezTo>
                  <a:pt x="13598" y="3263"/>
                  <a:pt x="13587" y="3260"/>
                  <a:pt x="13580" y="3259"/>
                </a:cubicBezTo>
                <a:cubicBezTo>
                  <a:pt x="13581" y="3238"/>
                  <a:pt x="13582" y="3216"/>
                  <a:pt x="13583" y="3199"/>
                </a:cubicBezTo>
                <a:cubicBezTo>
                  <a:pt x="13558" y="3198"/>
                  <a:pt x="13547" y="3206"/>
                  <a:pt x="13539" y="3217"/>
                </a:cubicBezTo>
                <a:cubicBezTo>
                  <a:pt x="13521" y="3232"/>
                  <a:pt x="13521" y="3259"/>
                  <a:pt x="13512" y="3281"/>
                </a:cubicBezTo>
                <a:cubicBezTo>
                  <a:pt x="13508" y="3289"/>
                  <a:pt x="13503" y="3298"/>
                  <a:pt x="13491" y="3302"/>
                </a:cubicBezTo>
                <a:cubicBezTo>
                  <a:pt x="13490" y="3301"/>
                  <a:pt x="13488" y="3303"/>
                  <a:pt x="13487" y="3302"/>
                </a:cubicBezTo>
                <a:cubicBezTo>
                  <a:pt x="13485" y="3288"/>
                  <a:pt x="13479" y="3269"/>
                  <a:pt x="13477" y="3255"/>
                </a:cubicBezTo>
                <a:cubicBezTo>
                  <a:pt x="13447" y="3277"/>
                  <a:pt x="13419" y="3307"/>
                  <a:pt x="13390" y="3330"/>
                </a:cubicBezTo>
                <a:cubicBezTo>
                  <a:pt x="13341" y="3366"/>
                  <a:pt x="13295" y="3398"/>
                  <a:pt x="13250" y="3433"/>
                </a:cubicBezTo>
                <a:cubicBezTo>
                  <a:pt x="13239" y="3439"/>
                  <a:pt x="13225" y="3446"/>
                  <a:pt x="13213" y="3452"/>
                </a:cubicBezTo>
                <a:cubicBezTo>
                  <a:pt x="13213" y="3453"/>
                  <a:pt x="13213" y="3455"/>
                  <a:pt x="13213" y="3456"/>
                </a:cubicBezTo>
                <a:cubicBezTo>
                  <a:pt x="13211" y="3457"/>
                  <a:pt x="13209" y="3457"/>
                  <a:pt x="13208" y="3458"/>
                </a:cubicBezTo>
                <a:cubicBezTo>
                  <a:pt x="13189" y="3486"/>
                  <a:pt x="13195" y="3565"/>
                  <a:pt x="13178" y="3594"/>
                </a:cubicBezTo>
                <a:cubicBezTo>
                  <a:pt x="13168" y="3599"/>
                  <a:pt x="13159" y="3607"/>
                  <a:pt x="13148" y="3611"/>
                </a:cubicBezTo>
                <a:cubicBezTo>
                  <a:pt x="13074" y="3639"/>
                  <a:pt x="13051" y="3570"/>
                  <a:pt x="13007" y="3507"/>
                </a:cubicBezTo>
                <a:cubicBezTo>
                  <a:pt x="13011" y="3472"/>
                  <a:pt x="13024" y="3454"/>
                  <a:pt x="13040" y="3442"/>
                </a:cubicBezTo>
                <a:cubicBezTo>
                  <a:pt x="13061" y="3432"/>
                  <a:pt x="13087" y="3431"/>
                  <a:pt x="13112" y="3429"/>
                </a:cubicBezTo>
                <a:cubicBezTo>
                  <a:pt x="13111" y="3428"/>
                  <a:pt x="13111" y="3426"/>
                  <a:pt x="13110" y="3424"/>
                </a:cubicBezTo>
                <a:cubicBezTo>
                  <a:pt x="13113" y="3424"/>
                  <a:pt x="13115" y="3423"/>
                  <a:pt x="13118" y="3423"/>
                </a:cubicBezTo>
                <a:cubicBezTo>
                  <a:pt x="13106" y="3377"/>
                  <a:pt x="13081" y="3283"/>
                  <a:pt x="13051" y="3273"/>
                </a:cubicBezTo>
                <a:cubicBezTo>
                  <a:pt x="13030" y="3277"/>
                  <a:pt x="13012" y="3279"/>
                  <a:pt x="12991" y="3283"/>
                </a:cubicBezTo>
                <a:cubicBezTo>
                  <a:pt x="12973" y="3276"/>
                  <a:pt x="12960" y="3264"/>
                  <a:pt x="12942" y="3273"/>
                </a:cubicBezTo>
                <a:cubicBezTo>
                  <a:pt x="12942" y="3277"/>
                  <a:pt x="12943" y="3278"/>
                  <a:pt x="12943" y="3281"/>
                </a:cubicBezTo>
                <a:cubicBezTo>
                  <a:pt x="12940" y="3282"/>
                  <a:pt x="12938" y="3279"/>
                  <a:pt x="12935" y="3280"/>
                </a:cubicBezTo>
                <a:cubicBezTo>
                  <a:pt x="12931" y="3340"/>
                  <a:pt x="12968" y="3341"/>
                  <a:pt x="12960" y="3411"/>
                </a:cubicBezTo>
                <a:cubicBezTo>
                  <a:pt x="12949" y="3444"/>
                  <a:pt x="12941" y="3481"/>
                  <a:pt x="12930" y="3513"/>
                </a:cubicBezTo>
                <a:cubicBezTo>
                  <a:pt x="12937" y="3530"/>
                  <a:pt x="12946" y="3547"/>
                  <a:pt x="12960" y="3551"/>
                </a:cubicBezTo>
                <a:cubicBezTo>
                  <a:pt x="12977" y="3647"/>
                  <a:pt x="12968" y="3642"/>
                  <a:pt x="12955" y="3720"/>
                </a:cubicBezTo>
                <a:cubicBezTo>
                  <a:pt x="12953" y="3734"/>
                  <a:pt x="12952" y="3743"/>
                  <a:pt x="12950" y="3757"/>
                </a:cubicBezTo>
                <a:cubicBezTo>
                  <a:pt x="12916" y="3748"/>
                  <a:pt x="12878" y="3675"/>
                  <a:pt x="12830" y="3685"/>
                </a:cubicBezTo>
                <a:cubicBezTo>
                  <a:pt x="12829" y="3688"/>
                  <a:pt x="12827" y="3689"/>
                  <a:pt x="12827" y="3692"/>
                </a:cubicBezTo>
                <a:cubicBezTo>
                  <a:pt x="12825" y="3692"/>
                  <a:pt x="12824" y="3691"/>
                  <a:pt x="12823" y="3691"/>
                </a:cubicBezTo>
                <a:cubicBezTo>
                  <a:pt x="12817" y="3717"/>
                  <a:pt x="12807" y="3736"/>
                  <a:pt x="12795" y="3751"/>
                </a:cubicBezTo>
                <a:cubicBezTo>
                  <a:pt x="12772" y="3777"/>
                  <a:pt x="12745" y="3793"/>
                  <a:pt x="12721" y="3817"/>
                </a:cubicBezTo>
                <a:cubicBezTo>
                  <a:pt x="12706" y="3830"/>
                  <a:pt x="12692" y="3845"/>
                  <a:pt x="12682" y="3869"/>
                </a:cubicBezTo>
                <a:cubicBezTo>
                  <a:pt x="12683" y="3935"/>
                  <a:pt x="12732" y="3990"/>
                  <a:pt x="12714" y="4056"/>
                </a:cubicBezTo>
                <a:cubicBezTo>
                  <a:pt x="12707" y="4051"/>
                  <a:pt x="12700" y="4044"/>
                  <a:pt x="12694" y="4041"/>
                </a:cubicBezTo>
                <a:cubicBezTo>
                  <a:pt x="12678" y="4044"/>
                  <a:pt x="12663" y="4061"/>
                  <a:pt x="12642" y="4050"/>
                </a:cubicBezTo>
                <a:cubicBezTo>
                  <a:pt x="12595" y="4025"/>
                  <a:pt x="12549" y="3982"/>
                  <a:pt x="12512" y="3939"/>
                </a:cubicBezTo>
                <a:cubicBezTo>
                  <a:pt x="12500" y="3939"/>
                  <a:pt x="12495" y="3948"/>
                  <a:pt x="12492" y="3959"/>
                </a:cubicBezTo>
                <a:cubicBezTo>
                  <a:pt x="12486" y="3971"/>
                  <a:pt x="12483" y="3987"/>
                  <a:pt x="12475" y="4000"/>
                </a:cubicBezTo>
                <a:cubicBezTo>
                  <a:pt x="12476" y="4026"/>
                  <a:pt x="12501" y="4083"/>
                  <a:pt x="12515" y="4095"/>
                </a:cubicBezTo>
                <a:cubicBezTo>
                  <a:pt x="12528" y="4104"/>
                  <a:pt x="12544" y="4092"/>
                  <a:pt x="12556" y="4095"/>
                </a:cubicBezTo>
                <a:cubicBezTo>
                  <a:pt x="12570" y="4141"/>
                  <a:pt x="12567" y="4163"/>
                  <a:pt x="12557" y="4175"/>
                </a:cubicBezTo>
                <a:cubicBezTo>
                  <a:pt x="12543" y="4183"/>
                  <a:pt x="12523" y="4179"/>
                  <a:pt x="12506" y="4172"/>
                </a:cubicBezTo>
                <a:cubicBezTo>
                  <a:pt x="12491" y="4165"/>
                  <a:pt x="12472" y="4175"/>
                  <a:pt x="12461" y="4162"/>
                </a:cubicBezTo>
                <a:cubicBezTo>
                  <a:pt x="12455" y="4153"/>
                  <a:pt x="12448" y="4131"/>
                  <a:pt x="12445" y="4116"/>
                </a:cubicBezTo>
                <a:cubicBezTo>
                  <a:pt x="12429" y="4101"/>
                  <a:pt x="12399" y="4105"/>
                  <a:pt x="12380" y="4087"/>
                </a:cubicBezTo>
                <a:cubicBezTo>
                  <a:pt x="12371" y="4079"/>
                  <a:pt x="12336" y="3916"/>
                  <a:pt x="12335" y="3882"/>
                </a:cubicBezTo>
                <a:cubicBezTo>
                  <a:pt x="12361" y="3868"/>
                  <a:pt x="12370" y="3802"/>
                  <a:pt x="12350" y="3761"/>
                </a:cubicBezTo>
                <a:cubicBezTo>
                  <a:pt x="12336" y="3732"/>
                  <a:pt x="12302" y="3726"/>
                  <a:pt x="12284" y="3704"/>
                </a:cubicBezTo>
                <a:cubicBezTo>
                  <a:pt x="12255" y="3669"/>
                  <a:pt x="12230" y="3619"/>
                  <a:pt x="12205" y="3576"/>
                </a:cubicBezTo>
                <a:cubicBezTo>
                  <a:pt x="12245" y="3549"/>
                  <a:pt x="12255" y="3617"/>
                  <a:pt x="12273" y="3636"/>
                </a:cubicBezTo>
                <a:cubicBezTo>
                  <a:pt x="12288" y="3640"/>
                  <a:pt x="12303" y="3641"/>
                  <a:pt x="12318" y="3645"/>
                </a:cubicBezTo>
                <a:cubicBezTo>
                  <a:pt x="12416" y="3699"/>
                  <a:pt x="12565" y="3827"/>
                  <a:pt x="12678" y="3740"/>
                </a:cubicBezTo>
                <a:cubicBezTo>
                  <a:pt x="12694" y="3729"/>
                  <a:pt x="12709" y="3715"/>
                  <a:pt x="12724" y="3695"/>
                </a:cubicBezTo>
                <a:cubicBezTo>
                  <a:pt x="12748" y="3661"/>
                  <a:pt x="12776" y="3628"/>
                  <a:pt x="12775" y="3554"/>
                </a:cubicBezTo>
                <a:cubicBezTo>
                  <a:pt x="12760" y="3526"/>
                  <a:pt x="12758" y="3507"/>
                  <a:pt x="12759" y="3452"/>
                </a:cubicBezTo>
                <a:cubicBezTo>
                  <a:pt x="12739" y="3423"/>
                  <a:pt x="12714" y="3392"/>
                  <a:pt x="12689" y="3376"/>
                </a:cubicBezTo>
                <a:cubicBezTo>
                  <a:pt x="12661" y="3361"/>
                  <a:pt x="12631" y="3345"/>
                  <a:pt x="12603" y="3330"/>
                </a:cubicBezTo>
                <a:cubicBezTo>
                  <a:pt x="12577" y="3288"/>
                  <a:pt x="12553" y="3248"/>
                  <a:pt x="12526" y="3207"/>
                </a:cubicBezTo>
                <a:cubicBezTo>
                  <a:pt x="12512" y="3198"/>
                  <a:pt x="12496" y="3189"/>
                  <a:pt x="12481" y="3181"/>
                </a:cubicBezTo>
                <a:cubicBezTo>
                  <a:pt x="12458" y="3165"/>
                  <a:pt x="12434" y="3149"/>
                  <a:pt x="12410" y="3134"/>
                </a:cubicBezTo>
                <a:cubicBezTo>
                  <a:pt x="12371" y="3128"/>
                  <a:pt x="12334" y="3120"/>
                  <a:pt x="12294" y="3115"/>
                </a:cubicBezTo>
                <a:cubicBezTo>
                  <a:pt x="12293" y="3117"/>
                  <a:pt x="12291" y="3118"/>
                  <a:pt x="12290" y="3121"/>
                </a:cubicBezTo>
                <a:cubicBezTo>
                  <a:pt x="12289" y="3120"/>
                  <a:pt x="12289" y="3121"/>
                  <a:pt x="12288" y="3121"/>
                </a:cubicBezTo>
                <a:cubicBezTo>
                  <a:pt x="12283" y="3127"/>
                  <a:pt x="12279" y="3134"/>
                  <a:pt x="12274" y="3141"/>
                </a:cubicBezTo>
                <a:cubicBezTo>
                  <a:pt x="12273" y="3122"/>
                  <a:pt x="12270" y="3104"/>
                  <a:pt x="12269" y="3086"/>
                </a:cubicBezTo>
                <a:cubicBezTo>
                  <a:pt x="12229" y="3072"/>
                  <a:pt x="12194" y="3060"/>
                  <a:pt x="12193" y="2974"/>
                </a:cubicBezTo>
                <a:cubicBezTo>
                  <a:pt x="12191" y="2976"/>
                  <a:pt x="12189" y="2978"/>
                  <a:pt x="12188" y="2980"/>
                </a:cubicBezTo>
                <a:cubicBezTo>
                  <a:pt x="12175" y="2993"/>
                  <a:pt x="12163" y="3009"/>
                  <a:pt x="12151" y="3022"/>
                </a:cubicBezTo>
                <a:cubicBezTo>
                  <a:pt x="12141" y="3028"/>
                  <a:pt x="12130" y="3032"/>
                  <a:pt x="12123" y="3040"/>
                </a:cubicBezTo>
                <a:cubicBezTo>
                  <a:pt x="12098" y="3011"/>
                  <a:pt x="12074" y="3027"/>
                  <a:pt x="12042" y="3030"/>
                </a:cubicBezTo>
                <a:cubicBezTo>
                  <a:pt x="12028" y="2992"/>
                  <a:pt x="12002" y="2976"/>
                  <a:pt x="11985" y="2943"/>
                </a:cubicBezTo>
                <a:cubicBezTo>
                  <a:pt x="12024" y="2944"/>
                  <a:pt x="12061" y="2948"/>
                  <a:pt x="12088" y="2926"/>
                </a:cubicBezTo>
                <a:cubicBezTo>
                  <a:pt x="12097" y="2920"/>
                  <a:pt x="12106" y="2911"/>
                  <a:pt x="12112" y="2898"/>
                </a:cubicBezTo>
                <a:cubicBezTo>
                  <a:pt x="12112" y="2889"/>
                  <a:pt x="12108" y="2881"/>
                  <a:pt x="12108" y="2872"/>
                </a:cubicBezTo>
                <a:cubicBezTo>
                  <a:pt x="12102" y="2865"/>
                  <a:pt x="12099" y="2860"/>
                  <a:pt x="12093" y="2853"/>
                </a:cubicBezTo>
                <a:cubicBezTo>
                  <a:pt x="12079" y="2844"/>
                  <a:pt x="12058" y="2852"/>
                  <a:pt x="12047" y="2843"/>
                </a:cubicBezTo>
                <a:cubicBezTo>
                  <a:pt x="12024" y="2825"/>
                  <a:pt x="12013" y="2792"/>
                  <a:pt x="11987" y="2777"/>
                </a:cubicBezTo>
                <a:cubicBezTo>
                  <a:pt x="11985" y="2779"/>
                  <a:pt x="11984" y="2783"/>
                  <a:pt x="11983" y="2785"/>
                </a:cubicBezTo>
                <a:cubicBezTo>
                  <a:pt x="11982" y="2785"/>
                  <a:pt x="11981" y="2784"/>
                  <a:pt x="11980" y="2783"/>
                </a:cubicBezTo>
                <a:cubicBezTo>
                  <a:pt x="11966" y="2807"/>
                  <a:pt x="11951" y="2845"/>
                  <a:pt x="11946" y="2888"/>
                </a:cubicBezTo>
                <a:cubicBezTo>
                  <a:pt x="11940" y="2885"/>
                  <a:pt x="11933" y="2883"/>
                  <a:pt x="11926" y="2880"/>
                </a:cubicBezTo>
                <a:cubicBezTo>
                  <a:pt x="11935" y="2828"/>
                  <a:pt x="11936" y="2799"/>
                  <a:pt x="11951" y="2759"/>
                </a:cubicBezTo>
                <a:cubicBezTo>
                  <a:pt x="11945" y="2746"/>
                  <a:pt x="11937" y="2743"/>
                  <a:pt x="11928" y="2746"/>
                </a:cubicBezTo>
                <a:cubicBezTo>
                  <a:pt x="11919" y="2748"/>
                  <a:pt x="11909" y="2756"/>
                  <a:pt x="11900" y="2759"/>
                </a:cubicBezTo>
                <a:cubicBezTo>
                  <a:pt x="11900" y="2761"/>
                  <a:pt x="11899" y="2761"/>
                  <a:pt x="11899" y="2763"/>
                </a:cubicBezTo>
                <a:cubicBezTo>
                  <a:pt x="11898" y="2763"/>
                  <a:pt x="11896" y="2765"/>
                  <a:pt x="11895" y="2765"/>
                </a:cubicBezTo>
                <a:cubicBezTo>
                  <a:pt x="11886" y="2818"/>
                  <a:pt x="11869" y="2853"/>
                  <a:pt x="11845" y="2878"/>
                </a:cubicBezTo>
                <a:cubicBezTo>
                  <a:pt x="11845" y="2841"/>
                  <a:pt x="11846" y="2804"/>
                  <a:pt x="11845" y="2767"/>
                </a:cubicBezTo>
                <a:cubicBezTo>
                  <a:pt x="11843" y="2770"/>
                  <a:pt x="11841" y="2774"/>
                  <a:pt x="11839" y="2777"/>
                </a:cubicBezTo>
                <a:cubicBezTo>
                  <a:pt x="11839" y="2776"/>
                  <a:pt x="11839" y="2775"/>
                  <a:pt x="11839" y="2775"/>
                </a:cubicBezTo>
                <a:cubicBezTo>
                  <a:pt x="11810" y="2812"/>
                  <a:pt x="11771" y="2873"/>
                  <a:pt x="11756" y="2937"/>
                </a:cubicBezTo>
                <a:cubicBezTo>
                  <a:pt x="11754" y="2937"/>
                  <a:pt x="11752" y="2937"/>
                  <a:pt x="11749" y="2937"/>
                </a:cubicBezTo>
                <a:cubicBezTo>
                  <a:pt x="11749" y="2837"/>
                  <a:pt x="11772" y="2830"/>
                  <a:pt x="11794" y="2777"/>
                </a:cubicBezTo>
                <a:cubicBezTo>
                  <a:pt x="11761" y="2772"/>
                  <a:pt x="11744" y="2782"/>
                  <a:pt x="11729" y="2800"/>
                </a:cubicBezTo>
                <a:cubicBezTo>
                  <a:pt x="11716" y="2814"/>
                  <a:pt x="11704" y="2835"/>
                  <a:pt x="11690" y="2862"/>
                </a:cubicBezTo>
                <a:cubicBezTo>
                  <a:pt x="11682" y="2866"/>
                  <a:pt x="11671" y="2853"/>
                  <a:pt x="11663" y="2862"/>
                </a:cubicBezTo>
                <a:cubicBezTo>
                  <a:pt x="11662" y="2863"/>
                  <a:pt x="11662" y="2866"/>
                  <a:pt x="11661" y="2867"/>
                </a:cubicBezTo>
                <a:cubicBezTo>
                  <a:pt x="11660" y="2868"/>
                  <a:pt x="11659" y="2866"/>
                  <a:pt x="11657" y="2867"/>
                </a:cubicBezTo>
                <a:cubicBezTo>
                  <a:pt x="11643" y="2883"/>
                  <a:pt x="11630" y="2935"/>
                  <a:pt x="11624" y="2970"/>
                </a:cubicBezTo>
                <a:cubicBezTo>
                  <a:pt x="11596" y="2942"/>
                  <a:pt x="11579" y="2901"/>
                  <a:pt x="11563" y="2939"/>
                </a:cubicBezTo>
                <a:cubicBezTo>
                  <a:pt x="11557" y="2947"/>
                  <a:pt x="11550" y="2967"/>
                  <a:pt x="11543" y="3005"/>
                </a:cubicBezTo>
                <a:cubicBezTo>
                  <a:pt x="11535" y="2992"/>
                  <a:pt x="11525" y="2977"/>
                  <a:pt x="11517" y="2964"/>
                </a:cubicBezTo>
                <a:cubicBezTo>
                  <a:pt x="11515" y="2964"/>
                  <a:pt x="11514" y="2965"/>
                  <a:pt x="11512" y="2964"/>
                </a:cubicBezTo>
                <a:cubicBezTo>
                  <a:pt x="11511" y="2967"/>
                  <a:pt x="11510" y="2968"/>
                  <a:pt x="11510" y="2970"/>
                </a:cubicBezTo>
                <a:cubicBezTo>
                  <a:pt x="11508" y="2970"/>
                  <a:pt x="11506" y="2971"/>
                  <a:pt x="11505" y="2970"/>
                </a:cubicBezTo>
                <a:cubicBezTo>
                  <a:pt x="11500" y="2984"/>
                  <a:pt x="11497" y="2993"/>
                  <a:pt x="11492" y="3000"/>
                </a:cubicBezTo>
                <a:cubicBezTo>
                  <a:pt x="11487" y="3005"/>
                  <a:pt x="11481" y="3009"/>
                  <a:pt x="11471" y="3011"/>
                </a:cubicBezTo>
                <a:cubicBezTo>
                  <a:pt x="11471" y="3013"/>
                  <a:pt x="11471" y="3014"/>
                  <a:pt x="11471" y="3015"/>
                </a:cubicBezTo>
                <a:cubicBezTo>
                  <a:pt x="11468" y="3016"/>
                  <a:pt x="11468" y="3017"/>
                  <a:pt x="11465" y="3017"/>
                </a:cubicBezTo>
                <a:cubicBezTo>
                  <a:pt x="11460" y="3051"/>
                  <a:pt x="11450" y="3076"/>
                  <a:pt x="11438" y="3097"/>
                </a:cubicBezTo>
                <a:cubicBezTo>
                  <a:pt x="11440" y="3073"/>
                  <a:pt x="11441" y="3050"/>
                  <a:pt x="11446" y="3030"/>
                </a:cubicBezTo>
                <a:cubicBezTo>
                  <a:pt x="11445" y="3026"/>
                  <a:pt x="11447" y="3025"/>
                  <a:pt x="11446" y="3021"/>
                </a:cubicBezTo>
                <a:cubicBezTo>
                  <a:pt x="11445" y="3019"/>
                  <a:pt x="11442" y="3013"/>
                  <a:pt x="11441" y="3011"/>
                </a:cubicBezTo>
                <a:cubicBezTo>
                  <a:pt x="11439" y="3013"/>
                  <a:pt x="11438" y="3019"/>
                  <a:pt x="11436" y="3021"/>
                </a:cubicBezTo>
                <a:cubicBezTo>
                  <a:pt x="11436" y="3019"/>
                  <a:pt x="11435" y="3018"/>
                  <a:pt x="11434" y="3017"/>
                </a:cubicBezTo>
                <a:cubicBezTo>
                  <a:pt x="11417" y="3034"/>
                  <a:pt x="11402" y="3103"/>
                  <a:pt x="11392" y="3140"/>
                </a:cubicBezTo>
                <a:cubicBezTo>
                  <a:pt x="11366" y="3132"/>
                  <a:pt x="11358" y="3106"/>
                  <a:pt x="11330" y="3124"/>
                </a:cubicBezTo>
                <a:cubicBezTo>
                  <a:pt x="11325" y="3116"/>
                  <a:pt x="11320" y="3104"/>
                  <a:pt x="11315" y="3095"/>
                </a:cubicBezTo>
                <a:cubicBezTo>
                  <a:pt x="11313" y="3104"/>
                  <a:pt x="11312" y="3101"/>
                  <a:pt x="11311" y="3107"/>
                </a:cubicBezTo>
                <a:cubicBezTo>
                  <a:pt x="11310" y="3106"/>
                  <a:pt x="11310" y="3103"/>
                  <a:pt x="11309" y="3101"/>
                </a:cubicBezTo>
                <a:cubicBezTo>
                  <a:pt x="11302" y="3149"/>
                  <a:pt x="11298" y="3161"/>
                  <a:pt x="11292" y="3165"/>
                </a:cubicBezTo>
                <a:cubicBezTo>
                  <a:pt x="11286" y="3167"/>
                  <a:pt x="11281" y="3166"/>
                  <a:pt x="11270" y="3181"/>
                </a:cubicBezTo>
                <a:cubicBezTo>
                  <a:pt x="11267" y="3183"/>
                  <a:pt x="11266" y="3181"/>
                  <a:pt x="11263" y="3185"/>
                </a:cubicBezTo>
                <a:cubicBezTo>
                  <a:pt x="11248" y="3205"/>
                  <a:pt x="11253" y="3237"/>
                  <a:pt x="11228" y="3251"/>
                </a:cubicBezTo>
                <a:cubicBezTo>
                  <a:pt x="11224" y="3260"/>
                  <a:pt x="11221" y="3272"/>
                  <a:pt x="11217" y="3280"/>
                </a:cubicBezTo>
                <a:cubicBezTo>
                  <a:pt x="11223" y="3289"/>
                  <a:pt x="11227" y="3290"/>
                  <a:pt x="11233" y="3298"/>
                </a:cubicBezTo>
                <a:cubicBezTo>
                  <a:pt x="11230" y="3306"/>
                  <a:pt x="11226" y="3309"/>
                  <a:pt x="11222" y="3313"/>
                </a:cubicBezTo>
                <a:cubicBezTo>
                  <a:pt x="11216" y="3314"/>
                  <a:pt x="11210" y="3314"/>
                  <a:pt x="11204" y="3312"/>
                </a:cubicBezTo>
                <a:cubicBezTo>
                  <a:pt x="11204" y="3314"/>
                  <a:pt x="11204" y="3316"/>
                  <a:pt x="11204" y="3318"/>
                </a:cubicBezTo>
                <a:cubicBezTo>
                  <a:pt x="11202" y="3317"/>
                  <a:pt x="11200" y="3318"/>
                  <a:pt x="11197" y="3318"/>
                </a:cubicBezTo>
                <a:cubicBezTo>
                  <a:pt x="11199" y="3336"/>
                  <a:pt x="11200" y="3354"/>
                  <a:pt x="11202" y="3373"/>
                </a:cubicBezTo>
                <a:cubicBezTo>
                  <a:pt x="11199" y="3382"/>
                  <a:pt x="11197" y="3394"/>
                  <a:pt x="11194" y="3404"/>
                </a:cubicBezTo>
                <a:cubicBezTo>
                  <a:pt x="11194" y="3404"/>
                  <a:pt x="11194" y="3404"/>
                  <a:pt x="11193" y="3404"/>
                </a:cubicBezTo>
                <a:cubicBezTo>
                  <a:pt x="11183" y="3393"/>
                  <a:pt x="11179" y="3387"/>
                  <a:pt x="11173" y="3367"/>
                </a:cubicBezTo>
                <a:cubicBezTo>
                  <a:pt x="11170" y="3367"/>
                  <a:pt x="11169" y="3372"/>
                  <a:pt x="11167" y="3374"/>
                </a:cubicBezTo>
                <a:cubicBezTo>
                  <a:pt x="11167" y="3373"/>
                  <a:pt x="11167" y="3373"/>
                  <a:pt x="11167" y="3373"/>
                </a:cubicBezTo>
                <a:cubicBezTo>
                  <a:pt x="11151" y="3375"/>
                  <a:pt x="11151" y="3410"/>
                  <a:pt x="11137" y="3420"/>
                </a:cubicBezTo>
                <a:cubicBezTo>
                  <a:pt x="11135" y="3430"/>
                  <a:pt x="11140" y="3440"/>
                  <a:pt x="11147" y="3448"/>
                </a:cubicBezTo>
                <a:cubicBezTo>
                  <a:pt x="11147" y="3453"/>
                  <a:pt x="11147" y="3462"/>
                  <a:pt x="11147" y="3468"/>
                </a:cubicBezTo>
                <a:cubicBezTo>
                  <a:pt x="11138" y="3473"/>
                  <a:pt x="11135" y="3479"/>
                  <a:pt x="11131" y="3488"/>
                </a:cubicBezTo>
                <a:cubicBezTo>
                  <a:pt x="11123" y="3483"/>
                  <a:pt x="11114" y="3472"/>
                  <a:pt x="11103" y="3470"/>
                </a:cubicBezTo>
                <a:cubicBezTo>
                  <a:pt x="11102" y="3472"/>
                  <a:pt x="11100" y="3475"/>
                  <a:pt x="11099" y="3477"/>
                </a:cubicBezTo>
                <a:cubicBezTo>
                  <a:pt x="11098" y="3477"/>
                  <a:pt x="11097" y="3476"/>
                  <a:pt x="11096" y="3476"/>
                </a:cubicBezTo>
                <a:cubicBezTo>
                  <a:pt x="11087" y="3490"/>
                  <a:pt x="11085" y="3516"/>
                  <a:pt x="11071" y="3523"/>
                </a:cubicBezTo>
                <a:cubicBezTo>
                  <a:pt x="11073" y="3538"/>
                  <a:pt x="11073" y="3536"/>
                  <a:pt x="11081" y="3541"/>
                </a:cubicBezTo>
                <a:cubicBezTo>
                  <a:pt x="11078" y="3554"/>
                  <a:pt x="11068" y="3562"/>
                  <a:pt x="11059" y="3570"/>
                </a:cubicBezTo>
                <a:cubicBezTo>
                  <a:pt x="11047" y="3578"/>
                  <a:pt x="11034" y="3584"/>
                  <a:pt x="11026" y="3591"/>
                </a:cubicBezTo>
                <a:cubicBezTo>
                  <a:pt x="11026" y="3592"/>
                  <a:pt x="11026" y="3594"/>
                  <a:pt x="11026" y="3595"/>
                </a:cubicBezTo>
                <a:cubicBezTo>
                  <a:pt x="11024" y="3596"/>
                  <a:pt x="11022" y="3597"/>
                  <a:pt x="11020" y="3599"/>
                </a:cubicBezTo>
                <a:cubicBezTo>
                  <a:pt x="11019" y="3600"/>
                  <a:pt x="11022" y="3605"/>
                  <a:pt x="11020" y="3607"/>
                </a:cubicBezTo>
                <a:cubicBezTo>
                  <a:pt x="11024" y="3620"/>
                  <a:pt x="11026" y="3629"/>
                  <a:pt x="11029" y="3641"/>
                </a:cubicBezTo>
                <a:cubicBezTo>
                  <a:pt x="11020" y="3644"/>
                  <a:pt x="11013" y="3649"/>
                  <a:pt x="11002" y="3648"/>
                </a:cubicBezTo>
                <a:cubicBezTo>
                  <a:pt x="11001" y="3650"/>
                  <a:pt x="11000" y="3651"/>
                  <a:pt x="11000" y="3653"/>
                </a:cubicBezTo>
                <a:cubicBezTo>
                  <a:pt x="10998" y="3653"/>
                  <a:pt x="10997" y="3654"/>
                  <a:pt x="10995" y="3654"/>
                </a:cubicBezTo>
                <a:cubicBezTo>
                  <a:pt x="10991" y="3667"/>
                  <a:pt x="10985" y="3677"/>
                  <a:pt x="10980" y="3691"/>
                </a:cubicBezTo>
                <a:cubicBezTo>
                  <a:pt x="10989" y="3710"/>
                  <a:pt x="10997" y="3721"/>
                  <a:pt x="11004" y="3744"/>
                </a:cubicBezTo>
                <a:cubicBezTo>
                  <a:pt x="10998" y="3746"/>
                  <a:pt x="10993" y="3749"/>
                  <a:pt x="10987" y="3751"/>
                </a:cubicBezTo>
                <a:cubicBezTo>
                  <a:pt x="10987" y="3752"/>
                  <a:pt x="10986" y="3754"/>
                  <a:pt x="10986" y="3755"/>
                </a:cubicBezTo>
                <a:cubicBezTo>
                  <a:pt x="10984" y="3755"/>
                  <a:pt x="10982" y="3757"/>
                  <a:pt x="10980" y="3757"/>
                </a:cubicBezTo>
                <a:cubicBezTo>
                  <a:pt x="10979" y="3773"/>
                  <a:pt x="10977" y="3791"/>
                  <a:pt x="10976" y="3808"/>
                </a:cubicBezTo>
                <a:cubicBezTo>
                  <a:pt x="10968" y="3806"/>
                  <a:pt x="10961" y="3808"/>
                  <a:pt x="10957" y="3814"/>
                </a:cubicBezTo>
                <a:cubicBezTo>
                  <a:pt x="10939" y="3822"/>
                  <a:pt x="10935" y="3862"/>
                  <a:pt x="10924" y="3898"/>
                </a:cubicBezTo>
                <a:cubicBezTo>
                  <a:pt x="10929" y="3900"/>
                  <a:pt x="10935" y="3895"/>
                  <a:pt x="10940" y="3898"/>
                </a:cubicBezTo>
                <a:cubicBezTo>
                  <a:pt x="10940" y="3914"/>
                  <a:pt x="10940" y="3932"/>
                  <a:pt x="10940" y="3948"/>
                </a:cubicBezTo>
                <a:cubicBezTo>
                  <a:pt x="10933" y="3949"/>
                  <a:pt x="10928" y="3952"/>
                  <a:pt x="10921" y="3948"/>
                </a:cubicBezTo>
                <a:cubicBezTo>
                  <a:pt x="10920" y="3950"/>
                  <a:pt x="10919" y="3952"/>
                  <a:pt x="10918" y="3954"/>
                </a:cubicBezTo>
                <a:cubicBezTo>
                  <a:pt x="10917" y="3954"/>
                  <a:pt x="10915" y="3955"/>
                  <a:pt x="10914" y="3954"/>
                </a:cubicBezTo>
                <a:cubicBezTo>
                  <a:pt x="10898" y="3984"/>
                  <a:pt x="10887" y="4018"/>
                  <a:pt x="10869" y="4047"/>
                </a:cubicBezTo>
                <a:cubicBezTo>
                  <a:pt x="10870" y="4054"/>
                  <a:pt x="10872" y="4065"/>
                  <a:pt x="10874" y="4073"/>
                </a:cubicBezTo>
                <a:cubicBezTo>
                  <a:pt x="10865" y="4081"/>
                  <a:pt x="10858" y="4074"/>
                  <a:pt x="10845" y="4069"/>
                </a:cubicBezTo>
                <a:cubicBezTo>
                  <a:pt x="10844" y="4071"/>
                  <a:pt x="10842" y="4075"/>
                  <a:pt x="10840" y="4077"/>
                </a:cubicBezTo>
                <a:cubicBezTo>
                  <a:pt x="10840" y="4076"/>
                  <a:pt x="10839" y="4076"/>
                  <a:pt x="10839" y="4075"/>
                </a:cubicBezTo>
                <a:cubicBezTo>
                  <a:pt x="10818" y="4094"/>
                  <a:pt x="10783" y="4149"/>
                  <a:pt x="10773" y="4187"/>
                </a:cubicBezTo>
                <a:cubicBezTo>
                  <a:pt x="10772" y="4201"/>
                  <a:pt x="10769" y="4212"/>
                  <a:pt x="10768" y="4226"/>
                </a:cubicBezTo>
                <a:cubicBezTo>
                  <a:pt x="10760" y="4252"/>
                  <a:pt x="10740" y="4259"/>
                  <a:pt x="10733" y="4292"/>
                </a:cubicBezTo>
                <a:cubicBezTo>
                  <a:pt x="10729" y="4287"/>
                  <a:pt x="10727" y="4280"/>
                  <a:pt x="10723" y="4275"/>
                </a:cubicBezTo>
                <a:cubicBezTo>
                  <a:pt x="10718" y="4268"/>
                  <a:pt x="10711" y="4273"/>
                  <a:pt x="10704" y="4282"/>
                </a:cubicBezTo>
                <a:cubicBezTo>
                  <a:pt x="10688" y="4294"/>
                  <a:pt x="10671" y="4343"/>
                  <a:pt x="10669" y="4377"/>
                </a:cubicBezTo>
                <a:cubicBezTo>
                  <a:pt x="10651" y="4364"/>
                  <a:pt x="10630" y="4359"/>
                  <a:pt x="10603" y="4359"/>
                </a:cubicBezTo>
                <a:cubicBezTo>
                  <a:pt x="10602" y="4361"/>
                  <a:pt x="10601" y="4363"/>
                  <a:pt x="10599" y="4366"/>
                </a:cubicBezTo>
                <a:cubicBezTo>
                  <a:pt x="10598" y="4366"/>
                  <a:pt x="10598" y="4365"/>
                  <a:pt x="10596" y="4365"/>
                </a:cubicBezTo>
                <a:cubicBezTo>
                  <a:pt x="10594" y="4369"/>
                  <a:pt x="10588" y="4380"/>
                  <a:pt x="10586" y="4384"/>
                </a:cubicBezTo>
                <a:cubicBezTo>
                  <a:pt x="10590" y="4411"/>
                  <a:pt x="10604" y="4424"/>
                  <a:pt x="10619" y="4430"/>
                </a:cubicBezTo>
                <a:cubicBezTo>
                  <a:pt x="10607" y="4440"/>
                  <a:pt x="10591" y="4428"/>
                  <a:pt x="10572" y="4425"/>
                </a:cubicBezTo>
                <a:cubicBezTo>
                  <a:pt x="10571" y="4429"/>
                  <a:pt x="10571" y="4430"/>
                  <a:pt x="10571" y="4433"/>
                </a:cubicBezTo>
                <a:cubicBezTo>
                  <a:pt x="10569" y="4433"/>
                  <a:pt x="10568" y="4431"/>
                  <a:pt x="10566" y="4431"/>
                </a:cubicBezTo>
                <a:cubicBezTo>
                  <a:pt x="10562" y="4460"/>
                  <a:pt x="10560" y="4470"/>
                  <a:pt x="10550" y="4480"/>
                </a:cubicBezTo>
                <a:cubicBezTo>
                  <a:pt x="10530" y="4468"/>
                  <a:pt x="10518" y="4496"/>
                  <a:pt x="10496" y="4509"/>
                </a:cubicBezTo>
                <a:cubicBezTo>
                  <a:pt x="10496" y="4509"/>
                  <a:pt x="10496" y="4510"/>
                  <a:pt x="10496" y="4510"/>
                </a:cubicBezTo>
                <a:cubicBezTo>
                  <a:pt x="10494" y="4512"/>
                  <a:pt x="10493" y="4514"/>
                  <a:pt x="10490" y="4515"/>
                </a:cubicBezTo>
                <a:cubicBezTo>
                  <a:pt x="10490" y="4522"/>
                  <a:pt x="10491" y="4537"/>
                  <a:pt x="10490" y="4544"/>
                </a:cubicBezTo>
                <a:cubicBezTo>
                  <a:pt x="10496" y="4558"/>
                  <a:pt x="10502" y="4562"/>
                  <a:pt x="10510" y="4572"/>
                </a:cubicBezTo>
                <a:cubicBezTo>
                  <a:pt x="10510" y="4573"/>
                  <a:pt x="10510" y="4574"/>
                  <a:pt x="10510" y="4575"/>
                </a:cubicBezTo>
                <a:cubicBezTo>
                  <a:pt x="10499" y="4575"/>
                  <a:pt x="10488" y="4574"/>
                  <a:pt x="10476" y="4575"/>
                </a:cubicBezTo>
                <a:cubicBezTo>
                  <a:pt x="10476" y="4577"/>
                  <a:pt x="10476" y="4579"/>
                  <a:pt x="10475" y="4581"/>
                </a:cubicBezTo>
                <a:cubicBezTo>
                  <a:pt x="10473" y="4581"/>
                  <a:pt x="10471" y="4581"/>
                  <a:pt x="10469" y="4581"/>
                </a:cubicBezTo>
                <a:cubicBezTo>
                  <a:pt x="10464" y="4611"/>
                  <a:pt x="10468" y="4642"/>
                  <a:pt x="10460" y="4665"/>
                </a:cubicBezTo>
                <a:cubicBezTo>
                  <a:pt x="10467" y="4684"/>
                  <a:pt x="10472" y="4703"/>
                  <a:pt x="10485" y="4712"/>
                </a:cubicBezTo>
                <a:cubicBezTo>
                  <a:pt x="10473" y="4731"/>
                  <a:pt x="10465" y="4745"/>
                  <a:pt x="10460" y="4778"/>
                </a:cubicBezTo>
                <a:cubicBezTo>
                  <a:pt x="10461" y="4782"/>
                  <a:pt x="10464" y="4782"/>
                  <a:pt x="10465" y="4787"/>
                </a:cubicBezTo>
                <a:cubicBezTo>
                  <a:pt x="10474" y="4798"/>
                  <a:pt x="10479" y="4795"/>
                  <a:pt x="10490" y="4787"/>
                </a:cubicBezTo>
                <a:cubicBezTo>
                  <a:pt x="10493" y="4792"/>
                  <a:pt x="10493" y="4799"/>
                  <a:pt x="10495" y="4805"/>
                </a:cubicBezTo>
                <a:cubicBezTo>
                  <a:pt x="10487" y="4818"/>
                  <a:pt x="10478" y="4837"/>
                  <a:pt x="10469" y="4853"/>
                </a:cubicBezTo>
                <a:cubicBezTo>
                  <a:pt x="10481" y="4884"/>
                  <a:pt x="10491" y="4866"/>
                  <a:pt x="10515" y="4871"/>
                </a:cubicBezTo>
                <a:cubicBezTo>
                  <a:pt x="10514" y="4893"/>
                  <a:pt x="10511" y="4912"/>
                  <a:pt x="10501" y="4919"/>
                </a:cubicBezTo>
                <a:cubicBezTo>
                  <a:pt x="10499" y="4923"/>
                  <a:pt x="10497" y="4923"/>
                  <a:pt x="10495" y="4927"/>
                </a:cubicBezTo>
                <a:cubicBezTo>
                  <a:pt x="10499" y="4932"/>
                  <a:pt x="10502" y="4940"/>
                  <a:pt x="10505" y="4945"/>
                </a:cubicBezTo>
                <a:cubicBezTo>
                  <a:pt x="10517" y="4945"/>
                  <a:pt x="10524" y="4936"/>
                  <a:pt x="10532" y="4929"/>
                </a:cubicBezTo>
                <a:cubicBezTo>
                  <a:pt x="10526" y="4938"/>
                  <a:pt x="10521" y="4948"/>
                  <a:pt x="10512" y="4949"/>
                </a:cubicBezTo>
                <a:cubicBezTo>
                  <a:pt x="10509" y="4950"/>
                  <a:pt x="10508" y="4955"/>
                  <a:pt x="10505" y="4955"/>
                </a:cubicBezTo>
                <a:cubicBezTo>
                  <a:pt x="10503" y="4953"/>
                  <a:pt x="10500" y="4953"/>
                  <a:pt x="10496" y="4949"/>
                </a:cubicBezTo>
                <a:cubicBezTo>
                  <a:pt x="10496" y="4951"/>
                  <a:pt x="10496" y="4955"/>
                  <a:pt x="10496" y="4958"/>
                </a:cubicBezTo>
                <a:cubicBezTo>
                  <a:pt x="10495" y="4957"/>
                  <a:pt x="10494" y="4958"/>
                  <a:pt x="10493" y="4957"/>
                </a:cubicBezTo>
                <a:cubicBezTo>
                  <a:pt x="10493" y="4954"/>
                  <a:pt x="10492" y="4952"/>
                  <a:pt x="10491" y="4949"/>
                </a:cubicBezTo>
                <a:cubicBezTo>
                  <a:pt x="10490" y="4952"/>
                  <a:pt x="10488" y="4954"/>
                  <a:pt x="10486" y="4957"/>
                </a:cubicBezTo>
                <a:cubicBezTo>
                  <a:pt x="10485" y="4956"/>
                  <a:pt x="10485" y="4956"/>
                  <a:pt x="10485" y="4955"/>
                </a:cubicBezTo>
                <a:cubicBezTo>
                  <a:pt x="10480" y="4965"/>
                  <a:pt x="10470" y="4973"/>
                  <a:pt x="10465" y="4984"/>
                </a:cubicBezTo>
                <a:cubicBezTo>
                  <a:pt x="10467" y="4996"/>
                  <a:pt x="10473" y="5009"/>
                  <a:pt x="10475" y="5021"/>
                </a:cubicBezTo>
                <a:cubicBezTo>
                  <a:pt x="10477" y="5023"/>
                  <a:pt x="10477" y="5028"/>
                  <a:pt x="10480" y="5030"/>
                </a:cubicBezTo>
                <a:cubicBezTo>
                  <a:pt x="10480" y="5026"/>
                  <a:pt x="10479" y="5016"/>
                  <a:pt x="10480" y="5011"/>
                </a:cubicBezTo>
                <a:cubicBezTo>
                  <a:pt x="10480" y="5012"/>
                  <a:pt x="10481" y="5014"/>
                  <a:pt x="10481" y="5015"/>
                </a:cubicBezTo>
                <a:cubicBezTo>
                  <a:pt x="10482" y="5020"/>
                  <a:pt x="10484" y="5027"/>
                  <a:pt x="10485" y="5030"/>
                </a:cubicBezTo>
                <a:cubicBezTo>
                  <a:pt x="10496" y="5030"/>
                  <a:pt x="10497" y="5025"/>
                  <a:pt x="10505" y="5021"/>
                </a:cubicBezTo>
                <a:cubicBezTo>
                  <a:pt x="10505" y="5020"/>
                  <a:pt x="10505" y="5019"/>
                  <a:pt x="10505" y="5018"/>
                </a:cubicBezTo>
                <a:cubicBezTo>
                  <a:pt x="10507" y="5017"/>
                  <a:pt x="10509" y="5016"/>
                  <a:pt x="10512" y="5015"/>
                </a:cubicBezTo>
                <a:cubicBezTo>
                  <a:pt x="10512" y="5013"/>
                  <a:pt x="10512" y="5011"/>
                  <a:pt x="10512" y="5010"/>
                </a:cubicBezTo>
                <a:cubicBezTo>
                  <a:pt x="10513" y="5008"/>
                  <a:pt x="10514" y="5005"/>
                  <a:pt x="10516" y="5003"/>
                </a:cubicBezTo>
                <a:cubicBezTo>
                  <a:pt x="10516" y="5004"/>
                  <a:pt x="10517" y="5004"/>
                  <a:pt x="10517" y="5005"/>
                </a:cubicBezTo>
                <a:cubicBezTo>
                  <a:pt x="10522" y="4998"/>
                  <a:pt x="10526" y="4991"/>
                  <a:pt x="10531" y="4985"/>
                </a:cubicBezTo>
                <a:cubicBezTo>
                  <a:pt x="10527" y="5000"/>
                  <a:pt x="10526" y="5009"/>
                  <a:pt x="10521" y="5021"/>
                </a:cubicBezTo>
                <a:cubicBezTo>
                  <a:pt x="10528" y="5029"/>
                  <a:pt x="10525" y="5023"/>
                  <a:pt x="10536" y="5021"/>
                </a:cubicBezTo>
                <a:cubicBezTo>
                  <a:pt x="10529" y="5029"/>
                  <a:pt x="10523" y="5036"/>
                  <a:pt x="10517" y="5042"/>
                </a:cubicBezTo>
                <a:cubicBezTo>
                  <a:pt x="10515" y="5045"/>
                  <a:pt x="10512" y="5047"/>
                  <a:pt x="10510" y="5050"/>
                </a:cubicBezTo>
                <a:cubicBezTo>
                  <a:pt x="10508" y="5061"/>
                  <a:pt x="10513" y="5055"/>
                  <a:pt x="10515" y="5068"/>
                </a:cubicBezTo>
                <a:cubicBezTo>
                  <a:pt x="10525" y="5081"/>
                  <a:pt x="10520" y="5079"/>
                  <a:pt x="10536" y="5077"/>
                </a:cubicBezTo>
                <a:cubicBezTo>
                  <a:pt x="10531" y="5080"/>
                  <a:pt x="10531" y="5085"/>
                  <a:pt x="10530" y="5089"/>
                </a:cubicBezTo>
                <a:cubicBezTo>
                  <a:pt x="10525" y="5083"/>
                  <a:pt x="10520" y="5079"/>
                  <a:pt x="10517" y="5089"/>
                </a:cubicBezTo>
                <a:cubicBezTo>
                  <a:pt x="10516" y="5090"/>
                  <a:pt x="10515" y="5092"/>
                  <a:pt x="10514" y="5094"/>
                </a:cubicBezTo>
                <a:cubicBezTo>
                  <a:pt x="10513" y="5095"/>
                  <a:pt x="10512" y="5094"/>
                  <a:pt x="10512" y="5095"/>
                </a:cubicBezTo>
                <a:cubicBezTo>
                  <a:pt x="10511" y="5087"/>
                  <a:pt x="10512" y="5077"/>
                  <a:pt x="10512" y="5070"/>
                </a:cubicBezTo>
                <a:cubicBezTo>
                  <a:pt x="10508" y="5069"/>
                  <a:pt x="10500" y="5071"/>
                  <a:pt x="10496" y="5070"/>
                </a:cubicBezTo>
                <a:cubicBezTo>
                  <a:pt x="10496" y="5073"/>
                  <a:pt x="10495" y="5075"/>
                  <a:pt x="10495" y="5077"/>
                </a:cubicBezTo>
                <a:cubicBezTo>
                  <a:pt x="10493" y="5077"/>
                  <a:pt x="10491" y="5078"/>
                  <a:pt x="10490" y="5077"/>
                </a:cubicBezTo>
                <a:cubicBezTo>
                  <a:pt x="10493" y="5098"/>
                  <a:pt x="10490" y="5106"/>
                  <a:pt x="10485" y="5123"/>
                </a:cubicBezTo>
                <a:cubicBezTo>
                  <a:pt x="10489" y="5138"/>
                  <a:pt x="10497" y="5156"/>
                  <a:pt x="10501" y="5171"/>
                </a:cubicBezTo>
                <a:cubicBezTo>
                  <a:pt x="10527" y="5185"/>
                  <a:pt x="10541" y="5205"/>
                  <a:pt x="10565" y="5217"/>
                </a:cubicBezTo>
                <a:cubicBezTo>
                  <a:pt x="10564" y="5217"/>
                  <a:pt x="10564" y="5219"/>
                  <a:pt x="10563" y="5220"/>
                </a:cubicBezTo>
                <a:cubicBezTo>
                  <a:pt x="10560" y="5222"/>
                  <a:pt x="10558" y="5224"/>
                  <a:pt x="10556" y="5227"/>
                </a:cubicBezTo>
                <a:cubicBezTo>
                  <a:pt x="10558" y="5231"/>
                  <a:pt x="10563" y="5234"/>
                  <a:pt x="10566" y="5237"/>
                </a:cubicBezTo>
                <a:cubicBezTo>
                  <a:pt x="10568" y="5232"/>
                  <a:pt x="10568" y="5232"/>
                  <a:pt x="10571" y="5227"/>
                </a:cubicBezTo>
                <a:cubicBezTo>
                  <a:pt x="10571" y="5228"/>
                  <a:pt x="10571" y="5228"/>
                  <a:pt x="10572" y="5229"/>
                </a:cubicBezTo>
                <a:cubicBezTo>
                  <a:pt x="10577" y="5233"/>
                  <a:pt x="10579" y="5232"/>
                  <a:pt x="10581" y="5245"/>
                </a:cubicBezTo>
                <a:cubicBezTo>
                  <a:pt x="10596" y="5252"/>
                  <a:pt x="10647" y="5241"/>
                  <a:pt x="10662" y="5227"/>
                </a:cubicBezTo>
                <a:cubicBezTo>
                  <a:pt x="10663" y="5225"/>
                  <a:pt x="10665" y="5223"/>
                  <a:pt x="10666" y="5220"/>
                </a:cubicBezTo>
                <a:cubicBezTo>
                  <a:pt x="10667" y="5220"/>
                  <a:pt x="10668" y="5220"/>
                  <a:pt x="10668" y="5220"/>
                </a:cubicBezTo>
                <a:cubicBezTo>
                  <a:pt x="10691" y="5177"/>
                  <a:pt x="10719" y="5149"/>
                  <a:pt x="10744" y="5107"/>
                </a:cubicBezTo>
                <a:cubicBezTo>
                  <a:pt x="10750" y="5096"/>
                  <a:pt x="10753" y="5086"/>
                  <a:pt x="10760" y="5077"/>
                </a:cubicBezTo>
                <a:cubicBezTo>
                  <a:pt x="10768" y="5073"/>
                  <a:pt x="10778" y="5091"/>
                  <a:pt x="10788" y="5077"/>
                </a:cubicBezTo>
                <a:cubicBezTo>
                  <a:pt x="10790" y="5076"/>
                  <a:pt x="10790" y="5072"/>
                  <a:pt x="10791" y="5070"/>
                </a:cubicBezTo>
                <a:cubicBezTo>
                  <a:pt x="10792" y="5069"/>
                  <a:pt x="10793" y="5071"/>
                  <a:pt x="10794" y="5070"/>
                </a:cubicBezTo>
                <a:cubicBezTo>
                  <a:pt x="10808" y="5051"/>
                  <a:pt x="10813" y="5016"/>
                  <a:pt x="10814" y="4978"/>
                </a:cubicBezTo>
                <a:cubicBezTo>
                  <a:pt x="10816" y="4976"/>
                  <a:pt x="10817" y="4976"/>
                  <a:pt x="10818" y="4974"/>
                </a:cubicBezTo>
                <a:cubicBezTo>
                  <a:pt x="10821" y="4993"/>
                  <a:pt x="10818" y="4988"/>
                  <a:pt x="10813" y="5002"/>
                </a:cubicBezTo>
                <a:cubicBezTo>
                  <a:pt x="10824" y="5031"/>
                  <a:pt x="10825" y="5068"/>
                  <a:pt x="10849" y="5050"/>
                </a:cubicBezTo>
                <a:cubicBezTo>
                  <a:pt x="10849" y="5051"/>
                  <a:pt x="10853" y="5049"/>
                  <a:pt x="10854" y="5050"/>
                </a:cubicBezTo>
                <a:cubicBezTo>
                  <a:pt x="10855" y="5070"/>
                  <a:pt x="10846" y="5077"/>
                  <a:pt x="10843" y="5096"/>
                </a:cubicBezTo>
                <a:cubicBezTo>
                  <a:pt x="10855" y="5107"/>
                  <a:pt x="10859" y="5168"/>
                  <a:pt x="10859" y="5199"/>
                </a:cubicBezTo>
                <a:cubicBezTo>
                  <a:pt x="10861" y="5198"/>
                  <a:pt x="10863" y="5195"/>
                  <a:pt x="10865" y="5193"/>
                </a:cubicBezTo>
                <a:cubicBezTo>
                  <a:pt x="10867" y="5192"/>
                  <a:pt x="10868" y="5191"/>
                  <a:pt x="10869" y="5189"/>
                </a:cubicBezTo>
                <a:cubicBezTo>
                  <a:pt x="10870" y="5196"/>
                  <a:pt x="10874" y="5201"/>
                  <a:pt x="10874" y="5208"/>
                </a:cubicBezTo>
                <a:cubicBezTo>
                  <a:pt x="10885" y="5203"/>
                  <a:pt x="10880" y="5203"/>
                  <a:pt x="10889" y="5208"/>
                </a:cubicBezTo>
                <a:cubicBezTo>
                  <a:pt x="10890" y="5227"/>
                  <a:pt x="10883" y="5264"/>
                  <a:pt x="10879" y="5283"/>
                </a:cubicBezTo>
                <a:cubicBezTo>
                  <a:pt x="10889" y="5307"/>
                  <a:pt x="10900" y="5311"/>
                  <a:pt x="10899" y="5358"/>
                </a:cubicBezTo>
                <a:cubicBezTo>
                  <a:pt x="10903" y="5359"/>
                  <a:pt x="10906" y="5367"/>
                  <a:pt x="10909" y="5368"/>
                </a:cubicBezTo>
                <a:cubicBezTo>
                  <a:pt x="10920" y="5434"/>
                  <a:pt x="10940" y="5460"/>
                  <a:pt x="10960" y="5498"/>
                </a:cubicBezTo>
                <a:cubicBezTo>
                  <a:pt x="10959" y="5503"/>
                  <a:pt x="10960" y="5507"/>
                  <a:pt x="10960" y="5512"/>
                </a:cubicBezTo>
                <a:cubicBezTo>
                  <a:pt x="10957" y="5512"/>
                  <a:pt x="10953" y="5512"/>
                  <a:pt x="10950" y="5512"/>
                </a:cubicBezTo>
                <a:cubicBezTo>
                  <a:pt x="10950" y="5514"/>
                  <a:pt x="10951" y="5515"/>
                  <a:pt x="10952" y="5517"/>
                </a:cubicBezTo>
                <a:cubicBezTo>
                  <a:pt x="10949" y="5517"/>
                  <a:pt x="10946" y="5517"/>
                  <a:pt x="10944" y="5517"/>
                </a:cubicBezTo>
                <a:cubicBezTo>
                  <a:pt x="10945" y="5522"/>
                  <a:pt x="10948" y="5527"/>
                  <a:pt x="10949" y="5532"/>
                </a:cubicBezTo>
                <a:cubicBezTo>
                  <a:pt x="10946" y="5534"/>
                  <a:pt x="10943" y="5536"/>
                  <a:pt x="10940" y="5538"/>
                </a:cubicBezTo>
                <a:cubicBezTo>
                  <a:pt x="10940" y="5540"/>
                  <a:pt x="10941" y="5541"/>
                  <a:pt x="10941" y="5542"/>
                </a:cubicBezTo>
                <a:cubicBezTo>
                  <a:pt x="10939" y="5543"/>
                  <a:pt x="10937" y="5544"/>
                  <a:pt x="10935" y="5546"/>
                </a:cubicBezTo>
                <a:cubicBezTo>
                  <a:pt x="10944" y="5579"/>
                  <a:pt x="10955" y="5616"/>
                  <a:pt x="10970" y="5638"/>
                </a:cubicBezTo>
                <a:cubicBezTo>
                  <a:pt x="10967" y="5663"/>
                  <a:pt x="10963" y="5661"/>
                  <a:pt x="10960" y="5685"/>
                </a:cubicBezTo>
                <a:cubicBezTo>
                  <a:pt x="10993" y="5698"/>
                  <a:pt x="11014" y="5673"/>
                  <a:pt x="11041" y="5685"/>
                </a:cubicBezTo>
                <a:cubicBezTo>
                  <a:pt x="11043" y="5680"/>
                  <a:pt x="11043" y="5681"/>
                  <a:pt x="11045" y="5678"/>
                </a:cubicBezTo>
                <a:cubicBezTo>
                  <a:pt x="11046" y="5678"/>
                  <a:pt x="11046" y="5677"/>
                  <a:pt x="11047" y="5678"/>
                </a:cubicBezTo>
                <a:cubicBezTo>
                  <a:pt x="11049" y="5673"/>
                  <a:pt x="11050" y="5676"/>
                  <a:pt x="11052" y="5671"/>
                </a:cubicBezTo>
                <a:cubicBezTo>
                  <a:pt x="11060" y="5657"/>
                  <a:pt x="11057" y="5649"/>
                  <a:pt x="11052" y="5633"/>
                </a:cubicBezTo>
                <a:cubicBezTo>
                  <a:pt x="11056" y="5614"/>
                  <a:pt x="11060" y="5597"/>
                  <a:pt x="11067" y="5585"/>
                </a:cubicBezTo>
                <a:cubicBezTo>
                  <a:pt x="11068" y="5586"/>
                  <a:pt x="11067" y="5588"/>
                  <a:pt x="11071" y="5591"/>
                </a:cubicBezTo>
                <a:cubicBezTo>
                  <a:pt x="11071" y="5588"/>
                  <a:pt x="11072" y="5583"/>
                  <a:pt x="11073" y="5578"/>
                </a:cubicBezTo>
                <a:cubicBezTo>
                  <a:pt x="11074" y="5579"/>
                  <a:pt x="11073" y="5582"/>
                  <a:pt x="11077" y="5585"/>
                </a:cubicBezTo>
                <a:cubicBezTo>
                  <a:pt x="11078" y="5580"/>
                  <a:pt x="11080" y="5570"/>
                  <a:pt x="11081" y="5562"/>
                </a:cubicBezTo>
                <a:cubicBezTo>
                  <a:pt x="11102" y="5562"/>
                  <a:pt x="11116" y="5562"/>
                  <a:pt x="11132" y="5555"/>
                </a:cubicBezTo>
                <a:cubicBezTo>
                  <a:pt x="11136" y="5562"/>
                  <a:pt x="11142" y="5567"/>
                  <a:pt x="11147" y="5573"/>
                </a:cubicBezTo>
                <a:cubicBezTo>
                  <a:pt x="11148" y="5570"/>
                  <a:pt x="11149" y="5566"/>
                  <a:pt x="11151" y="5562"/>
                </a:cubicBezTo>
                <a:cubicBezTo>
                  <a:pt x="11151" y="5564"/>
                  <a:pt x="11152" y="5565"/>
                  <a:pt x="11153" y="5566"/>
                </a:cubicBezTo>
                <a:cubicBezTo>
                  <a:pt x="11165" y="5525"/>
                  <a:pt x="11181" y="5486"/>
                  <a:pt x="11193" y="5445"/>
                </a:cubicBezTo>
                <a:cubicBezTo>
                  <a:pt x="11194" y="5428"/>
                  <a:pt x="11193" y="5405"/>
                  <a:pt x="11193" y="5388"/>
                </a:cubicBezTo>
                <a:cubicBezTo>
                  <a:pt x="11196" y="5365"/>
                  <a:pt x="11204" y="5360"/>
                  <a:pt x="11208" y="5343"/>
                </a:cubicBezTo>
                <a:cubicBezTo>
                  <a:pt x="11212" y="5332"/>
                  <a:pt x="11204" y="5312"/>
                  <a:pt x="11208" y="5295"/>
                </a:cubicBezTo>
                <a:cubicBezTo>
                  <a:pt x="11205" y="5292"/>
                  <a:pt x="11202" y="5289"/>
                  <a:pt x="11199" y="5286"/>
                </a:cubicBezTo>
                <a:cubicBezTo>
                  <a:pt x="11199" y="5278"/>
                  <a:pt x="11199" y="5271"/>
                  <a:pt x="11199" y="5263"/>
                </a:cubicBezTo>
                <a:cubicBezTo>
                  <a:pt x="11202" y="5263"/>
                  <a:pt x="11205" y="5263"/>
                  <a:pt x="11208" y="5263"/>
                </a:cubicBezTo>
                <a:cubicBezTo>
                  <a:pt x="11209" y="5262"/>
                  <a:pt x="11208" y="5259"/>
                  <a:pt x="11209" y="5257"/>
                </a:cubicBezTo>
                <a:cubicBezTo>
                  <a:pt x="11210" y="5257"/>
                  <a:pt x="11212" y="5257"/>
                  <a:pt x="11213" y="5257"/>
                </a:cubicBezTo>
                <a:cubicBezTo>
                  <a:pt x="11233" y="5230"/>
                  <a:pt x="11205" y="5161"/>
                  <a:pt x="11200" y="5132"/>
                </a:cubicBezTo>
                <a:cubicBezTo>
                  <a:pt x="11209" y="5132"/>
                  <a:pt x="11218" y="5133"/>
                  <a:pt x="11228" y="5132"/>
                </a:cubicBezTo>
                <a:cubicBezTo>
                  <a:pt x="11228" y="5129"/>
                  <a:pt x="11230" y="5128"/>
                  <a:pt x="11231" y="5126"/>
                </a:cubicBezTo>
                <a:cubicBezTo>
                  <a:pt x="11232" y="5126"/>
                  <a:pt x="11233" y="5127"/>
                  <a:pt x="11234" y="5126"/>
                </a:cubicBezTo>
                <a:cubicBezTo>
                  <a:pt x="11234" y="5124"/>
                  <a:pt x="11236" y="5123"/>
                  <a:pt x="11237" y="5122"/>
                </a:cubicBezTo>
                <a:cubicBezTo>
                  <a:pt x="11246" y="5123"/>
                  <a:pt x="11252" y="5120"/>
                  <a:pt x="11255" y="5113"/>
                </a:cubicBezTo>
                <a:cubicBezTo>
                  <a:pt x="11266" y="5104"/>
                  <a:pt x="11269" y="5083"/>
                  <a:pt x="11273" y="5064"/>
                </a:cubicBezTo>
                <a:cubicBezTo>
                  <a:pt x="11273" y="5075"/>
                  <a:pt x="11273" y="5088"/>
                  <a:pt x="11273" y="5096"/>
                </a:cubicBezTo>
                <a:cubicBezTo>
                  <a:pt x="11279" y="5098"/>
                  <a:pt x="11284" y="5097"/>
                  <a:pt x="11288" y="5096"/>
                </a:cubicBezTo>
                <a:cubicBezTo>
                  <a:pt x="11288" y="5093"/>
                  <a:pt x="11289" y="5092"/>
                  <a:pt x="11290" y="5089"/>
                </a:cubicBezTo>
                <a:cubicBezTo>
                  <a:pt x="11291" y="5089"/>
                  <a:pt x="11293" y="5090"/>
                  <a:pt x="11294" y="5089"/>
                </a:cubicBezTo>
                <a:cubicBezTo>
                  <a:pt x="11296" y="5076"/>
                  <a:pt x="11299" y="5066"/>
                  <a:pt x="11303" y="5059"/>
                </a:cubicBezTo>
                <a:cubicBezTo>
                  <a:pt x="11306" y="5055"/>
                  <a:pt x="11310" y="5052"/>
                  <a:pt x="11314" y="5050"/>
                </a:cubicBezTo>
                <a:cubicBezTo>
                  <a:pt x="11314" y="5049"/>
                  <a:pt x="11314" y="5049"/>
                  <a:pt x="11314" y="5048"/>
                </a:cubicBezTo>
                <a:cubicBezTo>
                  <a:pt x="11316" y="5047"/>
                  <a:pt x="11317" y="5044"/>
                  <a:pt x="11320" y="5042"/>
                </a:cubicBezTo>
                <a:cubicBezTo>
                  <a:pt x="11319" y="5036"/>
                  <a:pt x="11317" y="5028"/>
                  <a:pt x="11316" y="5021"/>
                </a:cubicBezTo>
                <a:cubicBezTo>
                  <a:pt x="11320" y="5021"/>
                  <a:pt x="11324" y="5021"/>
                  <a:pt x="11328" y="5021"/>
                </a:cubicBezTo>
                <a:cubicBezTo>
                  <a:pt x="11328" y="5019"/>
                  <a:pt x="11327" y="5017"/>
                  <a:pt x="11327" y="5015"/>
                </a:cubicBezTo>
                <a:cubicBezTo>
                  <a:pt x="11330" y="5015"/>
                  <a:pt x="11333" y="5015"/>
                  <a:pt x="11335" y="5015"/>
                </a:cubicBezTo>
                <a:cubicBezTo>
                  <a:pt x="11335" y="5010"/>
                  <a:pt x="11331" y="5000"/>
                  <a:pt x="11330" y="4996"/>
                </a:cubicBezTo>
                <a:cubicBezTo>
                  <a:pt x="11328" y="4996"/>
                  <a:pt x="11327" y="4996"/>
                  <a:pt x="11325" y="4996"/>
                </a:cubicBezTo>
                <a:cubicBezTo>
                  <a:pt x="11325" y="5000"/>
                  <a:pt x="11325" y="5001"/>
                  <a:pt x="11325" y="5005"/>
                </a:cubicBezTo>
                <a:cubicBezTo>
                  <a:pt x="11325" y="5005"/>
                  <a:pt x="11325" y="5005"/>
                  <a:pt x="11324" y="5005"/>
                </a:cubicBezTo>
                <a:cubicBezTo>
                  <a:pt x="11324" y="5004"/>
                  <a:pt x="11323" y="5002"/>
                  <a:pt x="11323" y="5002"/>
                </a:cubicBezTo>
                <a:cubicBezTo>
                  <a:pt x="11321" y="5002"/>
                  <a:pt x="11321" y="5002"/>
                  <a:pt x="11318" y="5002"/>
                </a:cubicBezTo>
                <a:cubicBezTo>
                  <a:pt x="11318" y="5004"/>
                  <a:pt x="11318" y="5005"/>
                  <a:pt x="11318" y="5006"/>
                </a:cubicBezTo>
                <a:cubicBezTo>
                  <a:pt x="11300" y="5002"/>
                  <a:pt x="11285" y="5031"/>
                  <a:pt x="11265" y="5024"/>
                </a:cubicBezTo>
                <a:cubicBezTo>
                  <a:pt x="11241" y="5017"/>
                  <a:pt x="11228" y="4969"/>
                  <a:pt x="11199" y="4986"/>
                </a:cubicBezTo>
                <a:cubicBezTo>
                  <a:pt x="11199" y="4982"/>
                  <a:pt x="11201" y="4979"/>
                  <a:pt x="11202" y="4975"/>
                </a:cubicBezTo>
                <a:cubicBezTo>
                  <a:pt x="11214" y="4966"/>
                  <a:pt x="11260" y="4999"/>
                  <a:pt x="11273" y="5011"/>
                </a:cubicBezTo>
                <a:cubicBezTo>
                  <a:pt x="11279" y="5017"/>
                  <a:pt x="11288" y="5012"/>
                  <a:pt x="11297" y="5004"/>
                </a:cubicBezTo>
                <a:cubicBezTo>
                  <a:pt x="11316" y="4992"/>
                  <a:pt x="11339" y="4959"/>
                  <a:pt x="11346" y="4945"/>
                </a:cubicBezTo>
                <a:cubicBezTo>
                  <a:pt x="11349" y="4945"/>
                  <a:pt x="11350" y="4945"/>
                  <a:pt x="11353" y="4945"/>
                </a:cubicBezTo>
                <a:cubicBezTo>
                  <a:pt x="11353" y="4942"/>
                  <a:pt x="11352" y="4942"/>
                  <a:pt x="11352" y="4939"/>
                </a:cubicBezTo>
                <a:cubicBezTo>
                  <a:pt x="11355" y="4939"/>
                  <a:pt x="11357" y="4939"/>
                  <a:pt x="11360" y="4939"/>
                </a:cubicBezTo>
                <a:cubicBezTo>
                  <a:pt x="11360" y="4901"/>
                  <a:pt x="11350" y="4906"/>
                  <a:pt x="11345" y="4874"/>
                </a:cubicBezTo>
                <a:cubicBezTo>
                  <a:pt x="11318" y="4867"/>
                  <a:pt x="11304" y="4829"/>
                  <a:pt x="11294" y="4789"/>
                </a:cubicBezTo>
                <a:cubicBezTo>
                  <a:pt x="11289" y="4790"/>
                  <a:pt x="11280" y="4788"/>
                  <a:pt x="11274" y="4789"/>
                </a:cubicBezTo>
                <a:cubicBezTo>
                  <a:pt x="11266" y="4783"/>
                  <a:pt x="11265" y="4772"/>
                  <a:pt x="11249" y="4771"/>
                </a:cubicBezTo>
                <a:cubicBezTo>
                  <a:pt x="11249" y="4769"/>
                  <a:pt x="11244" y="4773"/>
                  <a:pt x="11244" y="4771"/>
                </a:cubicBezTo>
                <a:cubicBezTo>
                  <a:pt x="11254" y="4755"/>
                  <a:pt x="11235" y="4649"/>
                  <a:pt x="11239" y="4605"/>
                </a:cubicBezTo>
                <a:cubicBezTo>
                  <a:pt x="11242" y="4603"/>
                  <a:pt x="11245" y="4602"/>
                  <a:pt x="11248" y="4600"/>
                </a:cubicBezTo>
                <a:cubicBezTo>
                  <a:pt x="11248" y="4599"/>
                  <a:pt x="11248" y="4598"/>
                  <a:pt x="11248" y="4597"/>
                </a:cubicBezTo>
                <a:cubicBezTo>
                  <a:pt x="11250" y="4595"/>
                  <a:pt x="11252" y="4594"/>
                  <a:pt x="11254" y="4593"/>
                </a:cubicBezTo>
                <a:cubicBezTo>
                  <a:pt x="11265" y="4530"/>
                  <a:pt x="11256" y="4513"/>
                  <a:pt x="11251" y="4465"/>
                </a:cubicBezTo>
                <a:cubicBezTo>
                  <a:pt x="11257" y="4469"/>
                  <a:pt x="11262" y="4474"/>
                  <a:pt x="11268" y="4478"/>
                </a:cubicBezTo>
                <a:cubicBezTo>
                  <a:pt x="11269" y="4475"/>
                  <a:pt x="11270" y="4471"/>
                  <a:pt x="11272" y="4468"/>
                </a:cubicBezTo>
                <a:cubicBezTo>
                  <a:pt x="11273" y="4469"/>
                  <a:pt x="11273" y="4470"/>
                  <a:pt x="11274" y="4471"/>
                </a:cubicBezTo>
                <a:cubicBezTo>
                  <a:pt x="11279" y="4459"/>
                  <a:pt x="11285" y="4445"/>
                  <a:pt x="11289" y="4433"/>
                </a:cubicBezTo>
                <a:cubicBezTo>
                  <a:pt x="11292" y="4424"/>
                  <a:pt x="11291" y="4409"/>
                  <a:pt x="11289" y="4394"/>
                </a:cubicBezTo>
                <a:cubicBezTo>
                  <a:pt x="11296" y="4394"/>
                  <a:pt x="11302" y="4394"/>
                  <a:pt x="11309" y="4394"/>
                </a:cubicBezTo>
                <a:cubicBezTo>
                  <a:pt x="11310" y="4391"/>
                  <a:pt x="11311" y="4390"/>
                  <a:pt x="11312" y="4388"/>
                </a:cubicBezTo>
                <a:cubicBezTo>
                  <a:pt x="11313" y="4388"/>
                  <a:pt x="11314" y="4388"/>
                  <a:pt x="11315" y="4388"/>
                </a:cubicBezTo>
                <a:cubicBezTo>
                  <a:pt x="11332" y="4343"/>
                  <a:pt x="11342" y="4344"/>
                  <a:pt x="11365" y="4312"/>
                </a:cubicBezTo>
                <a:cubicBezTo>
                  <a:pt x="11374" y="4299"/>
                  <a:pt x="11378" y="4279"/>
                  <a:pt x="11386" y="4265"/>
                </a:cubicBezTo>
                <a:cubicBezTo>
                  <a:pt x="11391" y="4271"/>
                  <a:pt x="11395" y="4277"/>
                  <a:pt x="11399" y="4282"/>
                </a:cubicBezTo>
                <a:cubicBezTo>
                  <a:pt x="11402" y="4279"/>
                  <a:pt x="11404" y="4277"/>
                  <a:pt x="11406" y="4275"/>
                </a:cubicBezTo>
                <a:cubicBezTo>
                  <a:pt x="11428" y="4247"/>
                  <a:pt x="11450" y="4228"/>
                  <a:pt x="11471" y="4200"/>
                </a:cubicBezTo>
                <a:cubicBezTo>
                  <a:pt x="11487" y="4165"/>
                  <a:pt x="11484" y="4118"/>
                  <a:pt x="11507" y="4097"/>
                </a:cubicBezTo>
                <a:cubicBezTo>
                  <a:pt x="11508" y="4095"/>
                  <a:pt x="11511" y="4090"/>
                  <a:pt x="11512" y="4087"/>
                </a:cubicBezTo>
                <a:cubicBezTo>
                  <a:pt x="11505" y="4066"/>
                  <a:pt x="11492" y="4053"/>
                  <a:pt x="11486" y="4031"/>
                </a:cubicBezTo>
                <a:cubicBezTo>
                  <a:pt x="11485" y="4028"/>
                  <a:pt x="11482" y="4025"/>
                  <a:pt x="11481" y="4023"/>
                </a:cubicBezTo>
                <a:cubicBezTo>
                  <a:pt x="11493" y="4013"/>
                  <a:pt x="11511" y="3996"/>
                  <a:pt x="11517" y="3975"/>
                </a:cubicBezTo>
                <a:cubicBezTo>
                  <a:pt x="11522" y="3960"/>
                  <a:pt x="11512" y="3941"/>
                  <a:pt x="11507" y="3929"/>
                </a:cubicBezTo>
                <a:cubicBezTo>
                  <a:pt x="11514" y="3911"/>
                  <a:pt x="11519" y="3909"/>
                  <a:pt x="11524" y="3907"/>
                </a:cubicBezTo>
                <a:cubicBezTo>
                  <a:pt x="11529" y="3907"/>
                  <a:pt x="11534" y="3908"/>
                  <a:pt x="11541" y="3898"/>
                </a:cubicBezTo>
                <a:cubicBezTo>
                  <a:pt x="11541" y="3897"/>
                  <a:pt x="11542" y="3896"/>
                  <a:pt x="11542" y="3895"/>
                </a:cubicBezTo>
                <a:cubicBezTo>
                  <a:pt x="11544" y="3894"/>
                  <a:pt x="11545" y="3895"/>
                  <a:pt x="11547" y="3892"/>
                </a:cubicBezTo>
                <a:cubicBezTo>
                  <a:pt x="11565" y="3867"/>
                  <a:pt x="11569" y="3830"/>
                  <a:pt x="11588" y="3806"/>
                </a:cubicBezTo>
                <a:cubicBezTo>
                  <a:pt x="11598" y="3819"/>
                  <a:pt x="11606" y="3828"/>
                  <a:pt x="11617" y="3841"/>
                </a:cubicBezTo>
                <a:cubicBezTo>
                  <a:pt x="11621" y="3847"/>
                  <a:pt x="11664" y="3831"/>
                  <a:pt x="11682" y="3832"/>
                </a:cubicBezTo>
                <a:cubicBezTo>
                  <a:pt x="11699" y="3856"/>
                  <a:pt x="11712" y="3868"/>
                  <a:pt x="11743" y="3869"/>
                </a:cubicBezTo>
                <a:cubicBezTo>
                  <a:pt x="11745" y="3876"/>
                  <a:pt x="11746" y="3890"/>
                  <a:pt x="11748" y="3898"/>
                </a:cubicBezTo>
                <a:cubicBezTo>
                  <a:pt x="11751" y="3913"/>
                  <a:pt x="11746" y="3948"/>
                  <a:pt x="11743" y="3964"/>
                </a:cubicBezTo>
                <a:cubicBezTo>
                  <a:pt x="11747" y="3971"/>
                  <a:pt x="11750" y="3974"/>
                  <a:pt x="11753" y="3982"/>
                </a:cubicBezTo>
                <a:cubicBezTo>
                  <a:pt x="11755" y="3988"/>
                  <a:pt x="11756" y="3999"/>
                  <a:pt x="11757" y="4011"/>
                </a:cubicBezTo>
                <a:cubicBezTo>
                  <a:pt x="11749" y="4008"/>
                  <a:pt x="11740" y="4004"/>
                  <a:pt x="11734" y="4003"/>
                </a:cubicBezTo>
                <a:cubicBezTo>
                  <a:pt x="11733" y="4004"/>
                  <a:pt x="11731" y="4010"/>
                  <a:pt x="11730" y="4011"/>
                </a:cubicBezTo>
                <a:cubicBezTo>
                  <a:pt x="11729" y="4010"/>
                  <a:pt x="11728" y="4009"/>
                  <a:pt x="11727" y="4009"/>
                </a:cubicBezTo>
                <a:cubicBezTo>
                  <a:pt x="11706" y="4021"/>
                  <a:pt x="11616" y="4202"/>
                  <a:pt x="11598" y="4247"/>
                </a:cubicBezTo>
                <a:cubicBezTo>
                  <a:pt x="11598" y="4247"/>
                  <a:pt x="11598" y="4247"/>
                  <a:pt x="11598" y="4247"/>
                </a:cubicBezTo>
                <a:cubicBezTo>
                  <a:pt x="11595" y="4239"/>
                  <a:pt x="11590" y="4226"/>
                  <a:pt x="11587" y="4218"/>
                </a:cubicBezTo>
                <a:cubicBezTo>
                  <a:pt x="11585" y="4223"/>
                  <a:pt x="11586" y="4229"/>
                  <a:pt x="11584" y="4234"/>
                </a:cubicBezTo>
                <a:cubicBezTo>
                  <a:pt x="11583" y="4231"/>
                  <a:pt x="11582" y="4228"/>
                  <a:pt x="11581" y="4226"/>
                </a:cubicBezTo>
                <a:cubicBezTo>
                  <a:pt x="11563" y="4261"/>
                  <a:pt x="11574" y="4302"/>
                  <a:pt x="11550" y="4331"/>
                </a:cubicBezTo>
                <a:cubicBezTo>
                  <a:pt x="11538" y="4322"/>
                  <a:pt x="11529" y="4314"/>
                  <a:pt x="11517" y="4322"/>
                </a:cubicBezTo>
                <a:cubicBezTo>
                  <a:pt x="11517" y="4324"/>
                  <a:pt x="11518" y="4327"/>
                  <a:pt x="11518" y="4330"/>
                </a:cubicBezTo>
                <a:cubicBezTo>
                  <a:pt x="11515" y="4330"/>
                  <a:pt x="11513" y="4326"/>
                  <a:pt x="11510" y="4328"/>
                </a:cubicBezTo>
                <a:cubicBezTo>
                  <a:pt x="11511" y="4339"/>
                  <a:pt x="11515" y="4354"/>
                  <a:pt x="11515" y="4365"/>
                </a:cubicBezTo>
                <a:cubicBezTo>
                  <a:pt x="11500" y="4392"/>
                  <a:pt x="11487" y="4404"/>
                  <a:pt x="11480" y="4450"/>
                </a:cubicBezTo>
                <a:cubicBezTo>
                  <a:pt x="11486" y="4459"/>
                  <a:pt x="11494" y="4470"/>
                  <a:pt x="11500" y="4478"/>
                </a:cubicBezTo>
                <a:cubicBezTo>
                  <a:pt x="11500" y="4516"/>
                  <a:pt x="11497" y="4532"/>
                  <a:pt x="11495" y="4562"/>
                </a:cubicBezTo>
                <a:cubicBezTo>
                  <a:pt x="11502" y="4583"/>
                  <a:pt x="11508" y="4605"/>
                  <a:pt x="11515" y="4627"/>
                </a:cubicBezTo>
                <a:cubicBezTo>
                  <a:pt x="11514" y="4643"/>
                  <a:pt x="11512" y="4659"/>
                  <a:pt x="11510" y="4675"/>
                </a:cubicBezTo>
                <a:cubicBezTo>
                  <a:pt x="11503" y="4751"/>
                  <a:pt x="11511" y="4804"/>
                  <a:pt x="11541" y="4833"/>
                </a:cubicBezTo>
                <a:cubicBezTo>
                  <a:pt x="11554" y="4846"/>
                  <a:pt x="11555" y="4854"/>
                  <a:pt x="11571" y="4843"/>
                </a:cubicBezTo>
                <a:cubicBezTo>
                  <a:pt x="11571" y="4853"/>
                  <a:pt x="11572" y="4870"/>
                  <a:pt x="11571" y="4880"/>
                </a:cubicBezTo>
                <a:cubicBezTo>
                  <a:pt x="11583" y="4873"/>
                  <a:pt x="11589" y="4862"/>
                  <a:pt x="11606" y="4862"/>
                </a:cubicBezTo>
                <a:cubicBezTo>
                  <a:pt x="11604" y="4872"/>
                  <a:pt x="11603" y="4880"/>
                  <a:pt x="11601" y="4890"/>
                </a:cubicBezTo>
                <a:cubicBezTo>
                  <a:pt x="11606" y="4906"/>
                  <a:pt x="11607" y="4920"/>
                  <a:pt x="11617" y="4927"/>
                </a:cubicBezTo>
                <a:cubicBezTo>
                  <a:pt x="11631" y="4948"/>
                  <a:pt x="11658" y="4918"/>
                  <a:pt x="11667" y="4909"/>
                </a:cubicBezTo>
                <a:cubicBezTo>
                  <a:pt x="11667" y="4912"/>
                  <a:pt x="11667" y="4915"/>
                  <a:pt x="11667" y="4919"/>
                </a:cubicBezTo>
                <a:cubicBezTo>
                  <a:pt x="11681" y="4913"/>
                  <a:pt x="11685" y="4908"/>
                  <a:pt x="11697" y="4919"/>
                </a:cubicBezTo>
                <a:cubicBezTo>
                  <a:pt x="11706" y="4896"/>
                  <a:pt x="11716" y="4891"/>
                  <a:pt x="11733" y="4880"/>
                </a:cubicBezTo>
                <a:cubicBezTo>
                  <a:pt x="11733" y="4884"/>
                  <a:pt x="11732" y="4886"/>
                  <a:pt x="11733" y="4890"/>
                </a:cubicBezTo>
                <a:cubicBezTo>
                  <a:pt x="11739" y="4884"/>
                  <a:pt x="11747" y="4879"/>
                  <a:pt x="11755" y="4873"/>
                </a:cubicBezTo>
                <a:cubicBezTo>
                  <a:pt x="11761" y="4869"/>
                  <a:pt x="11765" y="4861"/>
                  <a:pt x="11769" y="4854"/>
                </a:cubicBezTo>
                <a:cubicBezTo>
                  <a:pt x="11775" y="4862"/>
                  <a:pt x="11783" y="4873"/>
                  <a:pt x="11788" y="4880"/>
                </a:cubicBezTo>
                <a:cubicBezTo>
                  <a:pt x="11789" y="4875"/>
                  <a:pt x="11791" y="4875"/>
                  <a:pt x="11793" y="4872"/>
                </a:cubicBezTo>
                <a:cubicBezTo>
                  <a:pt x="11793" y="4872"/>
                  <a:pt x="11794" y="4874"/>
                  <a:pt x="11794" y="4874"/>
                </a:cubicBezTo>
                <a:cubicBezTo>
                  <a:pt x="11796" y="4860"/>
                  <a:pt x="11802" y="4856"/>
                  <a:pt x="11808" y="4853"/>
                </a:cubicBezTo>
                <a:cubicBezTo>
                  <a:pt x="11813" y="4851"/>
                  <a:pt x="11819" y="4850"/>
                  <a:pt x="11824" y="4843"/>
                </a:cubicBezTo>
                <a:cubicBezTo>
                  <a:pt x="11824" y="4843"/>
                  <a:pt x="11824" y="4841"/>
                  <a:pt x="11825" y="4841"/>
                </a:cubicBezTo>
                <a:cubicBezTo>
                  <a:pt x="11826" y="4839"/>
                  <a:pt x="11828" y="4839"/>
                  <a:pt x="11830" y="4837"/>
                </a:cubicBezTo>
                <a:cubicBezTo>
                  <a:pt x="11832" y="4835"/>
                  <a:pt x="11832" y="4828"/>
                  <a:pt x="11834" y="4824"/>
                </a:cubicBezTo>
                <a:cubicBezTo>
                  <a:pt x="11841" y="4829"/>
                  <a:pt x="11846" y="4838"/>
                  <a:pt x="11854" y="4843"/>
                </a:cubicBezTo>
                <a:cubicBezTo>
                  <a:pt x="11855" y="4840"/>
                  <a:pt x="11858" y="4839"/>
                  <a:pt x="11860" y="4837"/>
                </a:cubicBezTo>
                <a:cubicBezTo>
                  <a:pt x="11864" y="4830"/>
                  <a:pt x="11869" y="4827"/>
                  <a:pt x="11874" y="4824"/>
                </a:cubicBezTo>
                <a:cubicBezTo>
                  <a:pt x="11878" y="4829"/>
                  <a:pt x="11885" y="4828"/>
                  <a:pt x="11889" y="4833"/>
                </a:cubicBezTo>
                <a:cubicBezTo>
                  <a:pt x="11891" y="4831"/>
                  <a:pt x="11894" y="4829"/>
                  <a:pt x="11895" y="4827"/>
                </a:cubicBezTo>
                <a:cubicBezTo>
                  <a:pt x="11900" y="4818"/>
                  <a:pt x="11910" y="4813"/>
                  <a:pt x="11919" y="4807"/>
                </a:cubicBezTo>
                <a:cubicBezTo>
                  <a:pt x="11931" y="4801"/>
                  <a:pt x="11944" y="4798"/>
                  <a:pt x="11955" y="4796"/>
                </a:cubicBezTo>
                <a:cubicBezTo>
                  <a:pt x="11954" y="4807"/>
                  <a:pt x="11956" y="4815"/>
                  <a:pt x="11955" y="4824"/>
                </a:cubicBezTo>
                <a:cubicBezTo>
                  <a:pt x="11987" y="4910"/>
                  <a:pt x="12029" y="4812"/>
                  <a:pt x="12061" y="4917"/>
                </a:cubicBezTo>
                <a:cubicBezTo>
                  <a:pt x="12059" y="4918"/>
                  <a:pt x="12058" y="4918"/>
                  <a:pt x="12057" y="4920"/>
                </a:cubicBezTo>
                <a:cubicBezTo>
                  <a:pt x="12037" y="4919"/>
                  <a:pt x="12030" y="4904"/>
                  <a:pt x="12012" y="4893"/>
                </a:cubicBezTo>
                <a:cubicBezTo>
                  <a:pt x="12003" y="4895"/>
                  <a:pt x="11998" y="4902"/>
                  <a:pt x="11993" y="4911"/>
                </a:cubicBezTo>
                <a:cubicBezTo>
                  <a:pt x="11987" y="4919"/>
                  <a:pt x="11982" y="4928"/>
                  <a:pt x="11978" y="4938"/>
                </a:cubicBezTo>
                <a:cubicBezTo>
                  <a:pt x="11970" y="4933"/>
                  <a:pt x="11965" y="4925"/>
                  <a:pt x="11956" y="4929"/>
                </a:cubicBezTo>
                <a:cubicBezTo>
                  <a:pt x="11953" y="4940"/>
                  <a:pt x="11955" y="4927"/>
                  <a:pt x="11956" y="4939"/>
                </a:cubicBezTo>
                <a:cubicBezTo>
                  <a:pt x="11954" y="4939"/>
                  <a:pt x="11952" y="4935"/>
                  <a:pt x="11950" y="4937"/>
                </a:cubicBezTo>
                <a:cubicBezTo>
                  <a:pt x="11948" y="4943"/>
                  <a:pt x="11949" y="4942"/>
                  <a:pt x="11950" y="4941"/>
                </a:cubicBezTo>
                <a:cubicBezTo>
                  <a:pt x="11947" y="4940"/>
                  <a:pt x="11945" y="4937"/>
                  <a:pt x="11941" y="4929"/>
                </a:cubicBezTo>
                <a:cubicBezTo>
                  <a:pt x="11939" y="4930"/>
                  <a:pt x="11937" y="4934"/>
                  <a:pt x="11934" y="4937"/>
                </a:cubicBezTo>
                <a:cubicBezTo>
                  <a:pt x="11933" y="4937"/>
                  <a:pt x="11932" y="4938"/>
                  <a:pt x="11931" y="4939"/>
                </a:cubicBezTo>
                <a:cubicBezTo>
                  <a:pt x="11931" y="4939"/>
                  <a:pt x="11931" y="4940"/>
                  <a:pt x="11931" y="4940"/>
                </a:cubicBezTo>
                <a:cubicBezTo>
                  <a:pt x="11929" y="4942"/>
                  <a:pt x="11927" y="4944"/>
                  <a:pt x="11925" y="4945"/>
                </a:cubicBezTo>
                <a:cubicBezTo>
                  <a:pt x="11924" y="4951"/>
                  <a:pt x="11921" y="4958"/>
                  <a:pt x="11920" y="4964"/>
                </a:cubicBezTo>
                <a:cubicBezTo>
                  <a:pt x="11925" y="4975"/>
                  <a:pt x="11927" y="4981"/>
                  <a:pt x="11930" y="4992"/>
                </a:cubicBezTo>
                <a:cubicBezTo>
                  <a:pt x="11927" y="4989"/>
                  <a:pt x="11918" y="5007"/>
                  <a:pt x="11910" y="5015"/>
                </a:cubicBezTo>
                <a:cubicBezTo>
                  <a:pt x="11875" y="5010"/>
                  <a:pt x="11849" y="4997"/>
                  <a:pt x="11815" y="4986"/>
                </a:cubicBezTo>
                <a:cubicBezTo>
                  <a:pt x="11798" y="4980"/>
                  <a:pt x="11778" y="4998"/>
                  <a:pt x="11770" y="4986"/>
                </a:cubicBezTo>
                <a:cubicBezTo>
                  <a:pt x="11766" y="4992"/>
                  <a:pt x="11763" y="4990"/>
                  <a:pt x="11759" y="4996"/>
                </a:cubicBezTo>
                <a:cubicBezTo>
                  <a:pt x="11748" y="4991"/>
                  <a:pt x="11739" y="4990"/>
                  <a:pt x="11729" y="4986"/>
                </a:cubicBezTo>
                <a:cubicBezTo>
                  <a:pt x="11728" y="4988"/>
                  <a:pt x="11727" y="4991"/>
                  <a:pt x="11727" y="4993"/>
                </a:cubicBezTo>
                <a:cubicBezTo>
                  <a:pt x="11725" y="4993"/>
                  <a:pt x="11724" y="4992"/>
                  <a:pt x="11723" y="4992"/>
                </a:cubicBezTo>
                <a:cubicBezTo>
                  <a:pt x="11722" y="4996"/>
                  <a:pt x="11721" y="5001"/>
                  <a:pt x="11720" y="5005"/>
                </a:cubicBezTo>
                <a:cubicBezTo>
                  <a:pt x="11714" y="5005"/>
                  <a:pt x="11710" y="5009"/>
                  <a:pt x="11703" y="5005"/>
                </a:cubicBezTo>
                <a:cubicBezTo>
                  <a:pt x="11694" y="5014"/>
                  <a:pt x="11687" y="5024"/>
                  <a:pt x="11677" y="5030"/>
                </a:cubicBezTo>
                <a:cubicBezTo>
                  <a:pt x="11677" y="5031"/>
                  <a:pt x="11677" y="5030"/>
                  <a:pt x="11677" y="5030"/>
                </a:cubicBezTo>
                <a:cubicBezTo>
                  <a:pt x="11668" y="5037"/>
                  <a:pt x="11658" y="5041"/>
                  <a:pt x="11643" y="5042"/>
                </a:cubicBezTo>
                <a:cubicBezTo>
                  <a:pt x="11643" y="5046"/>
                  <a:pt x="11641" y="5046"/>
                  <a:pt x="11641" y="5048"/>
                </a:cubicBezTo>
                <a:cubicBezTo>
                  <a:pt x="11639" y="5049"/>
                  <a:pt x="11639" y="5049"/>
                  <a:pt x="11637" y="5050"/>
                </a:cubicBezTo>
                <a:cubicBezTo>
                  <a:pt x="11638" y="5067"/>
                  <a:pt x="11635" y="5071"/>
                  <a:pt x="11626" y="5077"/>
                </a:cubicBezTo>
                <a:cubicBezTo>
                  <a:pt x="11631" y="5102"/>
                  <a:pt x="11632" y="5115"/>
                  <a:pt x="11637" y="5142"/>
                </a:cubicBezTo>
                <a:cubicBezTo>
                  <a:pt x="11642" y="5142"/>
                  <a:pt x="11647" y="5138"/>
                  <a:pt x="11652" y="5132"/>
                </a:cubicBezTo>
                <a:cubicBezTo>
                  <a:pt x="11652" y="5155"/>
                  <a:pt x="11653" y="5185"/>
                  <a:pt x="11652" y="5208"/>
                </a:cubicBezTo>
                <a:cubicBezTo>
                  <a:pt x="11665" y="5215"/>
                  <a:pt x="11668" y="5219"/>
                  <a:pt x="11677" y="5227"/>
                </a:cubicBezTo>
                <a:cubicBezTo>
                  <a:pt x="11678" y="5225"/>
                  <a:pt x="11680" y="5222"/>
                  <a:pt x="11681" y="5219"/>
                </a:cubicBezTo>
                <a:cubicBezTo>
                  <a:pt x="11682" y="5219"/>
                  <a:pt x="11683" y="5220"/>
                  <a:pt x="11683" y="5220"/>
                </a:cubicBezTo>
                <a:cubicBezTo>
                  <a:pt x="11687" y="5213"/>
                  <a:pt x="11691" y="5206"/>
                  <a:pt x="11694" y="5200"/>
                </a:cubicBezTo>
                <a:cubicBezTo>
                  <a:pt x="11697" y="5202"/>
                  <a:pt x="11700" y="5205"/>
                  <a:pt x="11702" y="5208"/>
                </a:cubicBezTo>
                <a:cubicBezTo>
                  <a:pt x="11698" y="5273"/>
                  <a:pt x="11681" y="5312"/>
                  <a:pt x="11692" y="5386"/>
                </a:cubicBezTo>
                <a:cubicBezTo>
                  <a:pt x="11689" y="5404"/>
                  <a:pt x="11678" y="5418"/>
                  <a:pt x="11666" y="5428"/>
                </a:cubicBezTo>
                <a:cubicBezTo>
                  <a:pt x="11653" y="5436"/>
                  <a:pt x="11638" y="5434"/>
                  <a:pt x="11628" y="5416"/>
                </a:cubicBezTo>
                <a:cubicBezTo>
                  <a:pt x="11624" y="5400"/>
                  <a:pt x="11621" y="5378"/>
                  <a:pt x="11618" y="5362"/>
                </a:cubicBezTo>
                <a:cubicBezTo>
                  <a:pt x="11608" y="5348"/>
                  <a:pt x="11597" y="5337"/>
                  <a:pt x="11587" y="5323"/>
                </a:cubicBezTo>
                <a:cubicBezTo>
                  <a:pt x="11587" y="5318"/>
                  <a:pt x="11587" y="5310"/>
                  <a:pt x="11587" y="5304"/>
                </a:cubicBezTo>
                <a:cubicBezTo>
                  <a:pt x="11563" y="5306"/>
                  <a:pt x="11556" y="5332"/>
                  <a:pt x="11532" y="5333"/>
                </a:cubicBezTo>
                <a:cubicBezTo>
                  <a:pt x="11531" y="5334"/>
                  <a:pt x="11530" y="5335"/>
                  <a:pt x="11530" y="5337"/>
                </a:cubicBezTo>
                <a:cubicBezTo>
                  <a:pt x="11528" y="5337"/>
                  <a:pt x="11527" y="5339"/>
                  <a:pt x="11525" y="5339"/>
                </a:cubicBezTo>
                <a:cubicBezTo>
                  <a:pt x="11518" y="5356"/>
                  <a:pt x="11507" y="5369"/>
                  <a:pt x="11500" y="5386"/>
                </a:cubicBezTo>
                <a:cubicBezTo>
                  <a:pt x="11499" y="5404"/>
                  <a:pt x="11500" y="5423"/>
                  <a:pt x="11500" y="5441"/>
                </a:cubicBezTo>
                <a:cubicBezTo>
                  <a:pt x="11493" y="5452"/>
                  <a:pt x="11487" y="5460"/>
                  <a:pt x="11480" y="5470"/>
                </a:cubicBezTo>
                <a:cubicBezTo>
                  <a:pt x="11466" y="5528"/>
                  <a:pt x="11488" y="5673"/>
                  <a:pt x="11495" y="5704"/>
                </a:cubicBezTo>
                <a:cubicBezTo>
                  <a:pt x="11493" y="5714"/>
                  <a:pt x="11492" y="5704"/>
                  <a:pt x="11495" y="5714"/>
                </a:cubicBezTo>
                <a:cubicBezTo>
                  <a:pt x="11492" y="5715"/>
                  <a:pt x="11492" y="5713"/>
                  <a:pt x="11490" y="5714"/>
                </a:cubicBezTo>
                <a:cubicBezTo>
                  <a:pt x="11492" y="5726"/>
                  <a:pt x="11491" y="5734"/>
                  <a:pt x="11490" y="5746"/>
                </a:cubicBezTo>
                <a:cubicBezTo>
                  <a:pt x="11472" y="5759"/>
                  <a:pt x="11443" y="5757"/>
                  <a:pt x="11421" y="5755"/>
                </a:cubicBezTo>
                <a:cubicBezTo>
                  <a:pt x="11421" y="5756"/>
                  <a:pt x="11420" y="5758"/>
                  <a:pt x="11420" y="5759"/>
                </a:cubicBezTo>
                <a:cubicBezTo>
                  <a:pt x="11418" y="5759"/>
                  <a:pt x="11416" y="5760"/>
                  <a:pt x="11414" y="5759"/>
                </a:cubicBezTo>
                <a:cubicBezTo>
                  <a:pt x="11411" y="5780"/>
                  <a:pt x="11410" y="5804"/>
                  <a:pt x="11409" y="5826"/>
                </a:cubicBezTo>
                <a:cubicBezTo>
                  <a:pt x="11398" y="5836"/>
                  <a:pt x="11388" y="5849"/>
                  <a:pt x="11377" y="5858"/>
                </a:cubicBezTo>
                <a:cubicBezTo>
                  <a:pt x="11364" y="5867"/>
                  <a:pt x="11350" y="5870"/>
                  <a:pt x="11330" y="5857"/>
                </a:cubicBezTo>
                <a:cubicBezTo>
                  <a:pt x="11328" y="5835"/>
                  <a:pt x="11325" y="5825"/>
                  <a:pt x="11320" y="5811"/>
                </a:cubicBezTo>
                <a:cubicBezTo>
                  <a:pt x="11321" y="5776"/>
                  <a:pt x="11274" y="5793"/>
                  <a:pt x="11259" y="5801"/>
                </a:cubicBezTo>
                <a:cubicBezTo>
                  <a:pt x="11196" y="5839"/>
                  <a:pt x="11149" y="5903"/>
                  <a:pt x="11072" y="5913"/>
                </a:cubicBezTo>
                <a:cubicBezTo>
                  <a:pt x="11072" y="5915"/>
                  <a:pt x="11072" y="5915"/>
                  <a:pt x="11072" y="5917"/>
                </a:cubicBezTo>
                <a:cubicBezTo>
                  <a:pt x="11070" y="5917"/>
                  <a:pt x="11068" y="5919"/>
                  <a:pt x="11066" y="5919"/>
                </a:cubicBezTo>
                <a:cubicBezTo>
                  <a:pt x="11066" y="5942"/>
                  <a:pt x="11066" y="5957"/>
                  <a:pt x="11066" y="5974"/>
                </a:cubicBezTo>
                <a:cubicBezTo>
                  <a:pt x="11052" y="5964"/>
                  <a:pt x="11039" y="5952"/>
                  <a:pt x="11026" y="5942"/>
                </a:cubicBezTo>
                <a:cubicBezTo>
                  <a:pt x="11025" y="5928"/>
                  <a:pt x="11027" y="5919"/>
                  <a:pt x="11026" y="5905"/>
                </a:cubicBezTo>
                <a:cubicBezTo>
                  <a:pt x="11009" y="5888"/>
                  <a:pt x="10987" y="5902"/>
                  <a:pt x="10976" y="5847"/>
                </a:cubicBezTo>
                <a:cubicBezTo>
                  <a:pt x="10969" y="5846"/>
                  <a:pt x="10943" y="5862"/>
                  <a:pt x="10917" y="5883"/>
                </a:cubicBezTo>
                <a:cubicBezTo>
                  <a:pt x="10898" y="5898"/>
                  <a:pt x="10884" y="5915"/>
                  <a:pt x="10876" y="5930"/>
                </a:cubicBezTo>
                <a:cubicBezTo>
                  <a:pt x="10876" y="5931"/>
                  <a:pt x="10875" y="5932"/>
                  <a:pt x="10874" y="5932"/>
                </a:cubicBezTo>
                <a:cubicBezTo>
                  <a:pt x="10869" y="5932"/>
                  <a:pt x="10865" y="5932"/>
                  <a:pt x="10860" y="5932"/>
                </a:cubicBezTo>
                <a:cubicBezTo>
                  <a:pt x="10859" y="5927"/>
                  <a:pt x="10861" y="5918"/>
                  <a:pt x="10860" y="5913"/>
                </a:cubicBezTo>
                <a:cubicBezTo>
                  <a:pt x="10851" y="5922"/>
                  <a:pt x="10842" y="5927"/>
                  <a:pt x="10835" y="5923"/>
                </a:cubicBezTo>
                <a:cubicBezTo>
                  <a:pt x="10834" y="5920"/>
                  <a:pt x="10836" y="5916"/>
                  <a:pt x="10835" y="5913"/>
                </a:cubicBezTo>
                <a:cubicBezTo>
                  <a:pt x="10845" y="5898"/>
                  <a:pt x="10849" y="5896"/>
                  <a:pt x="10856" y="5875"/>
                </a:cubicBezTo>
                <a:cubicBezTo>
                  <a:pt x="10854" y="5869"/>
                  <a:pt x="10852" y="5862"/>
                  <a:pt x="10851" y="5857"/>
                </a:cubicBezTo>
                <a:cubicBezTo>
                  <a:pt x="10840" y="5858"/>
                  <a:pt x="10830" y="5855"/>
                  <a:pt x="10819" y="5857"/>
                </a:cubicBezTo>
                <a:cubicBezTo>
                  <a:pt x="10807" y="5851"/>
                  <a:pt x="10806" y="5836"/>
                  <a:pt x="10794" y="5847"/>
                </a:cubicBezTo>
                <a:cubicBezTo>
                  <a:pt x="10791" y="5830"/>
                  <a:pt x="10789" y="5837"/>
                  <a:pt x="10779" y="5838"/>
                </a:cubicBezTo>
                <a:cubicBezTo>
                  <a:pt x="10791" y="5799"/>
                  <a:pt x="10765" y="5765"/>
                  <a:pt x="10749" y="5755"/>
                </a:cubicBezTo>
                <a:cubicBezTo>
                  <a:pt x="10752" y="5717"/>
                  <a:pt x="10758" y="5682"/>
                  <a:pt x="10770" y="5661"/>
                </a:cubicBezTo>
                <a:cubicBezTo>
                  <a:pt x="10769" y="5658"/>
                  <a:pt x="10767" y="5653"/>
                  <a:pt x="10766" y="5648"/>
                </a:cubicBezTo>
                <a:cubicBezTo>
                  <a:pt x="10770" y="5648"/>
                  <a:pt x="10774" y="5648"/>
                  <a:pt x="10778" y="5648"/>
                </a:cubicBezTo>
                <a:cubicBezTo>
                  <a:pt x="10778" y="5645"/>
                  <a:pt x="10779" y="5645"/>
                  <a:pt x="10780" y="5643"/>
                </a:cubicBezTo>
                <a:cubicBezTo>
                  <a:pt x="10781" y="5643"/>
                  <a:pt x="10783" y="5643"/>
                  <a:pt x="10784" y="5643"/>
                </a:cubicBezTo>
                <a:cubicBezTo>
                  <a:pt x="10789" y="5610"/>
                  <a:pt x="10808" y="5605"/>
                  <a:pt x="10799" y="5566"/>
                </a:cubicBezTo>
                <a:cubicBezTo>
                  <a:pt x="10801" y="5564"/>
                  <a:pt x="10803" y="5561"/>
                  <a:pt x="10804" y="5558"/>
                </a:cubicBezTo>
                <a:cubicBezTo>
                  <a:pt x="10807" y="5565"/>
                  <a:pt x="10810" y="5577"/>
                  <a:pt x="10813" y="5583"/>
                </a:cubicBezTo>
                <a:cubicBezTo>
                  <a:pt x="10817" y="5580"/>
                  <a:pt x="10824" y="5576"/>
                  <a:pt x="10828" y="5573"/>
                </a:cubicBezTo>
                <a:cubicBezTo>
                  <a:pt x="10829" y="5573"/>
                  <a:pt x="10829" y="5570"/>
                  <a:pt x="10829" y="5570"/>
                </a:cubicBezTo>
                <a:cubicBezTo>
                  <a:pt x="10831" y="5568"/>
                  <a:pt x="10833" y="5567"/>
                  <a:pt x="10835" y="5566"/>
                </a:cubicBezTo>
                <a:cubicBezTo>
                  <a:pt x="10837" y="5558"/>
                  <a:pt x="10847" y="5514"/>
                  <a:pt x="10840" y="5502"/>
                </a:cubicBezTo>
                <a:cubicBezTo>
                  <a:pt x="10830" y="5502"/>
                  <a:pt x="10821" y="5503"/>
                  <a:pt x="10811" y="5502"/>
                </a:cubicBezTo>
                <a:cubicBezTo>
                  <a:pt x="10812" y="5501"/>
                  <a:pt x="10812" y="5497"/>
                  <a:pt x="10814" y="5495"/>
                </a:cubicBezTo>
                <a:cubicBezTo>
                  <a:pt x="10812" y="5450"/>
                  <a:pt x="10809" y="5442"/>
                  <a:pt x="10819" y="5410"/>
                </a:cubicBezTo>
                <a:cubicBezTo>
                  <a:pt x="10817" y="5408"/>
                  <a:pt x="10815" y="5407"/>
                  <a:pt x="10813" y="5405"/>
                </a:cubicBezTo>
                <a:cubicBezTo>
                  <a:pt x="10811" y="5409"/>
                  <a:pt x="10810" y="5413"/>
                  <a:pt x="10808" y="5417"/>
                </a:cubicBezTo>
                <a:cubicBezTo>
                  <a:pt x="10799" y="5422"/>
                  <a:pt x="10789" y="5428"/>
                  <a:pt x="10779" y="5433"/>
                </a:cubicBezTo>
                <a:cubicBezTo>
                  <a:pt x="10768" y="5430"/>
                  <a:pt x="10756" y="5425"/>
                  <a:pt x="10744" y="5426"/>
                </a:cubicBezTo>
                <a:cubicBezTo>
                  <a:pt x="10743" y="5428"/>
                  <a:pt x="10743" y="5431"/>
                  <a:pt x="10743" y="5434"/>
                </a:cubicBezTo>
                <a:cubicBezTo>
                  <a:pt x="10741" y="5434"/>
                  <a:pt x="10740" y="5433"/>
                  <a:pt x="10738" y="5433"/>
                </a:cubicBezTo>
                <a:cubicBezTo>
                  <a:pt x="10736" y="5454"/>
                  <a:pt x="10734" y="5476"/>
                  <a:pt x="10733" y="5498"/>
                </a:cubicBezTo>
                <a:cubicBezTo>
                  <a:pt x="10732" y="5500"/>
                  <a:pt x="10730" y="5500"/>
                  <a:pt x="10729" y="5501"/>
                </a:cubicBezTo>
                <a:cubicBezTo>
                  <a:pt x="10726" y="5489"/>
                  <a:pt x="10726" y="5476"/>
                  <a:pt x="10723" y="5464"/>
                </a:cubicBezTo>
                <a:cubicBezTo>
                  <a:pt x="10721" y="5467"/>
                  <a:pt x="10720" y="5472"/>
                  <a:pt x="10718" y="5477"/>
                </a:cubicBezTo>
                <a:cubicBezTo>
                  <a:pt x="10717" y="5475"/>
                  <a:pt x="10718" y="5472"/>
                  <a:pt x="10717" y="5470"/>
                </a:cubicBezTo>
                <a:cubicBezTo>
                  <a:pt x="10708" y="5480"/>
                  <a:pt x="10706" y="5500"/>
                  <a:pt x="10700" y="5511"/>
                </a:cubicBezTo>
                <a:cubicBezTo>
                  <a:pt x="10692" y="5514"/>
                  <a:pt x="10680" y="5501"/>
                  <a:pt x="10673" y="5502"/>
                </a:cubicBezTo>
                <a:cubicBezTo>
                  <a:pt x="10672" y="5505"/>
                  <a:pt x="10672" y="5506"/>
                  <a:pt x="10672" y="5508"/>
                </a:cubicBezTo>
                <a:cubicBezTo>
                  <a:pt x="10670" y="5508"/>
                  <a:pt x="10668" y="5507"/>
                  <a:pt x="10667" y="5507"/>
                </a:cubicBezTo>
                <a:cubicBezTo>
                  <a:pt x="10652" y="5551"/>
                  <a:pt x="10670" y="5578"/>
                  <a:pt x="10672" y="5620"/>
                </a:cubicBezTo>
                <a:cubicBezTo>
                  <a:pt x="10665" y="5636"/>
                  <a:pt x="10656" y="5654"/>
                  <a:pt x="10652" y="5677"/>
                </a:cubicBezTo>
                <a:cubicBezTo>
                  <a:pt x="10655" y="5680"/>
                  <a:pt x="10663" y="5681"/>
                  <a:pt x="10667" y="5685"/>
                </a:cubicBezTo>
                <a:cubicBezTo>
                  <a:pt x="10668" y="5683"/>
                  <a:pt x="10668" y="5680"/>
                  <a:pt x="10669" y="5677"/>
                </a:cubicBezTo>
                <a:cubicBezTo>
                  <a:pt x="10670" y="5677"/>
                  <a:pt x="10672" y="5677"/>
                  <a:pt x="10673" y="5678"/>
                </a:cubicBezTo>
                <a:cubicBezTo>
                  <a:pt x="10674" y="5676"/>
                  <a:pt x="10675" y="5673"/>
                  <a:pt x="10676" y="5671"/>
                </a:cubicBezTo>
                <a:cubicBezTo>
                  <a:pt x="10678" y="5677"/>
                  <a:pt x="10678" y="5684"/>
                  <a:pt x="10687" y="5685"/>
                </a:cubicBezTo>
                <a:cubicBezTo>
                  <a:pt x="10689" y="5710"/>
                  <a:pt x="10689" y="5769"/>
                  <a:pt x="10692" y="5788"/>
                </a:cubicBezTo>
                <a:cubicBezTo>
                  <a:pt x="10696" y="5808"/>
                  <a:pt x="10708" y="5820"/>
                  <a:pt x="10712" y="5842"/>
                </a:cubicBezTo>
                <a:cubicBezTo>
                  <a:pt x="10706" y="5849"/>
                  <a:pt x="10701" y="5855"/>
                  <a:pt x="10693" y="5857"/>
                </a:cubicBezTo>
                <a:cubicBezTo>
                  <a:pt x="10693" y="5858"/>
                  <a:pt x="10693" y="5858"/>
                  <a:pt x="10694" y="5859"/>
                </a:cubicBezTo>
                <a:cubicBezTo>
                  <a:pt x="10691" y="5860"/>
                  <a:pt x="10690" y="5863"/>
                  <a:pt x="10687" y="5864"/>
                </a:cubicBezTo>
                <a:cubicBezTo>
                  <a:pt x="10690" y="5882"/>
                  <a:pt x="10696" y="5884"/>
                  <a:pt x="10707" y="5882"/>
                </a:cubicBezTo>
                <a:cubicBezTo>
                  <a:pt x="10705" y="5889"/>
                  <a:pt x="10706" y="5887"/>
                  <a:pt x="10703" y="5892"/>
                </a:cubicBezTo>
                <a:cubicBezTo>
                  <a:pt x="10706" y="5898"/>
                  <a:pt x="10709" y="5904"/>
                  <a:pt x="10712" y="5910"/>
                </a:cubicBezTo>
                <a:cubicBezTo>
                  <a:pt x="10711" y="5911"/>
                  <a:pt x="10709" y="5912"/>
                  <a:pt x="10708" y="5913"/>
                </a:cubicBezTo>
                <a:cubicBezTo>
                  <a:pt x="10706" y="5915"/>
                  <a:pt x="10704" y="5917"/>
                  <a:pt x="10703" y="5919"/>
                </a:cubicBezTo>
                <a:cubicBezTo>
                  <a:pt x="10703" y="5923"/>
                  <a:pt x="10707" y="5925"/>
                  <a:pt x="10707" y="5929"/>
                </a:cubicBezTo>
                <a:cubicBezTo>
                  <a:pt x="10711" y="5932"/>
                  <a:pt x="10715" y="5937"/>
                  <a:pt x="10718" y="5942"/>
                </a:cubicBezTo>
                <a:cubicBezTo>
                  <a:pt x="10710" y="5943"/>
                  <a:pt x="10701" y="5943"/>
                  <a:pt x="10693" y="5942"/>
                </a:cubicBezTo>
                <a:cubicBezTo>
                  <a:pt x="10693" y="5945"/>
                  <a:pt x="10693" y="5945"/>
                  <a:pt x="10693" y="5947"/>
                </a:cubicBezTo>
                <a:cubicBezTo>
                  <a:pt x="10691" y="5946"/>
                  <a:pt x="10689" y="5947"/>
                  <a:pt x="10687" y="5947"/>
                </a:cubicBezTo>
                <a:cubicBezTo>
                  <a:pt x="10684" y="5966"/>
                  <a:pt x="10685" y="5973"/>
                  <a:pt x="10687" y="5985"/>
                </a:cubicBezTo>
                <a:cubicBezTo>
                  <a:pt x="10681" y="5983"/>
                  <a:pt x="10673" y="5983"/>
                  <a:pt x="10668" y="5979"/>
                </a:cubicBezTo>
                <a:cubicBezTo>
                  <a:pt x="10668" y="5982"/>
                  <a:pt x="10670" y="5986"/>
                  <a:pt x="10672" y="5989"/>
                </a:cubicBezTo>
                <a:cubicBezTo>
                  <a:pt x="10668" y="5988"/>
                  <a:pt x="10665" y="5987"/>
                  <a:pt x="10662" y="5985"/>
                </a:cubicBezTo>
                <a:cubicBezTo>
                  <a:pt x="10664" y="5993"/>
                  <a:pt x="10670" y="6005"/>
                  <a:pt x="10672" y="6013"/>
                </a:cubicBezTo>
                <a:cubicBezTo>
                  <a:pt x="10671" y="6014"/>
                  <a:pt x="10671" y="6014"/>
                  <a:pt x="10670" y="6015"/>
                </a:cubicBezTo>
                <a:cubicBezTo>
                  <a:pt x="10669" y="6015"/>
                  <a:pt x="10668" y="6015"/>
                  <a:pt x="10668" y="6015"/>
                </a:cubicBezTo>
                <a:cubicBezTo>
                  <a:pt x="10666" y="6014"/>
                  <a:pt x="10665" y="6007"/>
                  <a:pt x="10663" y="6006"/>
                </a:cubicBezTo>
                <a:cubicBezTo>
                  <a:pt x="10662" y="5990"/>
                  <a:pt x="10661" y="5990"/>
                  <a:pt x="10658" y="5971"/>
                </a:cubicBezTo>
                <a:cubicBezTo>
                  <a:pt x="10634" y="5971"/>
                  <a:pt x="10613" y="5967"/>
                  <a:pt x="10597" y="5979"/>
                </a:cubicBezTo>
                <a:cubicBezTo>
                  <a:pt x="10597" y="5981"/>
                  <a:pt x="10597" y="5983"/>
                  <a:pt x="10596" y="5984"/>
                </a:cubicBezTo>
                <a:cubicBezTo>
                  <a:pt x="10595" y="5985"/>
                  <a:pt x="10593" y="5984"/>
                  <a:pt x="10591" y="5985"/>
                </a:cubicBezTo>
                <a:cubicBezTo>
                  <a:pt x="10590" y="5993"/>
                  <a:pt x="10587" y="6005"/>
                  <a:pt x="10586" y="6013"/>
                </a:cubicBezTo>
                <a:cubicBezTo>
                  <a:pt x="10588" y="6033"/>
                  <a:pt x="10596" y="6031"/>
                  <a:pt x="10602" y="6042"/>
                </a:cubicBezTo>
                <a:cubicBezTo>
                  <a:pt x="10602" y="6042"/>
                  <a:pt x="10602" y="6043"/>
                  <a:pt x="10602" y="6044"/>
                </a:cubicBezTo>
                <a:cubicBezTo>
                  <a:pt x="10600" y="6044"/>
                  <a:pt x="10598" y="6044"/>
                  <a:pt x="10597" y="6044"/>
                </a:cubicBezTo>
                <a:cubicBezTo>
                  <a:pt x="10592" y="6035"/>
                  <a:pt x="10585" y="6018"/>
                  <a:pt x="10582" y="6006"/>
                </a:cubicBezTo>
                <a:cubicBezTo>
                  <a:pt x="10556" y="5985"/>
                  <a:pt x="10512" y="6031"/>
                  <a:pt x="10491" y="6044"/>
                </a:cubicBezTo>
                <a:cubicBezTo>
                  <a:pt x="10491" y="6045"/>
                  <a:pt x="10492" y="6046"/>
                  <a:pt x="10491" y="6047"/>
                </a:cubicBezTo>
                <a:cubicBezTo>
                  <a:pt x="10490" y="6048"/>
                  <a:pt x="10487" y="6050"/>
                  <a:pt x="10485" y="6051"/>
                </a:cubicBezTo>
                <a:cubicBezTo>
                  <a:pt x="10482" y="6074"/>
                  <a:pt x="10485" y="6078"/>
                  <a:pt x="10485" y="6107"/>
                </a:cubicBezTo>
                <a:cubicBezTo>
                  <a:pt x="10491" y="6107"/>
                  <a:pt x="10495" y="6106"/>
                  <a:pt x="10501" y="6107"/>
                </a:cubicBezTo>
                <a:cubicBezTo>
                  <a:pt x="10497" y="6116"/>
                  <a:pt x="10496" y="6127"/>
                  <a:pt x="10495" y="6144"/>
                </a:cubicBezTo>
                <a:cubicBezTo>
                  <a:pt x="10501" y="6150"/>
                  <a:pt x="10501" y="6153"/>
                  <a:pt x="10510" y="6153"/>
                </a:cubicBezTo>
                <a:cubicBezTo>
                  <a:pt x="10508" y="6177"/>
                  <a:pt x="10504" y="6177"/>
                  <a:pt x="10499" y="6186"/>
                </a:cubicBezTo>
                <a:cubicBezTo>
                  <a:pt x="10489" y="6195"/>
                  <a:pt x="10480" y="6189"/>
                  <a:pt x="10466" y="6185"/>
                </a:cubicBezTo>
                <a:cubicBezTo>
                  <a:pt x="10469" y="6172"/>
                  <a:pt x="10470" y="6161"/>
                  <a:pt x="10470" y="6144"/>
                </a:cubicBezTo>
                <a:cubicBezTo>
                  <a:pt x="10471" y="6144"/>
                  <a:pt x="10472" y="6145"/>
                  <a:pt x="10475" y="6144"/>
                </a:cubicBezTo>
                <a:cubicBezTo>
                  <a:pt x="10475" y="6142"/>
                  <a:pt x="10475" y="6139"/>
                  <a:pt x="10475" y="6137"/>
                </a:cubicBezTo>
                <a:cubicBezTo>
                  <a:pt x="10476" y="6137"/>
                  <a:pt x="10478" y="6138"/>
                  <a:pt x="10481" y="6137"/>
                </a:cubicBezTo>
                <a:cubicBezTo>
                  <a:pt x="10482" y="6131"/>
                  <a:pt x="10480" y="6125"/>
                  <a:pt x="10481" y="6120"/>
                </a:cubicBezTo>
                <a:cubicBezTo>
                  <a:pt x="10477" y="6105"/>
                  <a:pt x="10472" y="6101"/>
                  <a:pt x="10466" y="6092"/>
                </a:cubicBezTo>
                <a:cubicBezTo>
                  <a:pt x="10459" y="6096"/>
                  <a:pt x="10452" y="6097"/>
                  <a:pt x="10445" y="6101"/>
                </a:cubicBezTo>
                <a:cubicBezTo>
                  <a:pt x="10445" y="6102"/>
                  <a:pt x="10445" y="6103"/>
                  <a:pt x="10445" y="6104"/>
                </a:cubicBezTo>
                <a:cubicBezTo>
                  <a:pt x="10443" y="6105"/>
                  <a:pt x="10441" y="6106"/>
                  <a:pt x="10440" y="6107"/>
                </a:cubicBezTo>
                <a:cubicBezTo>
                  <a:pt x="10431" y="6145"/>
                  <a:pt x="10423" y="6181"/>
                  <a:pt x="10414" y="6219"/>
                </a:cubicBezTo>
                <a:cubicBezTo>
                  <a:pt x="10398" y="6245"/>
                  <a:pt x="10385" y="6278"/>
                  <a:pt x="10368" y="6304"/>
                </a:cubicBezTo>
                <a:cubicBezTo>
                  <a:pt x="10375" y="6309"/>
                  <a:pt x="10379" y="6317"/>
                  <a:pt x="10383" y="6329"/>
                </a:cubicBezTo>
                <a:cubicBezTo>
                  <a:pt x="10370" y="6337"/>
                  <a:pt x="10354" y="6325"/>
                  <a:pt x="10340" y="6335"/>
                </a:cubicBezTo>
                <a:cubicBezTo>
                  <a:pt x="10328" y="6349"/>
                  <a:pt x="10316" y="6357"/>
                  <a:pt x="10304" y="6372"/>
                </a:cubicBezTo>
                <a:cubicBezTo>
                  <a:pt x="10304" y="6372"/>
                  <a:pt x="10304" y="6372"/>
                  <a:pt x="10304" y="6372"/>
                </a:cubicBezTo>
                <a:cubicBezTo>
                  <a:pt x="10296" y="6373"/>
                  <a:pt x="10292" y="6381"/>
                  <a:pt x="10284" y="6382"/>
                </a:cubicBezTo>
                <a:cubicBezTo>
                  <a:pt x="10280" y="6385"/>
                  <a:pt x="10276" y="6390"/>
                  <a:pt x="10272" y="6394"/>
                </a:cubicBezTo>
                <a:cubicBezTo>
                  <a:pt x="10264" y="6401"/>
                  <a:pt x="10256" y="6408"/>
                  <a:pt x="10248" y="6415"/>
                </a:cubicBezTo>
                <a:cubicBezTo>
                  <a:pt x="10240" y="6462"/>
                  <a:pt x="10249" y="6518"/>
                  <a:pt x="10228" y="6545"/>
                </a:cubicBezTo>
                <a:cubicBezTo>
                  <a:pt x="10216" y="6557"/>
                  <a:pt x="10203" y="6564"/>
                  <a:pt x="10190" y="6569"/>
                </a:cubicBezTo>
                <a:cubicBezTo>
                  <a:pt x="10175" y="6574"/>
                  <a:pt x="10162" y="6580"/>
                  <a:pt x="10152" y="6603"/>
                </a:cubicBezTo>
                <a:cubicBezTo>
                  <a:pt x="10151" y="6608"/>
                  <a:pt x="10147" y="6617"/>
                  <a:pt x="10147" y="6622"/>
                </a:cubicBezTo>
                <a:cubicBezTo>
                  <a:pt x="10151" y="6624"/>
                  <a:pt x="10156" y="6629"/>
                  <a:pt x="10161" y="6631"/>
                </a:cubicBezTo>
                <a:cubicBezTo>
                  <a:pt x="10136" y="6660"/>
                  <a:pt x="10106" y="6617"/>
                  <a:pt x="10077" y="6643"/>
                </a:cubicBezTo>
                <a:cubicBezTo>
                  <a:pt x="10072" y="6625"/>
                  <a:pt x="10070" y="6615"/>
                  <a:pt x="10072" y="6588"/>
                </a:cubicBezTo>
                <a:cubicBezTo>
                  <a:pt x="10056" y="6593"/>
                  <a:pt x="10044" y="6592"/>
                  <a:pt x="10026" y="6588"/>
                </a:cubicBezTo>
                <a:cubicBezTo>
                  <a:pt x="10026" y="6590"/>
                  <a:pt x="10027" y="6591"/>
                  <a:pt x="10027" y="6593"/>
                </a:cubicBezTo>
                <a:cubicBezTo>
                  <a:pt x="10024" y="6593"/>
                  <a:pt x="10023" y="6594"/>
                  <a:pt x="10020" y="6593"/>
                </a:cubicBezTo>
                <a:cubicBezTo>
                  <a:pt x="10023" y="6624"/>
                  <a:pt x="10028" y="6657"/>
                  <a:pt x="10040" y="6669"/>
                </a:cubicBezTo>
                <a:cubicBezTo>
                  <a:pt x="10040" y="6701"/>
                  <a:pt x="10043" y="6720"/>
                  <a:pt x="10050" y="6740"/>
                </a:cubicBezTo>
                <a:cubicBezTo>
                  <a:pt x="10044" y="6743"/>
                  <a:pt x="10038" y="6747"/>
                  <a:pt x="10031" y="6747"/>
                </a:cubicBezTo>
                <a:cubicBezTo>
                  <a:pt x="10031" y="6741"/>
                  <a:pt x="10031" y="6735"/>
                  <a:pt x="10031" y="6729"/>
                </a:cubicBezTo>
                <a:cubicBezTo>
                  <a:pt x="10019" y="6740"/>
                  <a:pt x="9986" y="6758"/>
                  <a:pt x="9971" y="6756"/>
                </a:cubicBezTo>
                <a:cubicBezTo>
                  <a:pt x="9965" y="6742"/>
                  <a:pt x="9961" y="6724"/>
                  <a:pt x="9955" y="6710"/>
                </a:cubicBezTo>
                <a:cubicBezTo>
                  <a:pt x="9946" y="6711"/>
                  <a:pt x="9935" y="6717"/>
                  <a:pt x="9926" y="6719"/>
                </a:cubicBezTo>
                <a:cubicBezTo>
                  <a:pt x="9925" y="6720"/>
                  <a:pt x="9925" y="6722"/>
                  <a:pt x="9925" y="6723"/>
                </a:cubicBezTo>
                <a:cubicBezTo>
                  <a:pt x="9923" y="6723"/>
                  <a:pt x="9922" y="6724"/>
                  <a:pt x="9920" y="6724"/>
                </a:cubicBezTo>
                <a:cubicBezTo>
                  <a:pt x="9919" y="6728"/>
                  <a:pt x="9918" y="6733"/>
                  <a:pt x="9917" y="6737"/>
                </a:cubicBezTo>
                <a:cubicBezTo>
                  <a:pt x="9909" y="6740"/>
                  <a:pt x="9895" y="6737"/>
                  <a:pt x="9895" y="6737"/>
                </a:cubicBezTo>
                <a:cubicBezTo>
                  <a:pt x="9894" y="6735"/>
                  <a:pt x="9896" y="6731"/>
                  <a:pt x="9895" y="6729"/>
                </a:cubicBezTo>
                <a:cubicBezTo>
                  <a:pt x="9879" y="6731"/>
                  <a:pt x="9864" y="6756"/>
                  <a:pt x="9845" y="6756"/>
                </a:cubicBezTo>
                <a:cubicBezTo>
                  <a:pt x="9845" y="6757"/>
                  <a:pt x="9845" y="6757"/>
                  <a:pt x="9845" y="6758"/>
                </a:cubicBezTo>
                <a:cubicBezTo>
                  <a:pt x="9843" y="6758"/>
                  <a:pt x="9841" y="6761"/>
                  <a:pt x="9839" y="6761"/>
                </a:cubicBezTo>
                <a:cubicBezTo>
                  <a:pt x="9838" y="6772"/>
                  <a:pt x="9839" y="6789"/>
                  <a:pt x="9839" y="6800"/>
                </a:cubicBezTo>
                <a:cubicBezTo>
                  <a:pt x="9847" y="6794"/>
                  <a:pt x="9856" y="6789"/>
                  <a:pt x="9869" y="6790"/>
                </a:cubicBezTo>
                <a:cubicBezTo>
                  <a:pt x="9865" y="6802"/>
                  <a:pt x="9863" y="6806"/>
                  <a:pt x="9854" y="6809"/>
                </a:cubicBezTo>
                <a:cubicBezTo>
                  <a:pt x="9852" y="6816"/>
                  <a:pt x="9864" y="6818"/>
                  <a:pt x="9869" y="6819"/>
                </a:cubicBezTo>
                <a:cubicBezTo>
                  <a:pt x="9869" y="6821"/>
                  <a:pt x="9869" y="6822"/>
                  <a:pt x="9869" y="6824"/>
                </a:cubicBezTo>
                <a:cubicBezTo>
                  <a:pt x="9863" y="6826"/>
                  <a:pt x="9856" y="6829"/>
                  <a:pt x="9850" y="6831"/>
                </a:cubicBezTo>
                <a:cubicBezTo>
                  <a:pt x="9850" y="6832"/>
                  <a:pt x="9851" y="6832"/>
                  <a:pt x="9852" y="6833"/>
                </a:cubicBezTo>
                <a:cubicBezTo>
                  <a:pt x="9849" y="6834"/>
                  <a:pt x="9847" y="6836"/>
                  <a:pt x="9844" y="6837"/>
                </a:cubicBezTo>
                <a:cubicBezTo>
                  <a:pt x="9848" y="6851"/>
                  <a:pt x="9858" y="6854"/>
                  <a:pt x="9863" y="6866"/>
                </a:cubicBezTo>
                <a:cubicBezTo>
                  <a:pt x="9864" y="6870"/>
                  <a:pt x="9863" y="6870"/>
                  <a:pt x="9863" y="6874"/>
                </a:cubicBezTo>
                <a:cubicBezTo>
                  <a:pt x="9897" y="6869"/>
                  <a:pt x="9935" y="6881"/>
                  <a:pt x="9959" y="6921"/>
                </a:cubicBezTo>
                <a:cubicBezTo>
                  <a:pt x="9965" y="6917"/>
                  <a:pt x="9974" y="6915"/>
                  <a:pt x="9980" y="6911"/>
                </a:cubicBezTo>
                <a:cubicBezTo>
                  <a:pt x="9982" y="6914"/>
                  <a:pt x="9983" y="6918"/>
                  <a:pt x="9985" y="6921"/>
                </a:cubicBezTo>
                <a:cubicBezTo>
                  <a:pt x="9983" y="6930"/>
                  <a:pt x="9982" y="6940"/>
                  <a:pt x="9980" y="6949"/>
                </a:cubicBezTo>
                <a:cubicBezTo>
                  <a:pt x="9988" y="6967"/>
                  <a:pt x="10006" y="6983"/>
                  <a:pt x="10016" y="6997"/>
                </a:cubicBezTo>
                <a:cubicBezTo>
                  <a:pt x="10013" y="7006"/>
                  <a:pt x="10013" y="7015"/>
                  <a:pt x="10011" y="7024"/>
                </a:cubicBezTo>
                <a:cubicBezTo>
                  <a:pt x="10019" y="7044"/>
                  <a:pt x="10026" y="7060"/>
                  <a:pt x="10035" y="7080"/>
                </a:cubicBezTo>
                <a:cubicBezTo>
                  <a:pt x="10065" y="7107"/>
                  <a:pt x="10060" y="7084"/>
                  <a:pt x="10076" y="7146"/>
                </a:cubicBezTo>
                <a:cubicBezTo>
                  <a:pt x="10072" y="7161"/>
                  <a:pt x="10067" y="7170"/>
                  <a:pt x="10066" y="7192"/>
                </a:cubicBezTo>
                <a:cubicBezTo>
                  <a:pt x="10069" y="7200"/>
                  <a:pt x="10067" y="7213"/>
                  <a:pt x="10071" y="7220"/>
                </a:cubicBezTo>
                <a:cubicBezTo>
                  <a:pt x="10061" y="7249"/>
                  <a:pt x="10056" y="7300"/>
                  <a:pt x="10056" y="7343"/>
                </a:cubicBezTo>
                <a:cubicBezTo>
                  <a:pt x="10057" y="7340"/>
                  <a:pt x="10059" y="7338"/>
                  <a:pt x="10062" y="7337"/>
                </a:cubicBezTo>
                <a:cubicBezTo>
                  <a:pt x="10063" y="7335"/>
                  <a:pt x="10064" y="7334"/>
                  <a:pt x="10066" y="7333"/>
                </a:cubicBezTo>
                <a:cubicBezTo>
                  <a:pt x="10068" y="7337"/>
                  <a:pt x="10069" y="7348"/>
                  <a:pt x="10071" y="7352"/>
                </a:cubicBezTo>
                <a:cubicBezTo>
                  <a:pt x="10070" y="7353"/>
                  <a:pt x="10068" y="7354"/>
                  <a:pt x="10067" y="7356"/>
                </a:cubicBezTo>
                <a:cubicBezTo>
                  <a:pt x="10065" y="7357"/>
                  <a:pt x="10063" y="7358"/>
                  <a:pt x="10060" y="7361"/>
                </a:cubicBezTo>
                <a:cubicBezTo>
                  <a:pt x="10053" y="7421"/>
                  <a:pt x="10047" y="7477"/>
                  <a:pt x="10036" y="7524"/>
                </a:cubicBezTo>
                <a:cubicBezTo>
                  <a:pt x="10004" y="7530"/>
                  <a:pt x="9982" y="7509"/>
                  <a:pt x="9955" y="7495"/>
                </a:cubicBezTo>
                <a:cubicBezTo>
                  <a:pt x="9939" y="7534"/>
                  <a:pt x="9880" y="7515"/>
                  <a:pt x="9845" y="7505"/>
                </a:cubicBezTo>
                <a:cubicBezTo>
                  <a:pt x="9828" y="7500"/>
                  <a:pt x="9773" y="7476"/>
                  <a:pt x="9769" y="7477"/>
                </a:cubicBezTo>
                <a:cubicBezTo>
                  <a:pt x="9753" y="7484"/>
                  <a:pt x="9732" y="7512"/>
                  <a:pt x="9709" y="7505"/>
                </a:cubicBezTo>
                <a:cubicBezTo>
                  <a:pt x="9679" y="7495"/>
                  <a:pt x="9658" y="7465"/>
                  <a:pt x="9628" y="7487"/>
                </a:cubicBezTo>
                <a:cubicBezTo>
                  <a:pt x="9627" y="7489"/>
                  <a:pt x="9627" y="7491"/>
                  <a:pt x="9627" y="7493"/>
                </a:cubicBezTo>
                <a:cubicBezTo>
                  <a:pt x="9625" y="7494"/>
                  <a:pt x="9623" y="7491"/>
                  <a:pt x="9621" y="7493"/>
                </a:cubicBezTo>
                <a:cubicBezTo>
                  <a:pt x="9619" y="7504"/>
                  <a:pt x="9618" y="7513"/>
                  <a:pt x="9617" y="7524"/>
                </a:cubicBezTo>
                <a:cubicBezTo>
                  <a:pt x="9612" y="7524"/>
                  <a:pt x="9607" y="7524"/>
                  <a:pt x="9602" y="7524"/>
                </a:cubicBezTo>
                <a:cubicBezTo>
                  <a:pt x="9590" y="7525"/>
                  <a:pt x="9581" y="7531"/>
                  <a:pt x="9575" y="7541"/>
                </a:cubicBezTo>
                <a:cubicBezTo>
                  <a:pt x="9567" y="7549"/>
                  <a:pt x="9561" y="7560"/>
                  <a:pt x="9556" y="7577"/>
                </a:cubicBezTo>
                <a:cubicBezTo>
                  <a:pt x="9556" y="7586"/>
                  <a:pt x="9555" y="7595"/>
                  <a:pt x="9556" y="7604"/>
                </a:cubicBezTo>
                <a:cubicBezTo>
                  <a:pt x="9576" y="7612"/>
                  <a:pt x="9585" y="7628"/>
                  <a:pt x="9591" y="7661"/>
                </a:cubicBezTo>
                <a:cubicBezTo>
                  <a:pt x="9592" y="7667"/>
                  <a:pt x="9580" y="7752"/>
                  <a:pt x="9576" y="7764"/>
                </a:cubicBezTo>
                <a:cubicBezTo>
                  <a:pt x="9597" y="7844"/>
                  <a:pt x="9582" y="8055"/>
                  <a:pt x="9546" y="8091"/>
                </a:cubicBezTo>
                <a:cubicBezTo>
                  <a:pt x="9547" y="8123"/>
                  <a:pt x="9542" y="8151"/>
                  <a:pt x="9536" y="8175"/>
                </a:cubicBezTo>
                <a:cubicBezTo>
                  <a:pt x="9539" y="8187"/>
                  <a:pt x="9539" y="8190"/>
                  <a:pt x="9546" y="8194"/>
                </a:cubicBezTo>
                <a:cubicBezTo>
                  <a:pt x="9547" y="8193"/>
                  <a:pt x="9549" y="8195"/>
                  <a:pt x="9550" y="8194"/>
                </a:cubicBezTo>
                <a:cubicBezTo>
                  <a:pt x="9552" y="8193"/>
                  <a:pt x="9552" y="8190"/>
                  <a:pt x="9554" y="8188"/>
                </a:cubicBezTo>
                <a:cubicBezTo>
                  <a:pt x="9555" y="8188"/>
                  <a:pt x="9556" y="8189"/>
                  <a:pt x="9557" y="8188"/>
                </a:cubicBezTo>
                <a:cubicBezTo>
                  <a:pt x="9563" y="8183"/>
                  <a:pt x="9569" y="8173"/>
                  <a:pt x="9572" y="8161"/>
                </a:cubicBezTo>
                <a:cubicBezTo>
                  <a:pt x="9573" y="8165"/>
                  <a:pt x="9574" y="8169"/>
                  <a:pt x="9576" y="8174"/>
                </a:cubicBezTo>
                <a:cubicBezTo>
                  <a:pt x="9571" y="8181"/>
                  <a:pt x="9566" y="8188"/>
                  <a:pt x="9557" y="8188"/>
                </a:cubicBezTo>
                <a:cubicBezTo>
                  <a:pt x="9557" y="8189"/>
                  <a:pt x="9557" y="8189"/>
                  <a:pt x="9557" y="8189"/>
                </a:cubicBezTo>
                <a:cubicBezTo>
                  <a:pt x="9554" y="8190"/>
                  <a:pt x="9554" y="8194"/>
                  <a:pt x="9550" y="8194"/>
                </a:cubicBezTo>
                <a:cubicBezTo>
                  <a:pt x="9551" y="8204"/>
                  <a:pt x="9555" y="8215"/>
                  <a:pt x="9556" y="8222"/>
                </a:cubicBezTo>
                <a:cubicBezTo>
                  <a:pt x="9563" y="8225"/>
                  <a:pt x="9573" y="8218"/>
                  <a:pt x="9581" y="8212"/>
                </a:cubicBezTo>
                <a:cubicBezTo>
                  <a:pt x="9582" y="8214"/>
                  <a:pt x="9580" y="8220"/>
                  <a:pt x="9581" y="8222"/>
                </a:cubicBezTo>
                <a:cubicBezTo>
                  <a:pt x="9579" y="8242"/>
                  <a:pt x="9578" y="8268"/>
                  <a:pt x="9576" y="8288"/>
                </a:cubicBezTo>
                <a:cubicBezTo>
                  <a:pt x="9580" y="8299"/>
                  <a:pt x="9584" y="8327"/>
                  <a:pt x="9581" y="8353"/>
                </a:cubicBezTo>
                <a:cubicBezTo>
                  <a:pt x="9578" y="8372"/>
                  <a:pt x="9568" y="8398"/>
                  <a:pt x="9571" y="8419"/>
                </a:cubicBezTo>
                <a:cubicBezTo>
                  <a:pt x="9584" y="8407"/>
                  <a:pt x="9595" y="8400"/>
                  <a:pt x="9616" y="8409"/>
                </a:cubicBezTo>
                <a:cubicBezTo>
                  <a:pt x="9622" y="8412"/>
                  <a:pt x="9631" y="8423"/>
                  <a:pt x="9642" y="8419"/>
                </a:cubicBezTo>
                <a:cubicBezTo>
                  <a:pt x="9652" y="8410"/>
                  <a:pt x="9658" y="8400"/>
                  <a:pt x="9667" y="8391"/>
                </a:cubicBezTo>
                <a:cubicBezTo>
                  <a:pt x="9699" y="8376"/>
                  <a:pt x="9734" y="8421"/>
                  <a:pt x="9733" y="8466"/>
                </a:cubicBezTo>
                <a:cubicBezTo>
                  <a:pt x="9736" y="8468"/>
                  <a:pt x="9739" y="8473"/>
                  <a:pt x="9743" y="8475"/>
                </a:cubicBezTo>
                <a:cubicBezTo>
                  <a:pt x="9747" y="8517"/>
                  <a:pt x="9765" y="8564"/>
                  <a:pt x="9793" y="8550"/>
                </a:cubicBezTo>
                <a:cubicBezTo>
                  <a:pt x="9794" y="8548"/>
                  <a:pt x="9793" y="8545"/>
                  <a:pt x="9793" y="8544"/>
                </a:cubicBezTo>
                <a:cubicBezTo>
                  <a:pt x="9795" y="8543"/>
                  <a:pt x="9797" y="8545"/>
                  <a:pt x="9799" y="8544"/>
                </a:cubicBezTo>
                <a:cubicBezTo>
                  <a:pt x="9800" y="8542"/>
                  <a:pt x="9799" y="8538"/>
                  <a:pt x="9799" y="8536"/>
                </a:cubicBezTo>
                <a:cubicBezTo>
                  <a:pt x="9800" y="8532"/>
                  <a:pt x="9801" y="8532"/>
                  <a:pt x="9802" y="8529"/>
                </a:cubicBezTo>
                <a:cubicBezTo>
                  <a:pt x="9803" y="8531"/>
                  <a:pt x="9804" y="8532"/>
                  <a:pt x="9804" y="8534"/>
                </a:cubicBezTo>
                <a:cubicBezTo>
                  <a:pt x="9808" y="8514"/>
                  <a:pt x="9812" y="8507"/>
                  <a:pt x="9817" y="8503"/>
                </a:cubicBezTo>
                <a:cubicBezTo>
                  <a:pt x="9823" y="8500"/>
                  <a:pt x="9829" y="8500"/>
                  <a:pt x="9839" y="8493"/>
                </a:cubicBezTo>
                <a:cubicBezTo>
                  <a:pt x="9840" y="8492"/>
                  <a:pt x="9841" y="8490"/>
                  <a:pt x="9841" y="8488"/>
                </a:cubicBezTo>
                <a:cubicBezTo>
                  <a:pt x="9843" y="8488"/>
                  <a:pt x="9843" y="8488"/>
                  <a:pt x="9845" y="8487"/>
                </a:cubicBezTo>
                <a:cubicBezTo>
                  <a:pt x="9850" y="8478"/>
                  <a:pt x="9856" y="8467"/>
                  <a:pt x="9861" y="8457"/>
                </a:cubicBezTo>
                <a:cubicBezTo>
                  <a:pt x="9897" y="8458"/>
                  <a:pt x="9934" y="8456"/>
                  <a:pt x="9970" y="8457"/>
                </a:cubicBezTo>
                <a:cubicBezTo>
                  <a:pt x="9977" y="8453"/>
                  <a:pt x="9983" y="8442"/>
                  <a:pt x="9995" y="8438"/>
                </a:cubicBezTo>
                <a:cubicBezTo>
                  <a:pt x="9998" y="8442"/>
                  <a:pt x="9997" y="8453"/>
                  <a:pt x="10000" y="8457"/>
                </a:cubicBezTo>
                <a:cubicBezTo>
                  <a:pt x="10003" y="8453"/>
                  <a:pt x="10003" y="8449"/>
                  <a:pt x="10005" y="8445"/>
                </a:cubicBezTo>
                <a:cubicBezTo>
                  <a:pt x="10006" y="8447"/>
                  <a:pt x="10006" y="8449"/>
                  <a:pt x="10007" y="8450"/>
                </a:cubicBezTo>
                <a:cubicBezTo>
                  <a:pt x="10023" y="8428"/>
                  <a:pt x="10021" y="8410"/>
                  <a:pt x="10031" y="8376"/>
                </a:cubicBezTo>
                <a:cubicBezTo>
                  <a:pt x="10036" y="8360"/>
                  <a:pt x="10045" y="8353"/>
                  <a:pt x="10055" y="8347"/>
                </a:cubicBezTo>
                <a:cubicBezTo>
                  <a:pt x="10066" y="8341"/>
                  <a:pt x="10079" y="8339"/>
                  <a:pt x="10092" y="8335"/>
                </a:cubicBezTo>
                <a:cubicBezTo>
                  <a:pt x="10092" y="8332"/>
                  <a:pt x="10092" y="8331"/>
                  <a:pt x="10092" y="8330"/>
                </a:cubicBezTo>
                <a:cubicBezTo>
                  <a:pt x="10094" y="8329"/>
                  <a:pt x="10095" y="8328"/>
                  <a:pt x="10097" y="8327"/>
                </a:cubicBezTo>
                <a:cubicBezTo>
                  <a:pt x="10099" y="8317"/>
                  <a:pt x="10096" y="8323"/>
                  <a:pt x="10097" y="8309"/>
                </a:cubicBezTo>
                <a:cubicBezTo>
                  <a:pt x="10103" y="8247"/>
                  <a:pt x="10131" y="8204"/>
                  <a:pt x="10158" y="8179"/>
                </a:cubicBezTo>
                <a:cubicBezTo>
                  <a:pt x="10158" y="8176"/>
                  <a:pt x="10158" y="8171"/>
                  <a:pt x="10158" y="8169"/>
                </a:cubicBezTo>
                <a:cubicBezTo>
                  <a:pt x="10151" y="8162"/>
                  <a:pt x="10144" y="8158"/>
                  <a:pt x="10138" y="8151"/>
                </a:cubicBezTo>
                <a:cubicBezTo>
                  <a:pt x="10132" y="8130"/>
                  <a:pt x="10127" y="8106"/>
                  <a:pt x="10122" y="8085"/>
                </a:cubicBezTo>
                <a:cubicBezTo>
                  <a:pt x="10129" y="8025"/>
                  <a:pt x="10174" y="7927"/>
                  <a:pt x="10203" y="7907"/>
                </a:cubicBezTo>
                <a:cubicBezTo>
                  <a:pt x="10204" y="7905"/>
                  <a:pt x="10203" y="7899"/>
                  <a:pt x="10203" y="7897"/>
                </a:cubicBezTo>
                <a:cubicBezTo>
                  <a:pt x="10200" y="7890"/>
                  <a:pt x="10200" y="7890"/>
                  <a:pt x="10198" y="7878"/>
                </a:cubicBezTo>
                <a:cubicBezTo>
                  <a:pt x="10202" y="7866"/>
                  <a:pt x="10207" y="7860"/>
                  <a:pt x="10212" y="7854"/>
                </a:cubicBezTo>
                <a:cubicBezTo>
                  <a:pt x="10232" y="7841"/>
                  <a:pt x="10258" y="7854"/>
                  <a:pt x="10278" y="7829"/>
                </a:cubicBezTo>
                <a:cubicBezTo>
                  <a:pt x="10279" y="7828"/>
                  <a:pt x="10279" y="7827"/>
                  <a:pt x="10279" y="7825"/>
                </a:cubicBezTo>
                <a:cubicBezTo>
                  <a:pt x="10281" y="7824"/>
                  <a:pt x="10282" y="7825"/>
                  <a:pt x="10284" y="7823"/>
                </a:cubicBezTo>
                <a:cubicBezTo>
                  <a:pt x="10286" y="7815"/>
                  <a:pt x="10287" y="7803"/>
                  <a:pt x="10289" y="7795"/>
                </a:cubicBezTo>
                <a:cubicBezTo>
                  <a:pt x="10299" y="7785"/>
                  <a:pt x="10309" y="7776"/>
                  <a:pt x="10320" y="7769"/>
                </a:cubicBezTo>
                <a:cubicBezTo>
                  <a:pt x="10332" y="7762"/>
                  <a:pt x="10344" y="7755"/>
                  <a:pt x="10350" y="7739"/>
                </a:cubicBezTo>
                <a:cubicBezTo>
                  <a:pt x="10366" y="7659"/>
                  <a:pt x="10315" y="7605"/>
                  <a:pt x="10370" y="7532"/>
                </a:cubicBezTo>
                <a:cubicBezTo>
                  <a:pt x="10376" y="7524"/>
                  <a:pt x="10381" y="7522"/>
                  <a:pt x="10385" y="7519"/>
                </a:cubicBezTo>
                <a:cubicBezTo>
                  <a:pt x="10403" y="7513"/>
                  <a:pt x="10411" y="7538"/>
                  <a:pt x="10434" y="7538"/>
                </a:cubicBezTo>
                <a:cubicBezTo>
                  <a:pt x="10442" y="7538"/>
                  <a:pt x="10454" y="7530"/>
                  <a:pt x="10465" y="7538"/>
                </a:cubicBezTo>
                <a:cubicBezTo>
                  <a:pt x="10481" y="7550"/>
                  <a:pt x="10493" y="7586"/>
                  <a:pt x="10521" y="7577"/>
                </a:cubicBezTo>
                <a:cubicBezTo>
                  <a:pt x="10550" y="7567"/>
                  <a:pt x="10567" y="7546"/>
                  <a:pt x="10583" y="7523"/>
                </a:cubicBezTo>
                <a:cubicBezTo>
                  <a:pt x="10596" y="7504"/>
                  <a:pt x="10609" y="7483"/>
                  <a:pt x="10624" y="7463"/>
                </a:cubicBezTo>
                <a:cubicBezTo>
                  <a:pt x="10633" y="7457"/>
                  <a:pt x="10642" y="7450"/>
                  <a:pt x="10652" y="7446"/>
                </a:cubicBezTo>
                <a:cubicBezTo>
                  <a:pt x="10652" y="7444"/>
                  <a:pt x="10653" y="7443"/>
                  <a:pt x="10654" y="7441"/>
                </a:cubicBezTo>
                <a:cubicBezTo>
                  <a:pt x="10655" y="7440"/>
                  <a:pt x="10657" y="7439"/>
                  <a:pt x="10658" y="7439"/>
                </a:cubicBezTo>
                <a:cubicBezTo>
                  <a:pt x="10663" y="7428"/>
                  <a:pt x="10667" y="7423"/>
                  <a:pt x="10672" y="7413"/>
                </a:cubicBezTo>
                <a:cubicBezTo>
                  <a:pt x="10699" y="7379"/>
                  <a:pt x="10728" y="7375"/>
                  <a:pt x="10763" y="7407"/>
                </a:cubicBezTo>
                <a:cubicBezTo>
                  <a:pt x="10801" y="7443"/>
                  <a:pt x="10808" y="7541"/>
                  <a:pt x="10832" y="7607"/>
                </a:cubicBezTo>
                <a:cubicBezTo>
                  <a:pt x="10831" y="7608"/>
                  <a:pt x="10830" y="7610"/>
                  <a:pt x="10828" y="7612"/>
                </a:cubicBezTo>
                <a:cubicBezTo>
                  <a:pt x="10830" y="7629"/>
                  <a:pt x="10834" y="7630"/>
                  <a:pt x="10838" y="7640"/>
                </a:cubicBezTo>
                <a:cubicBezTo>
                  <a:pt x="10836" y="7644"/>
                  <a:pt x="10833" y="7647"/>
                  <a:pt x="10831" y="7650"/>
                </a:cubicBezTo>
                <a:cubicBezTo>
                  <a:pt x="10834" y="7663"/>
                  <a:pt x="10834" y="7659"/>
                  <a:pt x="10843" y="7658"/>
                </a:cubicBezTo>
                <a:cubicBezTo>
                  <a:pt x="10843" y="7659"/>
                  <a:pt x="10843" y="7660"/>
                  <a:pt x="10843" y="7661"/>
                </a:cubicBezTo>
                <a:cubicBezTo>
                  <a:pt x="10841" y="7665"/>
                  <a:pt x="10839" y="7670"/>
                  <a:pt x="10837" y="7674"/>
                </a:cubicBezTo>
                <a:cubicBezTo>
                  <a:pt x="10836" y="7676"/>
                  <a:pt x="10836" y="7677"/>
                  <a:pt x="10836" y="7679"/>
                </a:cubicBezTo>
                <a:cubicBezTo>
                  <a:pt x="10840" y="7682"/>
                  <a:pt x="10845" y="7686"/>
                  <a:pt x="10849" y="7690"/>
                </a:cubicBezTo>
                <a:cubicBezTo>
                  <a:pt x="10847" y="7696"/>
                  <a:pt x="10845" y="7700"/>
                  <a:pt x="10843" y="7707"/>
                </a:cubicBezTo>
                <a:cubicBezTo>
                  <a:pt x="10845" y="7710"/>
                  <a:pt x="10847" y="7714"/>
                  <a:pt x="10849" y="7717"/>
                </a:cubicBezTo>
                <a:cubicBezTo>
                  <a:pt x="10853" y="7718"/>
                  <a:pt x="10857" y="7719"/>
                  <a:pt x="10862" y="7720"/>
                </a:cubicBezTo>
                <a:cubicBezTo>
                  <a:pt x="10862" y="7724"/>
                  <a:pt x="10862" y="7727"/>
                  <a:pt x="10862" y="7732"/>
                </a:cubicBezTo>
                <a:cubicBezTo>
                  <a:pt x="10864" y="7733"/>
                  <a:pt x="10867" y="7734"/>
                  <a:pt x="10870" y="7735"/>
                </a:cubicBezTo>
                <a:cubicBezTo>
                  <a:pt x="10875" y="7725"/>
                  <a:pt x="10878" y="7709"/>
                  <a:pt x="10881" y="7693"/>
                </a:cubicBezTo>
                <a:cubicBezTo>
                  <a:pt x="10908" y="7736"/>
                  <a:pt x="10932" y="7784"/>
                  <a:pt x="10960" y="7811"/>
                </a:cubicBezTo>
                <a:cubicBezTo>
                  <a:pt x="10994" y="7843"/>
                  <a:pt x="11028" y="7821"/>
                  <a:pt x="11036" y="7903"/>
                </a:cubicBezTo>
                <a:cubicBezTo>
                  <a:pt x="11042" y="7900"/>
                  <a:pt x="11049" y="7889"/>
                  <a:pt x="11056" y="7885"/>
                </a:cubicBezTo>
                <a:cubicBezTo>
                  <a:pt x="11060" y="7892"/>
                  <a:pt x="11063" y="7897"/>
                  <a:pt x="11066" y="7903"/>
                </a:cubicBezTo>
                <a:cubicBezTo>
                  <a:pt x="11063" y="7905"/>
                  <a:pt x="11063" y="7911"/>
                  <a:pt x="11060" y="7913"/>
                </a:cubicBezTo>
                <a:cubicBezTo>
                  <a:pt x="11060" y="7917"/>
                  <a:pt x="11057" y="7919"/>
                  <a:pt x="11056" y="7923"/>
                </a:cubicBezTo>
                <a:cubicBezTo>
                  <a:pt x="11064" y="7919"/>
                  <a:pt x="11073" y="7917"/>
                  <a:pt x="11081" y="7913"/>
                </a:cubicBezTo>
                <a:cubicBezTo>
                  <a:pt x="11086" y="7921"/>
                  <a:pt x="11091" y="7925"/>
                  <a:pt x="11096" y="7932"/>
                </a:cubicBezTo>
                <a:cubicBezTo>
                  <a:pt x="11098" y="7949"/>
                  <a:pt x="11094" y="7958"/>
                  <a:pt x="11091" y="7970"/>
                </a:cubicBezTo>
                <a:cubicBezTo>
                  <a:pt x="11101" y="7981"/>
                  <a:pt x="11112" y="7996"/>
                  <a:pt x="11121" y="8007"/>
                </a:cubicBezTo>
                <a:cubicBezTo>
                  <a:pt x="11126" y="8012"/>
                  <a:pt x="11130" y="8003"/>
                  <a:pt x="11137" y="7997"/>
                </a:cubicBezTo>
                <a:cubicBezTo>
                  <a:pt x="11145" y="8001"/>
                  <a:pt x="11174" y="8162"/>
                  <a:pt x="11172" y="8175"/>
                </a:cubicBezTo>
                <a:cubicBezTo>
                  <a:pt x="11172" y="8176"/>
                  <a:pt x="11172" y="8177"/>
                  <a:pt x="11172" y="8179"/>
                </a:cubicBezTo>
                <a:cubicBezTo>
                  <a:pt x="11169" y="8179"/>
                  <a:pt x="11166" y="8179"/>
                  <a:pt x="11164" y="8179"/>
                </a:cubicBezTo>
                <a:cubicBezTo>
                  <a:pt x="11162" y="8181"/>
                  <a:pt x="11161" y="8183"/>
                  <a:pt x="11160" y="8185"/>
                </a:cubicBezTo>
                <a:cubicBezTo>
                  <a:pt x="11159" y="8185"/>
                  <a:pt x="11158" y="8185"/>
                  <a:pt x="11156" y="8185"/>
                </a:cubicBezTo>
                <a:cubicBezTo>
                  <a:pt x="11154" y="8189"/>
                  <a:pt x="11154" y="8190"/>
                  <a:pt x="11151" y="8194"/>
                </a:cubicBezTo>
                <a:cubicBezTo>
                  <a:pt x="11156" y="8221"/>
                  <a:pt x="11152" y="8239"/>
                  <a:pt x="11137" y="8251"/>
                </a:cubicBezTo>
                <a:cubicBezTo>
                  <a:pt x="11137" y="8261"/>
                  <a:pt x="11137" y="8268"/>
                  <a:pt x="11137" y="8278"/>
                </a:cubicBezTo>
                <a:cubicBezTo>
                  <a:pt x="11140" y="8282"/>
                  <a:pt x="11144" y="8285"/>
                  <a:pt x="11147" y="8288"/>
                </a:cubicBezTo>
                <a:cubicBezTo>
                  <a:pt x="11153" y="8288"/>
                  <a:pt x="11156" y="8288"/>
                  <a:pt x="11162" y="8288"/>
                </a:cubicBezTo>
                <a:cubicBezTo>
                  <a:pt x="11162" y="8286"/>
                  <a:pt x="11163" y="8284"/>
                  <a:pt x="11164" y="8282"/>
                </a:cubicBezTo>
                <a:cubicBezTo>
                  <a:pt x="11165" y="8282"/>
                  <a:pt x="11167" y="8282"/>
                  <a:pt x="11169" y="8282"/>
                </a:cubicBezTo>
                <a:cubicBezTo>
                  <a:pt x="11177" y="8256"/>
                  <a:pt x="11186" y="8226"/>
                  <a:pt x="11204" y="8216"/>
                </a:cubicBezTo>
                <a:cubicBezTo>
                  <a:pt x="11207" y="8202"/>
                  <a:pt x="11205" y="8197"/>
                  <a:pt x="11204" y="8179"/>
                </a:cubicBezTo>
                <a:cubicBezTo>
                  <a:pt x="11207" y="8172"/>
                  <a:pt x="11211" y="8167"/>
                  <a:pt x="11214" y="8163"/>
                </a:cubicBezTo>
                <a:cubicBezTo>
                  <a:pt x="11219" y="8159"/>
                  <a:pt x="11224" y="8156"/>
                  <a:pt x="11233" y="8157"/>
                </a:cubicBezTo>
                <a:cubicBezTo>
                  <a:pt x="11234" y="8156"/>
                  <a:pt x="11234" y="8154"/>
                  <a:pt x="11234" y="8152"/>
                </a:cubicBezTo>
                <a:cubicBezTo>
                  <a:pt x="11236" y="8152"/>
                  <a:pt x="11237" y="8151"/>
                  <a:pt x="11239" y="8151"/>
                </a:cubicBezTo>
                <a:cubicBezTo>
                  <a:pt x="11242" y="8146"/>
                  <a:pt x="11242" y="8137"/>
                  <a:pt x="11244" y="8132"/>
                </a:cubicBezTo>
                <a:cubicBezTo>
                  <a:pt x="11238" y="8115"/>
                  <a:pt x="11239" y="8103"/>
                  <a:pt x="11244" y="8085"/>
                </a:cubicBezTo>
                <a:cubicBezTo>
                  <a:pt x="11230" y="8071"/>
                  <a:pt x="11217" y="8051"/>
                  <a:pt x="11204" y="8038"/>
                </a:cubicBezTo>
                <a:cubicBezTo>
                  <a:pt x="11204" y="8007"/>
                  <a:pt x="11212" y="7968"/>
                  <a:pt x="11225" y="7948"/>
                </a:cubicBezTo>
                <a:cubicBezTo>
                  <a:pt x="11229" y="7945"/>
                  <a:pt x="11233" y="7941"/>
                  <a:pt x="11237" y="7942"/>
                </a:cubicBezTo>
                <a:cubicBezTo>
                  <a:pt x="11236" y="7980"/>
                  <a:pt x="11270" y="7961"/>
                  <a:pt x="11283" y="7979"/>
                </a:cubicBezTo>
                <a:cubicBezTo>
                  <a:pt x="11290" y="7989"/>
                  <a:pt x="11284" y="8002"/>
                  <a:pt x="11288" y="8016"/>
                </a:cubicBezTo>
                <a:cubicBezTo>
                  <a:pt x="11296" y="8026"/>
                  <a:pt x="11306" y="8035"/>
                  <a:pt x="11314" y="8044"/>
                </a:cubicBezTo>
                <a:cubicBezTo>
                  <a:pt x="11315" y="8041"/>
                  <a:pt x="11315" y="8037"/>
                  <a:pt x="11316" y="8033"/>
                </a:cubicBezTo>
                <a:cubicBezTo>
                  <a:pt x="11317" y="8035"/>
                  <a:pt x="11319" y="8037"/>
                  <a:pt x="11320" y="8038"/>
                </a:cubicBezTo>
                <a:cubicBezTo>
                  <a:pt x="11323" y="8020"/>
                  <a:pt x="11327" y="8001"/>
                  <a:pt x="11330" y="7983"/>
                </a:cubicBezTo>
                <a:cubicBezTo>
                  <a:pt x="11287" y="7905"/>
                  <a:pt x="11236" y="7837"/>
                  <a:pt x="11169" y="7805"/>
                </a:cubicBezTo>
                <a:cubicBezTo>
                  <a:pt x="11167" y="7800"/>
                  <a:pt x="11160" y="7791"/>
                  <a:pt x="11158" y="7786"/>
                </a:cubicBezTo>
                <a:cubicBezTo>
                  <a:pt x="11165" y="7775"/>
                  <a:pt x="11169" y="7763"/>
                  <a:pt x="11178" y="7757"/>
                </a:cubicBezTo>
                <a:cubicBezTo>
                  <a:pt x="11178" y="7753"/>
                  <a:pt x="11179" y="7752"/>
                  <a:pt x="11178" y="7747"/>
                </a:cubicBezTo>
                <a:cubicBezTo>
                  <a:pt x="11168" y="7718"/>
                  <a:pt x="11107" y="7755"/>
                  <a:pt x="11088" y="7720"/>
                </a:cubicBezTo>
                <a:cubicBezTo>
                  <a:pt x="11070" y="7687"/>
                  <a:pt x="11041" y="7632"/>
                  <a:pt x="11031" y="7589"/>
                </a:cubicBezTo>
                <a:cubicBezTo>
                  <a:pt x="11025" y="7562"/>
                  <a:pt x="11031" y="7526"/>
                  <a:pt x="11022" y="7505"/>
                </a:cubicBezTo>
                <a:cubicBezTo>
                  <a:pt x="11016" y="7488"/>
                  <a:pt x="11002" y="7488"/>
                  <a:pt x="10992" y="7477"/>
                </a:cubicBezTo>
                <a:cubicBezTo>
                  <a:pt x="10959" y="7442"/>
                  <a:pt x="10941" y="7418"/>
                  <a:pt x="10932" y="7337"/>
                </a:cubicBezTo>
                <a:cubicBezTo>
                  <a:pt x="10937" y="7324"/>
                  <a:pt x="10941" y="7324"/>
                  <a:pt x="10945" y="7308"/>
                </a:cubicBezTo>
                <a:cubicBezTo>
                  <a:pt x="10938" y="7293"/>
                  <a:pt x="10936" y="7290"/>
                  <a:pt x="10936" y="7261"/>
                </a:cubicBezTo>
                <a:cubicBezTo>
                  <a:pt x="10933" y="7260"/>
                  <a:pt x="10930" y="7262"/>
                  <a:pt x="10926" y="7261"/>
                </a:cubicBezTo>
                <a:cubicBezTo>
                  <a:pt x="10928" y="7253"/>
                  <a:pt x="10929" y="7244"/>
                  <a:pt x="10931" y="7236"/>
                </a:cubicBezTo>
                <a:cubicBezTo>
                  <a:pt x="10942" y="7225"/>
                  <a:pt x="10962" y="7212"/>
                  <a:pt x="10980" y="7210"/>
                </a:cubicBezTo>
                <a:cubicBezTo>
                  <a:pt x="10980" y="7210"/>
                  <a:pt x="10980" y="7210"/>
                  <a:pt x="10980" y="7209"/>
                </a:cubicBezTo>
                <a:cubicBezTo>
                  <a:pt x="10983" y="7209"/>
                  <a:pt x="10984" y="7206"/>
                  <a:pt x="10987" y="7206"/>
                </a:cubicBezTo>
                <a:cubicBezTo>
                  <a:pt x="10987" y="7201"/>
                  <a:pt x="10987" y="7197"/>
                  <a:pt x="10987" y="7192"/>
                </a:cubicBezTo>
                <a:cubicBezTo>
                  <a:pt x="10997" y="7193"/>
                  <a:pt x="11002" y="7194"/>
                  <a:pt x="11015" y="7192"/>
                </a:cubicBezTo>
                <a:cubicBezTo>
                  <a:pt x="11017" y="7199"/>
                  <a:pt x="11018" y="7204"/>
                  <a:pt x="11020" y="7210"/>
                </a:cubicBezTo>
                <a:cubicBezTo>
                  <a:pt x="11016" y="7221"/>
                  <a:pt x="11014" y="7228"/>
                  <a:pt x="11005" y="7230"/>
                </a:cubicBezTo>
                <a:cubicBezTo>
                  <a:pt x="11010" y="7269"/>
                  <a:pt x="11019" y="7301"/>
                  <a:pt x="11025" y="7333"/>
                </a:cubicBezTo>
                <a:cubicBezTo>
                  <a:pt x="11028" y="7331"/>
                  <a:pt x="11029" y="7328"/>
                  <a:pt x="11031" y="7326"/>
                </a:cubicBezTo>
                <a:cubicBezTo>
                  <a:pt x="11031" y="7326"/>
                  <a:pt x="11031" y="7327"/>
                  <a:pt x="11031" y="7327"/>
                </a:cubicBezTo>
                <a:cubicBezTo>
                  <a:pt x="11039" y="7320"/>
                  <a:pt x="11046" y="7309"/>
                  <a:pt x="11052" y="7299"/>
                </a:cubicBezTo>
                <a:cubicBezTo>
                  <a:pt x="11055" y="7284"/>
                  <a:pt x="11058" y="7270"/>
                  <a:pt x="11060" y="7255"/>
                </a:cubicBezTo>
                <a:cubicBezTo>
                  <a:pt x="11105" y="7296"/>
                  <a:pt x="11083" y="7368"/>
                  <a:pt x="11127" y="7401"/>
                </a:cubicBezTo>
                <a:cubicBezTo>
                  <a:pt x="11122" y="7401"/>
                  <a:pt x="11116" y="7401"/>
                  <a:pt x="11112" y="7401"/>
                </a:cubicBezTo>
                <a:cubicBezTo>
                  <a:pt x="11113" y="7404"/>
                  <a:pt x="11114" y="7405"/>
                  <a:pt x="11115" y="7407"/>
                </a:cubicBezTo>
                <a:cubicBezTo>
                  <a:pt x="11112" y="7407"/>
                  <a:pt x="11109" y="7407"/>
                  <a:pt x="11107" y="7407"/>
                </a:cubicBezTo>
                <a:cubicBezTo>
                  <a:pt x="11123" y="7453"/>
                  <a:pt x="11149" y="7478"/>
                  <a:pt x="11167" y="7519"/>
                </a:cubicBezTo>
                <a:cubicBezTo>
                  <a:pt x="11172" y="7530"/>
                  <a:pt x="11176" y="7507"/>
                  <a:pt x="11187" y="7512"/>
                </a:cubicBezTo>
                <a:cubicBezTo>
                  <a:pt x="11188" y="7512"/>
                  <a:pt x="11225" y="7535"/>
                  <a:pt x="11228" y="7538"/>
                </a:cubicBezTo>
                <a:cubicBezTo>
                  <a:pt x="11238" y="7553"/>
                  <a:pt x="11247" y="7580"/>
                  <a:pt x="11258" y="7595"/>
                </a:cubicBezTo>
                <a:cubicBezTo>
                  <a:pt x="11286" y="7633"/>
                  <a:pt x="11314" y="7660"/>
                  <a:pt x="11344" y="7698"/>
                </a:cubicBezTo>
                <a:cubicBezTo>
                  <a:pt x="11350" y="7712"/>
                  <a:pt x="11357" y="7721"/>
                  <a:pt x="11364" y="7735"/>
                </a:cubicBezTo>
                <a:cubicBezTo>
                  <a:pt x="11373" y="7744"/>
                  <a:pt x="11385" y="7756"/>
                  <a:pt x="11394" y="7764"/>
                </a:cubicBezTo>
                <a:cubicBezTo>
                  <a:pt x="11395" y="7785"/>
                  <a:pt x="11393" y="7788"/>
                  <a:pt x="11385" y="7792"/>
                </a:cubicBezTo>
                <a:cubicBezTo>
                  <a:pt x="11383" y="7809"/>
                  <a:pt x="11385" y="7882"/>
                  <a:pt x="11385" y="7885"/>
                </a:cubicBezTo>
                <a:cubicBezTo>
                  <a:pt x="11381" y="7899"/>
                  <a:pt x="11378" y="7910"/>
                  <a:pt x="11374" y="7923"/>
                </a:cubicBezTo>
                <a:cubicBezTo>
                  <a:pt x="11379" y="7936"/>
                  <a:pt x="11384" y="7947"/>
                  <a:pt x="11385" y="7970"/>
                </a:cubicBezTo>
                <a:cubicBezTo>
                  <a:pt x="11394" y="7989"/>
                  <a:pt x="11411" y="8005"/>
                  <a:pt x="11420" y="8025"/>
                </a:cubicBezTo>
                <a:cubicBezTo>
                  <a:pt x="11421" y="8037"/>
                  <a:pt x="11422" y="8051"/>
                  <a:pt x="11424" y="8063"/>
                </a:cubicBezTo>
                <a:cubicBezTo>
                  <a:pt x="11433" y="8104"/>
                  <a:pt x="11458" y="8137"/>
                  <a:pt x="11486" y="8129"/>
                </a:cubicBezTo>
                <a:cubicBezTo>
                  <a:pt x="11487" y="8133"/>
                  <a:pt x="11488" y="8142"/>
                  <a:pt x="11490" y="8146"/>
                </a:cubicBezTo>
                <a:cubicBezTo>
                  <a:pt x="11484" y="8152"/>
                  <a:pt x="11478" y="8157"/>
                  <a:pt x="11471" y="8159"/>
                </a:cubicBezTo>
                <a:cubicBezTo>
                  <a:pt x="11472" y="8160"/>
                  <a:pt x="11472" y="8160"/>
                  <a:pt x="11472" y="8161"/>
                </a:cubicBezTo>
                <a:cubicBezTo>
                  <a:pt x="11469" y="8161"/>
                  <a:pt x="11468" y="8164"/>
                  <a:pt x="11465" y="8165"/>
                </a:cubicBezTo>
                <a:cubicBezTo>
                  <a:pt x="11473" y="8190"/>
                  <a:pt x="11482" y="8209"/>
                  <a:pt x="11490" y="8231"/>
                </a:cubicBezTo>
                <a:cubicBezTo>
                  <a:pt x="11513" y="8228"/>
                  <a:pt x="11539" y="8207"/>
                  <a:pt x="11566" y="8222"/>
                </a:cubicBezTo>
                <a:cubicBezTo>
                  <a:pt x="11583" y="8231"/>
                  <a:pt x="11589" y="8257"/>
                  <a:pt x="11611" y="8260"/>
                </a:cubicBezTo>
                <a:cubicBezTo>
                  <a:pt x="11607" y="8271"/>
                  <a:pt x="11603" y="8273"/>
                  <a:pt x="11599" y="8277"/>
                </a:cubicBezTo>
                <a:cubicBezTo>
                  <a:pt x="11583" y="8281"/>
                  <a:pt x="11566" y="8250"/>
                  <a:pt x="11547" y="8245"/>
                </a:cubicBezTo>
                <a:cubicBezTo>
                  <a:pt x="11539" y="8242"/>
                  <a:pt x="11533" y="8254"/>
                  <a:pt x="11517" y="8253"/>
                </a:cubicBezTo>
                <a:cubicBezTo>
                  <a:pt x="11516" y="8255"/>
                  <a:pt x="11515" y="8257"/>
                  <a:pt x="11515" y="8259"/>
                </a:cubicBezTo>
                <a:cubicBezTo>
                  <a:pt x="11513" y="8259"/>
                  <a:pt x="11513" y="8260"/>
                  <a:pt x="11510" y="8260"/>
                </a:cubicBezTo>
                <a:cubicBezTo>
                  <a:pt x="11506" y="8276"/>
                  <a:pt x="11499" y="8291"/>
                  <a:pt x="11495" y="8307"/>
                </a:cubicBezTo>
                <a:cubicBezTo>
                  <a:pt x="11503" y="8326"/>
                  <a:pt x="11512" y="8343"/>
                  <a:pt x="11521" y="8362"/>
                </a:cubicBezTo>
                <a:cubicBezTo>
                  <a:pt x="11524" y="8380"/>
                  <a:pt x="11515" y="8400"/>
                  <a:pt x="11515" y="8419"/>
                </a:cubicBezTo>
                <a:cubicBezTo>
                  <a:pt x="11520" y="8426"/>
                  <a:pt x="11526" y="8431"/>
                  <a:pt x="11530" y="8438"/>
                </a:cubicBezTo>
                <a:cubicBezTo>
                  <a:pt x="11532" y="8435"/>
                  <a:pt x="11534" y="8432"/>
                  <a:pt x="11535" y="8430"/>
                </a:cubicBezTo>
                <a:cubicBezTo>
                  <a:pt x="11535" y="8430"/>
                  <a:pt x="11536" y="8431"/>
                  <a:pt x="11537" y="8432"/>
                </a:cubicBezTo>
                <a:cubicBezTo>
                  <a:pt x="11539" y="8429"/>
                  <a:pt x="11541" y="8425"/>
                  <a:pt x="11543" y="8421"/>
                </a:cubicBezTo>
                <a:cubicBezTo>
                  <a:pt x="11552" y="8419"/>
                  <a:pt x="11564" y="8455"/>
                  <a:pt x="11566" y="8475"/>
                </a:cubicBezTo>
                <a:cubicBezTo>
                  <a:pt x="11567" y="8472"/>
                  <a:pt x="11570" y="8469"/>
                  <a:pt x="11572" y="8466"/>
                </a:cubicBezTo>
                <a:cubicBezTo>
                  <a:pt x="11572" y="8466"/>
                  <a:pt x="11572" y="8467"/>
                  <a:pt x="11572" y="8468"/>
                </a:cubicBezTo>
                <a:cubicBezTo>
                  <a:pt x="11574" y="8465"/>
                  <a:pt x="11576" y="8461"/>
                  <a:pt x="11578" y="8457"/>
                </a:cubicBezTo>
                <a:cubicBezTo>
                  <a:pt x="11589" y="8449"/>
                  <a:pt x="11596" y="8455"/>
                  <a:pt x="11606" y="8466"/>
                </a:cubicBezTo>
                <a:cubicBezTo>
                  <a:pt x="11606" y="8460"/>
                  <a:pt x="11605" y="8458"/>
                  <a:pt x="11605" y="8454"/>
                </a:cubicBezTo>
                <a:cubicBezTo>
                  <a:pt x="11607" y="8456"/>
                  <a:pt x="11609" y="8457"/>
                  <a:pt x="11611" y="8460"/>
                </a:cubicBezTo>
                <a:cubicBezTo>
                  <a:pt x="11612" y="8460"/>
                  <a:pt x="11612" y="8459"/>
                  <a:pt x="11613" y="8460"/>
                </a:cubicBezTo>
                <a:lnTo>
                  <a:pt x="11613" y="8458"/>
                </a:lnTo>
                <a:cubicBezTo>
                  <a:pt x="11611" y="8405"/>
                  <a:pt x="11601" y="8386"/>
                  <a:pt x="11593" y="8347"/>
                </a:cubicBezTo>
                <a:cubicBezTo>
                  <a:pt x="11593" y="8345"/>
                  <a:pt x="11593" y="8343"/>
                  <a:pt x="11593" y="8341"/>
                </a:cubicBezTo>
                <a:cubicBezTo>
                  <a:pt x="11597" y="8345"/>
                  <a:pt x="11601" y="8350"/>
                  <a:pt x="11606" y="8353"/>
                </a:cubicBezTo>
                <a:cubicBezTo>
                  <a:pt x="11605" y="8355"/>
                  <a:pt x="11607" y="8360"/>
                  <a:pt x="11606" y="8362"/>
                </a:cubicBezTo>
                <a:cubicBezTo>
                  <a:pt x="11610" y="8365"/>
                  <a:pt x="11613" y="8369"/>
                  <a:pt x="11617" y="8372"/>
                </a:cubicBezTo>
                <a:cubicBezTo>
                  <a:pt x="11618" y="8368"/>
                  <a:pt x="11621" y="8369"/>
                  <a:pt x="11622" y="8366"/>
                </a:cubicBezTo>
                <a:cubicBezTo>
                  <a:pt x="11627" y="8352"/>
                  <a:pt x="11631" y="8347"/>
                  <a:pt x="11643" y="8347"/>
                </a:cubicBezTo>
                <a:cubicBezTo>
                  <a:pt x="11638" y="8335"/>
                  <a:pt x="11632" y="8345"/>
                  <a:pt x="11633" y="8327"/>
                </a:cubicBezTo>
                <a:cubicBezTo>
                  <a:pt x="11628" y="8329"/>
                  <a:pt x="11627" y="8326"/>
                  <a:pt x="11622" y="8327"/>
                </a:cubicBezTo>
                <a:cubicBezTo>
                  <a:pt x="11618" y="8310"/>
                  <a:pt x="11615" y="8298"/>
                  <a:pt x="11609" y="8285"/>
                </a:cubicBezTo>
                <a:cubicBezTo>
                  <a:pt x="11616" y="8283"/>
                  <a:pt x="11624" y="8282"/>
                  <a:pt x="11631" y="8278"/>
                </a:cubicBezTo>
                <a:cubicBezTo>
                  <a:pt x="11643" y="8280"/>
                  <a:pt x="11654" y="8308"/>
                  <a:pt x="11657" y="8325"/>
                </a:cubicBezTo>
                <a:cubicBezTo>
                  <a:pt x="11659" y="8327"/>
                  <a:pt x="11661" y="8323"/>
                  <a:pt x="11662" y="8325"/>
                </a:cubicBezTo>
                <a:cubicBezTo>
                  <a:pt x="11665" y="8321"/>
                  <a:pt x="11669" y="8321"/>
                  <a:pt x="11672" y="8317"/>
                </a:cubicBezTo>
                <a:cubicBezTo>
                  <a:pt x="11670" y="8309"/>
                  <a:pt x="11669" y="8301"/>
                  <a:pt x="11667" y="8294"/>
                </a:cubicBezTo>
                <a:lnTo>
                  <a:pt x="11672" y="8279"/>
                </a:lnTo>
                <a:cubicBezTo>
                  <a:pt x="11670" y="8274"/>
                  <a:pt x="11669" y="8268"/>
                  <a:pt x="11668" y="8263"/>
                </a:cubicBezTo>
                <a:cubicBezTo>
                  <a:pt x="11670" y="8262"/>
                  <a:pt x="11672" y="8254"/>
                  <a:pt x="11674" y="8253"/>
                </a:cubicBezTo>
                <a:cubicBezTo>
                  <a:pt x="11673" y="8229"/>
                  <a:pt x="11602" y="8168"/>
                  <a:pt x="11584" y="8161"/>
                </a:cubicBezTo>
                <a:cubicBezTo>
                  <a:pt x="11590" y="8157"/>
                  <a:pt x="11596" y="8153"/>
                  <a:pt x="11601" y="8147"/>
                </a:cubicBezTo>
                <a:cubicBezTo>
                  <a:pt x="11601" y="8147"/>
                  <a:pt x="11601" y="8146"/>
                  <a:pt x="11601" y="8146"/>
                </a:cubicBezTo>
                <a:cubicBezTo>
                  <a:pt x="11603" y="8145"/>
                  <a:pt x="11606" y="8144"/>
                  <a:pt x="11607" y="8141"/>
                </a:cubicBezTo>
                <a:cubicBezTo>
                  <a:pt x="11605" y="8130"/>
                  <a:pt x="11601" y="8118"/>
                  <a:pt x="11598" y="8106"/>
                </a:cubicBezTo>
                <a:cubicBezTo>
                  <a:pt x="11602" y="8103"/>
                  <a:pt x="11606" y="8098"/>
                  <a:pt x="11611" y="8100"/>
                </a:cubicBezTo>
                <a:cubicBezTo>
                  <a:pt x="11611" y="8100"/>
                  <a:pt x="11611" y="8099"/>
                  <a:pt x="11611" y="8098"/>
                </a:cubicBezTo>
                <a:cubicBezTo>
                  <a:pt x="11613" y="8098"/>
                  <a:pt x="11615" y="8093"/>
                  <a:pt x="11618" y="8094"/>
                </a:cubicBezTo>
                <a:cubicBezTo>
                  <a:pt x="11603" y="8062"/>
                  <a:pt x="11592" y="8023"/>
                  <a:pt x="11582" y="7983"/>
                </a:cubicBezTo>
                <a:cubicBezTo>
                  <a:pt x="11583" y="7964"/>
                  <a:pt x="11582" y="7955"/>
                  <a:pt x="11587" y="7944"/>
                </a:cubicBezTo>
                <a:cubicBezTo>
                  <a:pt x="11585" y="7939"/>
                  <a:pt x="11585" y="7941"/>
                  <a:pt x="11582" y="7936"/>
                </a:cubicBezTo>
                <a:cubicBezTo>
                  <a:pt x="11588" y="7931"/>
                  <a:pt x="11591" y="7922"/>
                  <a:pt x="11595" y="7913"/>
                </a:cubicBezTo>
                <a:cubicBezTo>
                  <a:pt x="11595" y="7913"/>
                  <a:pt x="11595" y="7913"/>
                  <a:pt x="11596" y="7913"/>
                </a:cubicBezTo>
                <a:cubicBezTo>
                  <a:pt x="11596" y="7915"/>
                  <a:pt x="11598" y="7921"/>
                  <a:pt x="11600" y="7926"/>
                </a:cubicBezTo>
                <a:cubicBezTo>
                  <a:pt x="11599" y="7926"/>
                  <a:pt x="11598" y="7926"/>
                  <a:pt x="11598" y="7926"/>
                </a:cubicBezTo>
                <a:cubicBezTo>
                  <a:pt x="11598" y="7929"/>
                  <a:pt x="11600" y="7929"/>
                  <a:pt x="11600" y="7931"/>
                </a:cubicBezTo>
                <a:cubicBezTo>
                  <a:pt x="11600" y="7931"/>
                  <a:pt x="11601" y="7932"/>
                  <a:pt x="11601" y="7932"/>
                </a:cubicBezTo>
                <a:cubicBezTo>
                  <a:pt x="11599" y="7935"/>
                  <a:pt x="11593" y="7930"/>
                  <a:pt x="11591" y="7932"/>
                </a:cubicBezTo>
                <a:cubicBezTo>
                  <a:pt x="11600" y="7964"/>
                  <a:pt x="11625" y="7960"/>
                  <a:pt x="11626" y="8007"/>
                </a:cubicBezTo>
                <a:cubicBezTo>
                  <a:pt x="11633" y="8009"/>
                  <a:pt x="11640" y="8015"/>
                  <a:pt x="11647" y="8016"/>
                </a:cubicBezTo>
                <a:cubicBezTo>
                  <a:pt x="11645" y="8012"/>
                  <a:pt x="11644" y="8008"/>
                  <a:pt x="11642" y="8004"/>
                </a:cubicBezTo>
                <a:cubicBezTo>
                  <a:pt x="11646" y="8006"/>
                  <a:pt x="11649" y="8008"/>
                  <a:pt x="11653" y="8009"/>
                </a:cubicBezTo>
                <a:cubicBezTo>
                  <a:pt x="11647" y="7997"/>
                  <a:pt x="11643" y="7988"/>
                  <a:pt x="11639" y="7977"/>
                </a:cubicBezTo>
                <a:cubicBezTo>
                  <a:pt x="11647" y="7983"/>
                  <a:pt x="11653" y="7993"/>
                  <a:pt x="11657" y="8007"/>
                </a:cubicBezTo>
                <a:cubicBezTo>
                  <a:pt x="11660" y="8006"/>
                  <a:pt x="11664" y="8008"/>
                  <a:pt x="11667" y="8007"/>
                </a:cubicBezTo>
                <a:cubicBezTo>
                  <a:pt x="11667" y="8005"/>
                  <a:pt x="11667" y="8003"/>
                  <a:pt x="11667" y="8001"/>
                </a:cubicBezTo>
                <a:cubicBezTo>
                  <a:pt x="11669" y="8001"/>
                  <a:pt x="11672" y="8001"/>
                  <a:pt x="11674" y="8001"/>
                </a:cubicBezTo>
                <a:cubicBezTo>
                  <a:pt x="11674" y="7998"/>
                  <a:pt x="11673" y="7995"/>
                  <a:pt x="11674" y="7992"/>
                </a:cubicBezTo>
                <a:cubicBezTo>
                  <a:pt x="11668" y="7976"/>
                  <a:pt x="11663" y="7971"/>
                  <a:pt x="11658" y="7954"/>
                </a:cubicBezTo>
                <a:cubicBezTo>
                  <a:pt x="11658" y="7954"/>
                  <a:pt x="11658" y="7953"/>
                  <a:pt x="11659" y="7953"/>
                </a:cubicBezTo>
                <a:cubicBezTo>
                  <a:pt x="11665" y="7956"/>
                  <a:pt x="11669" y="7959"/>
                  <a:pt x="11672" y="7970"/>
                </a:cubicBezTo>
                <a:cubicBezTo>
                  <a:pt x="11675" y="7976"/>
                  <a:pt x="11683" y="7983"/>
                  <a:pt x="11687" y="7989"/>
                </a:cubicBezTo>
                <a:cubicBezTo>
                  <a:pt x="11680" y="7972"/>
                  <a:pt x="11671" y="7959"/>
                  <a:pt x="11663" y="7944"/>
                </a:cubicBezTo>
                <a:cubicBezTo>
                  <a:pt x="11671" y="7947"/>
                  <a:pt x="11675" y="7952"/>
                  <a:pt x="11679" y="7964"/>
                </a:cubicBezTo>
                <a:cubicBezTo>
                  <a:pt x="11682" y="7970"/>
                  <a:pt x="11689" y="7977"/>
                  <a:pt x="11693" y="7983"/>
                </a:cubicBezTo>
                <a:cubicBezTo>
                  <a:pt x="11680" y="7955"/>
                  <a:pt x="11663" y="7937"/>
                  <a:pt x="11654" y="7901"/>
                </a:cubicBezTo>
                <a:cubicBezTo>
                  <a:pt x="11663" y="7898"/>
                  <a:pt x="11672" y="7893"/>
                  <a:pt x="11676" y="7889"/>
                </a:cubicBezTo>
                <a:cubicBezTo>
                  <a:pt x="11680" y="7887"/>
                  <a:pt x="11687" y="7878"/>
                  <a:pt x="11693" y="7867"/>
                </a:cubicBezTo>
                <a:cubicBezTo>
                  <a:pt x="11700" y="7869"/>
                  <a:pt x="11700" y="7874"/>
                  <a:pt x="11702" y="7885"/>
                </a:cubicBezTo>
                <a:cubicBezTo>
                  <a:pt x="11719" y="7885"/>
                  <a:pt x="11727" y="7877"/>
                  <a:pt x="11738" y="7866"/>
                </a:cubicBezTo>
                <a:cubicBezTo>
                  <a:pt x="11747" y="7908"/>
                  <a:pt x="11795" y="7860"/>
                  <a:pt x="11798" y="7913"/>
                </a:cubicBezTo>
                <a:cubicBezTo>
                  <a:pt x="11800" y="7910"/>
                  <a:pt x="11801" y="7907"/>
                  <a:pt x="11803" y="7903"/>
                </a:cubicBezTo>
                <a:cubicBezTo>
                  <a:pt x="11803" y="7905"/>
                  <a:pt x="11804" y="7905"/>
                  <a:pt x="11805" y="7907"/>
                </a:cubicBezTo>
                <a:cubicBezTo>
                  <a:pt x="11805" y="7906"/>
                  <a:pt x="11805" y="7905"/>
                  <a:pt x="11806" y="7905"/>
                </a:cubicBezTo>
                <a:cubicBezTo>
                  <a:pt x="11814" y="7912"/>
                  <a:pt x="11831" y="7918"/>
                  <a:pt x="11839" y="7923"/>
                </a:cubicBezTo>
                <a:cubicBezTo>
                  <a:pt x="11832" y="7930"/>
                  <a:pt x="11826" y="7944"/>
                  <a:pt x="11819" y="7952"/>
                </a:cubicBezTo>
                <a:cubicBezTo>
                  <a:pt x="11817" y="7965"/>
                  <a:pt x="11815" y="7976"/>
                  <a:pt x="11814" y="7989"/>
                </a:cubicBezTo>
                <a:cubicBezTo>
                  <a:pt x="11812" y="7990"/>
                  <a:pt x="11816" y="7997"/>
                  <a:pt x="11814" y="7997"/>
                </a:cubicBezTo>
                <a:cubicBezTo>
                  <a:pt x="11811" y="8026"/>
                  <a:pt x="11809" y="8049"/>
                  <a:pt x="11808" y="8073"/>
                </a:cubicBezTo>
                <a:cubicBezTo>
                  <a:pt x="11827" y="8068"/>
                  <a:pt x="11845" y="8059"/>
                  <a:pt x="11864" y="8054"/>
                </a:cubicBezTo>
                <a:cubicBezTo>
                  <a:pt x="11861" y="8066"/>
                  <a:pt x="11855" y="8078"/>
                  <a:pt x="11849" y="8082"/>
                </a:cubicBezTo>
                <a:cubicBezTo>
                  <a:pt x="11845" y="8089"/>
                  <a:pt x="11842" y="8094"/>
                  <a:pt x="11839" y="8100"/>
                </a:cubicBezTo>
                <a:cubicBezTo>
                  <a:pt x="11846" y="8103"/>
                  <a:pt x="11851" y="8110"/>
                  <a:pt x="11854" y="8120"/>
                </a:cubicBezTo>
                <a:cubicBezTo>
                  <a:pt x="11857" y="8129"/>
                  <a:pt x="11855" y="8129"/>
                  <a:pt x="11854" y="8147"/>
                </a:cubicBezTo>
                <a:cubicBezTo>
                  <a:pt x="11858" y="8147"/>
                  <a:pt x="11860" y="8147"/>
                  <a:pt x="11864" y="8147"/>
                </a:cubicBezTo>
                <a:cubicBezTo>
                  <a:pt x="11865" y="8151"/>
                  <a:pt x="11867" y="8154"/>
                  <a:pt x="11869" y="8157"/>
                </a:cubicBezTo>
                <a:cubicBezTo>
                  <a:pt x="11864" y="8167"/>
                  <a:pt x="11857" y="8172"/>
                  <a:pt x="11849" y="8175"/>
                </a:cubicBezTo>
                <a:cubicBezTo>
                  <a:pt x="11847" y="8185"/>
                  <a:pt x="11853" y="8195"/>
                  <a:pt x="11859" y="8204"/>
                </a:cubicBezTo>
                <a:cubicBezTo>
                  <a:pt x="11866" y="8222"/>
                  <a:pt x="11863" y="8218"/>
                  <a:pt x="11854" y="8231"/>
                </a:cubicBezTo>
                <a:cubicBezTo>
                  <a:pt x="11847" y="8230"/>
                  <a:pt x="11841" y="8220"/>
                  <a:pt x="11834" y="8212"/>
                </a:cubicBezTo>
                <a:cubicBezTo>
                  <a:pt x="11831" y="8222"/>
                  <a:pt x="11831" y="8232"/>
                  <a:pt x="11828" y="8241"/>
                </a:cubicBezTo>
                <a:cubicBezTo>
                  <a:pt x="11828" y="8247"/>
                  <a:pt x="11828" y="8254"/>
                  <a:pt x="11828" y="8260"/>
                </a:cubicBezTo>
                <a:cubicBezTo>
                  <a:pt x="11851" y="8265"/>
                  <a:pt x="11854" y="8278"/>
                  <a:pt x="11874" y="8288"/>
                </a:cubicBezTo>
                <a:cubicBezTo>
                  <a:pt x="11874" y="8312"/>
                  <a:pt x="11873" y="8336"/>
                  <a:pt x="11879" y="8353"/>
                </a:cubicBezTo>
                <a:cubicBezTo>
                  <a:pt x="11886" y="8361"/>
                  <a:pt x="11892" y="8373"/>
                  <a:pt x="11899" y="8382"/>
                </a:cubicBezTo>
                <a:cubicBezTo>
                  <a:pt x="11900" y="8385"/>
                  <a:pt x="11899" y="8388"/>
                  <a:pt x="11899" y="8391"/>
                </a:cubicBezTo>
                <a:cubicBezTo>
                  <a:pt x="11893" y="8395"/>
                  <a:pt x="11890" y="8395"/>
                  <a:pt x="11884" y="8400"/>
                </a:cubicBezTo>
                <a:cubicBezTo>
                  <a:pt x="11886" y="8404"/>
                  <a:pt x="11888" y="8414"/>
                  <a:pt x="11889" y="8419"/>
                </a:cubicBezTo>
                <a:cubicBezTo>
                  <a:pt x="11904" y="8421"/>
                  <a:pt x="11915" y="8416"/>
                  <a:pt x="11930" y="8419"/>
                </a:cubicBezTo>
                <a:cubicBezTo>
                  <a:pt x="11930" y="8421"/>
                  <a:pt x="11934" y="8426"/>
                  <a:pt x="11934" y="8428"/>
                </a:cubicBezTo>
                <a:cubicBezTo>
                  <a:pt x="11930" y="8436"/>
                  <a:pt x="11927" y="8435"/>
                  <a:pt x="11925" y="8448"/>
                </a:cubicBezTo>
                <a:cubicBezTo>
                  <a:pt x="11926" y="8454"/>
                  <a:pt x="11928" y="8459"/>
                  <a:pt x="11930" y="8466"/>
                </a:cubicBezTo>
                <a:cubicBezTo>
                  <a:pt x="11931" y="8466"/>
                  <a:pt x="11933" y="8465"/>
                  <a:pt x="11934" y="8466"/>
                </a:cubicBezTo>
                <a:cubicBezTo>
                  <a:pt x="11939" y="8457"/>
                  <a:pt x="11940" y="8456"/>
                  <a:pt x="11944" y="8448"/>
                </a:cubicBezTo>
                <a:cubicBezTo>
                  <a:pt x="11963" y="8446"/>
                  <a:pt x="11967" y="8454"/>
                  <a:pt x="11980" y="8466"/>
                </a:cubicBezTo>
                <a:cubicBezTo>
                  <a:pt x="11986" y="8471"/>
                  <a:pt x="11990" y="8457"/>
                  <a:pt x="11996" y="8448"/>
                </a:cubicBezTo>
                <a:cubicBezTo>
                  <a:pt x="12001" y="8472"/>
                  <a:pt x="12005" y="8498"/>
                  <a:pt x="12011" y="8522"/>
                </a:cubicBezTo>
                <a:cubicBezTo>
                  <a:pt x="12032" y="8534"/>
                  <a:pt x="12061" y="8513"/>
                  <a:pt x="12076" y="8530"/>
                </a:cubicBezTo>
                <a:cubicBezTo>
                  <a:pt x="12079" y="8530"/>
                  <a:pt x="12084" y="8523"/>
                  <a:pt x="12086" y="8522"/>
                </a:cubicBezTo>
                <a:cubicBezTo>
                  <a:pt x="12090" y="8493"/>
                  <a:pt x="12093" y="8467"/>
                  <a:pt x="12097" y="8438"/>
                </a:cubicBezTo>
                <a:cubicBezTo>
                  <a:pt x="12128" y="8431"/>
                  <a:pt x="12155" y="8449"/>
                  <a:pt x="12177" y="8475"/>
                </a:cubicBezTo>
                <a:cubicBezTo>
                  <a:pt x="12193" y="8494"/>
                  <a:pt x="12202" y="8529"/>
                  <a:pt x="12223" y="8540"/>
                </a:cubicBezTo>
                <a:cubicBezTo>
                  <a:pt x="12252" y="8557"/>
                  <a:pt x="12290" y="8530"/>
                  <a:pt x="12308" y="8522"/>
                </a:cubicBezTo>
                <a:cubicBezTo>
                  <a:pt x="12317" y="8489"/>
                  <a:pt x="12332" y="8483"/>
                  <a:pt x="12344" y="8457"/>
                </a:cubicBezTo>
                <a:cubicBezTo>
                  <a:pt x="12374" y="8458"/>
                  <a:pt x="12381" y="8478"/>
                  <a:pt x="12405" y="8484"/>
                </a:cubicBezTo>
                <a:cubicBezTo>
                  <a:pt x="12413" y="8468"/>
                  <a:pt x="12422" y="8457"/>
                  <a:pt x="12430" y="8438"/>
                </a:cubicBezTo>
                <a:cubicBezTo>
                  <a:pt x="12432" y="8438"/>
                  <a:pt x="12433" y="8438"/>
                  <a:pt x="12435" y="8438"/>
                </a:cubicBezTo>
                <a:cubicBezTo>
                  <a:pt x="12438" y="8445"/>
                  <a:pt x="12442" y="8450"/>
                  <a:pt x="12445" y="8457"/>
                </a:cubicBezTo>
                <a:cubicBezTo>
                  <a:pt x="12445" y="8462"/>
                  <a:pt x="12444" y="8470"/>
                  <a:pt x="12445" y="8475"/>
                </a:cubicBezTo>
                <a:cubicBezTo>
                  <a:pt x="12436" y="8492"/>
                  <a:pt x="12427" y="8503"/>
                  <a:pt x="12420" y="8522"/>
                </a:cubicBezTo>
                <a:cubicBezTo>
                  <a:pt x="12423" y="8534"/>
                  <a:pt x="12426" y="8547"/>
                  <a:pt x="12430" y="8559"/>
                </a:cubicBezTo>
                <a:cubicBezTo>
                  <a:pt x="12428" y="8582"/>
                  <a:pt x="12420" y="8598"/>
                  <a:pt x="12414" y="8616"/>
                </a:cubicBezTo>
                <a:cubicBezTo>
                  <a:pt x="12426" y="8645"/>
                  <a:pt x="12426" y="8672"/>
                  <a:pt x="12426" y="8701"/>
                </a:cubicBezTo>
                <a:cubicBezTo>
                  <a:pt x="12405" y="8715"/>
                  <a:pt x="12383" y="8729"/>
                  <a:pt x="12362" y="8743"/>
                </a:cubicBezTo>
                <a:cubicBezTo>
                  <a:pt x="12349" y="8741"/>
                  <a:pt x="12336" y="8737"/>
                  <a:pt x="12324" y="8735"/>
                </a:cubicBezTo>
                <a:cubicBezTo>
                  <a:pt x="12326" y="8744"/>
                  <a:pt x="12326" y="8751"/>
                  <a:pt x="12324" y="8761"/>
                </a:cubicBezTo>
                <a:cubicBezTo>
                  <a:pt x="12322" y="8764"/>
                  <a:pt x="12286" y="8780"/>
                  <a:pt x="12283" y="8779"/>
                </a:cubicBezTo>
                <a:cubicBezTo>
                  <a:pt x="12285" y="8801"/>
                  <a:pt x="12289" y="8807"/>
                  <a:pt x="12293" y="8825"/>
                </a:cubicBezTo>
                <a:cubicBezTo>
                  <a:pt x="12303" y="8831"/>
                  <a:pt x="12320" y="8836"/>
                  <a:pt x="12328" y="8846"/>
                </a:cubicBezTo>
                <a:cubicBezTo>
                  <a:pt x="12333" y="8841"/>
                  <a:pt x="12331" y="8844"/>
                  <a:pt x="12331" y="8831"/>
                </a:cubicBezTo>
                <a:cubicBezTo>
                  <a:pt x="12363" y="8829"/>
                  <a:pt x="12368" y="8793"/>
                  <a:pt x="12396" y="8790"/>
                </a:cubicBezTo>
                <a:cubicBezTo>
                  <a:pt x="12392" y="8782"/>
                  <a:pt x="12389" y="8775"/>
                  <a:pt x="12386" y="8767"/>
                </a:cubicBezTo>
                <a:cubicBezTo>
                  <a:pt x="12397" y="8741"/>
                  <a:pt x="12414" y="8726"/>
                  <a:pt x="12426" y="8702"/>
                </a:cubicBezTo>
                <a:cubicBezTo>
                  <a:pt x="12426" y="8719"/>
                  <a:pt x="12425" y="8736"/>
                  <a:pt x="12430" y="8756"/>
                </a:cubicBezTo>
                <a:cubicBezTo>
                  <a:pt x="12398" y="8815"/>
                  <a:pt x="12385" y="8920"/>
                  <a:pt x="12364" y="8989"/>
                </a:cubicBezTo>
                <a:cubicBezTo>
                  <a:pt x="12362" y="9006"/>
                  <a:pt x="12361" y="9019"/>
                  <a:pt x="12359" y="9036"/>
                </a:cubicBezTo>
                <a:cubicBezTo>
                  <a:pt x="12350" y="9090"/>
                  <a:pt x="12344" y="9145"/>
                  <a:pt x="12324" y="9177"/>
                </a:cubicBezTo>
                <a:cubicBezTo>
                  <a:pt x="12327" y="9191"/>
                  <a:pt x="12329" y="9206"/>
                  <a:pt x="12332" y="9220"/>
                </a:cubicBezTo>
                <a:cubicBezTo>
                  <a:pt x="12311" y="9231"/>
                  <a:pt x="12299" y="9256"/>
                  <a:pt x="12265" y="9222"/>
                </a:cubicBezTo>
                <a:cubicBezTo>
                  <a:pt x="12241" y="9254"/>
                  <a:pt x="12231" y="9226"/>
                  <a:pt x="12204" y="9234"/>
                </a:cubicBezTo>
                <a:cubicBezTo>
                  <a:pt x="12195" y="9217"/>
                  <a:pt x="12188" y="9215"/>
                  <a:pt x="12184" y="9186"/>
                </a:cubicBezTo>
                <a:cubicBezTo>
                  <a:pt x="12137" y="9168"/>
                  <a:pt x="12085" y="9189"/>
                  <a:pt x="12052" y="9230"/>
                </a:cubicBezTo>
                <a:cubicBezTo>
                  <a:pt x="12043" y="9242"/>
                  <a:pt x="12034" y="9255"/>
                  <a:pt x="12026" y="9268"/>
                </a:cubicBezTo>
                <a:cubicBezTo>
                  <a:pt x="12008" y="9275"/>
                  <a:pt x="11992" y="9249"/>
                  <a:pt x="11979" y="9243"/>
                </a:cubicBezTo>
                <a:cubicBezTo>
                  <a:pt x="11966" y="9240"/>
                  <a:pt x="11953" y="9237"/>
                  <a:pt x="11939" y="9234"/>
                </a:cubicBezTo>
                <a:cubicBezTo>
                  <a:pt x="11937" y="9228"/>
                  <a:pt x="11934" y="9222"/>
                  <a:pt x="11931" y="9215"/>
                </a:cubicBezTo>
                <a:cubicBezTo>
                  <a:pt x="11899" y="9202"/>
                  <a:pt x="11867" y="9189"/>
                  <a:pt x="11834" y="9175"/>
                </a:cubicBezTo>
                <a:cubicBezTo>
                  <a:pt x="11811" y="9175"/>
                  <a:pt x="11788" y="9175"/>
                  <a:pt x="11765" y="9175"/>
                </a:cubicBezTo>
                <a:cubicBezTo>
                  <a:pt x="11752" y="9165"/>
                  <a:pt x="11755" y="9126"/>
                  <a:pt x="11741" y="9118"/>
                </a:cubicBezTo>
                <a:cubicBezTo>
                  <a:pt x="11730" y="9118"/>
                  <a:pt x="11721" y="9118"/>
                  <a:pt x="11710" y="9118"/>
                </a:cubicBezTo>
                <a:cubicBezTo>
                  <a:pt x="11693" y="9113"/>
                  <a:pt x="11655" y="9100"/>
                  <a:pt x="11639" y="9088"/>
                </a:cubicBezTo>
                <a:cubicBezTo>
                  <a:pt x="11624" y="9073"/>
                  <a:pt x="11631" y="9037"/>
                  <a:pt x="11609" y="9019"/>
                </a:cubicBezTo>
                <a:cubicBezTo>
                  <a:pt x="11553" y="8974"/>
                  <a:pt x="11461" y="9035"/>
                  <a:pt x="11439" y="9103"/>
                </a:cubicBezTo>
                <a:cubicBezTo>
                  <a:pt x="11409" y="9197"/>
                  <a:pt x="11476" y="9249"/>
                  <a:pt x="11407" y="9317"/>
                </a:cubicBezTo>
                <a:cubicBezTo>
                  <a:pt x="11399" y="9326"/>
                  <a:pt x="11388" y="9345"/>
                  <a:pt x="11375" y="9342"/>
                </a:cubicBezTo>
                <a:cubicBezTo>
                  <a:pt x="11342" y="9335"/>
                  <a:pt x="11317" y="9268"/>
                  <a:pt x="11288" y="9248"/>
                </a:cubicBezTo>
                <a:cubicBezTo>
                  <a:pt x="11259" y="9227"/>
                  <a:pt x="11193" y="9225"/>
                  <a:pt x="11170" y="9201"/>
                </a:cubicBezTo>
                <a:cubicBezTo>
                  <a:pt x="11144" y="9174"/>
                  <a:pt x="11140" y="9075"/>
                  <a:pt x="11118" y="9060"/>
                </a:cubicBezTo>
                <a:cubicBezTo>
                  <a:pt x="11105" y="9051"/>
                  <a:pt x="11095" y="9060"/>
                  <a:pt x="11084" y="9051"/>
                </a:cubicBezTo>
                <a:cubicBezTo>
                  <a:pt x="11078" y="9040"/>
                  <a:pt x="11072" y="9030"/>
                  <a:pt x="11066" y="9019"/>
                </a:cubicBezTo>
                <a:cubicBezTo>
                  <a:pt x="11052" y="9014"/>
                  <a:pt x="11038" y="9009"/>
                  <a:pt x="11024" y="9004"/>
                </a:cubicBezTo>
                <a:cubicBezTo>
                  <a:pt x="11003" y="9006"/>
                  <a:pt x="10982" y="9008"/>
                  <a:pt x="10961" y="9011"/>
                </a:cubicBezTo>
                <a:cubicBezTo>
                  <a:pt x="10933" y="8989"/>
                  <a:pt x="10905" y="8967"/>
                  <a:pt x="10876" y="8945"/>
                </a:cubicBezTo>
                <a:cubicBezTo>
                  <a:pt x="10875" y="8931"/>
                  <a:pt x="10872" y="8918"/>
                  <a:pt x="10871" y="8904"/>
                </a:cubicBezTo>
                <a:cubicBezTo>
                  <a:pt x="10857" y="8902"/>
                  <a:pt x="10855" y="8909"/>
                  <a:pt x="10844" y="8914"/>
                </a:cubicBezTo>
                <a:cubicBezTo>
                  <a:pt x="10826" y="8898"/>
                  <a:pt x="10804" y="8869"/>
                  <a:pt x="10800" y="8830"/>
                </a:cubicBezTo>
                <a:cubicBezTo>
                  <a:pt x="10813" y="8803"/>
                  <a:pt x="10871" y="8713"/>
                  <a:pt x="10871" y="8679"/>
                </a:cubicBezTo>
                <a:cubicBezTo>
                  <a:pt x="10868" y="8662"/>
                  <a:pt x="10866" y="8645"/>
                  <a:pt x="10864" y="8628"/>
                </a:cubicBezTo>
                <a:cubicBezTo>
                  <a:pt x="10791" y="8550"/>
                  <a:pt x="10866" y="8519"/>
                  <a:pt x="10865" y="8433"/>
                </a:cubicBezTo>
                <a:cubicBezTo>
                  <a:pt x="10852" y="8449"/>
                  <a:pt x="10838" y="8465"/>
                  <a:pt x="10824" y="8480"/>
                </a:cubicBezTo>
                <a:cubicBezTo>
                  <a:pt x="10822" y="8479"/>
                  <a:pt x="10819" y="8479"/>
                  <a:pt x="10817" y="8478"/>
                </a:cubicBezTo>
                <a:cubicBezTo>
                  <a:pt x="10813" y="8461"/>
                  <a:pt x="10809" y="8448"/>
                  <a:pt x="10808" y="8426"/>
                </a:cubicBezTo>
                <a:cubicBezTo>
                  <a:pt x="10798" y="8417"/>
                  <a:pt x="10787" y="8408"/>
                  <a:pt x="10777" y="8400"/>
                </a:cubicBezTo>
                <a:cubicBezTo>
                  <a:pt x="10771" y="8401"/>
                  <a:pt x="10765" y="8404"/>
                  <a:pt x="10758" y="8406"/>
                </a:cubicBezTo>
                <a:cubicBezTo>
                  <a:pt x="10738" y="8420"/>
                  <a:pt x="10700" y="8492"/>
                  <a:pt x="10664" y="8473"/>
                </a:cubicBezTo>
                <a:cubicBezTo>
                  <a:pt x="10659" y="8470"/>
                  <a:pt x="10651" y="8444"/>
                  <a:pt x="10633" y="8433"/>
                </a:cubicBezTo>
                <a:cubicBezTo>
                  <a:pt x="10620" y="8437"/>
                  <a:pt x="10616" y="8454"/>
                  <a:pt x="10605" y="8464"/>
                </a:cubicBezTo>
                <a:cubicBezTo>
                  <a:pt x="10588" y="8459"/>
                  <a:pt x="10580" y="8440"/>
                  <a:pt x="10566" y="8431"/>
                </a:cubicBezTo>
                <a:cubicBezTo>
                  <a:pt x="10549" y="8453"/>
                  <a:pt x="10532" y="8477"/>
                  <a:pt x="10508" y="8487"/>
                </a:cubicBezTo>
                <a:cubicBezTo>
                  <a:pt x="10470" y="8503"/>
                  <a:pt x="10442" y="8441"/>
                  <a:pt x="10398" y="8462"/>
                </a:cubicBezTo>
                <a:cubicBezTo>
                  <a:pt x="10390" y="8471"/>
                  <a:pt x="10381" y="8479"/>
                  <a:pt x="10373" y="8487"/>
                </a:cubicBezTo>
                <a:cubicBezTo>
                  <a:pt x="10357" y="8498"/>
                  <a:pt x="10350" y="8477"/>
                  <a:pt x="10339" y="8480"/>
                </a:cubicBezTo>
                <a:cubicBezTo>
                  <a:pt x="10328" y="8488"/>
                  <a:pt x="10318" y="8498"/>
                  <a:pt x="10308" y="8506"/>
                </a:cubicBezTo>
                <a:cubicBezTo>
                  <a:pt x="10276" y="8519"/>
                  <a:pt x="10240" y="8503"/>
                  <a:pt x="10214" y="8523"/>
                </a:cubicBezTo>
                <a:cubicBezTo>
                  <a:pt x="10189" y="8542"/>
                  <a:pt x="10174" y="8581"/>
                  <a:pt x="10156" y="8611"/>
                </a:cubicBezTo>
                <a:cubicBezTo>
                  <a:pt x="10146" y="8609"/>
                  <a:pt x="10141" y="8605"/>
                  <a:pt x="10136" y="8595"/>
                </a:cubicBezTo>
                <a:cubicBezTo>
                  <a:pt x="10127" y="8598"/>
                  <a:pt x="10090" y="8622"/>
                  <a:pt x="10083" y="8631"/>
                </a:cubicBezTo>
                <a:cubicBezTo>
                  <a:pt x="10066" y="8654"/>
                  <a:pt x="10067" y="8687"/>
                  <a:pt x="10042" y="8701"/>
                </a:cubicBezTo>
                <a:cubicBezTo>
                  <a:pt x="10013" y="8717"/>
                  <a:pt x="9980" y="8701"/>
                  <a:pt x="9972" y="8665"/>
                </a:cubicBezTo>
                <a:cubicBezTo>
                  <a:pt x="9971" y="8664"/>
                  <a:pt x="9897" y="8706"/>
                  <a:pt x="9869" y="8690"/>
                </a:cubicBezTo>
                <a:cubicBezTo>
                  <a:pt x="9838" y="8674"/>
                  <a:pt x="9827" y="8629"/>
                  <a:pt x="9808" y="8593"/>
                </a:cubicBezTo>
                <a:cubicBezTo>
                  <a:pt x="9801" y="8599"/>
                  <a:pt x="9794" y="8605"/>
                  <a:pt x="9787" y="8611"/>
                </a:cubicBezTo>
                <a:cubicBezTo>
                  <a:pt x="9772" y="8633"/>
                  <a:pt x="9750" y="8784"/>
                  <a:pt x="9733" y="8826"/>
                </a:cubicBezTo>
                <a:cubicBezTo>
                  <a:pt x="9708" y="8887"/>
                  <a:pt x="9662" y="8894"/>
                  <a:pt x="9628" y="8938"/>
                </a:cubicBezTo>
                <a:cubicBezTo>
                  <a:pt x="9616" y="8953"/>
                  <a:pt x="9578" y="9012"/>
                  <a:pt x="9573" y="9035"/>
                </a:cubicBezTo>
                <a:cubicBezTo>
                  <a:pt x="9568" y="9058"/>
                  <a:pt x="9575" y="9088"/>
                  <a:pt x="9569" y="9112"/>
                </a:cubicBezTo>
                <a:cubicBezTo>
                  <a:pt x="9561" y="9142"/>
                  <a:pt x="9542" y="9163"/>
                  <a:pt x="9536" y="9197"/>
                </a:cubicBezTo>
                <a:cubicBezTo>
                  <a:pt x="9519" y="9278"/>
                  <a:pt x="9569" y="9319"/>
                  <a:pt x="9534" y="9415"/>
                </a:cubicBezTo>
                <a:cubicBezTo>
                  <a:pt x="9512" y="9475"/>
                  <a:pt x="9446" y="9581"/>
                  <a:pt x="9409" y="9610"/>
                </a:cubicBezTo>
                <a:cubicBezTo>
                  <a:pt x="9389" y="9625"/>
                  <a:pt x="9362" y="9622"/>
                  <a:pt x="9342" y="9640"/>
                </a:cubicBezTo>
                <a:cubicBezTo>
                  <a:pt x="9318" y="9662"/>
                  <a:pt x="9313" y="9756"/>
                  <a:pt x="9297" y="9794"/>
                </a:cubicBezTo>
                <a:cubicBezTo>
                  <a:pt x="9284" y="9824"/>
                  <a:pt x="9256" y="9830"/>
                  <a:pt x="9245" y="9861"/>
                </a:cubicBezTo>
                <a:cubicBezTo>
                  <a:pt x="9232" y="9894"/>
                  <a:pt x="9221" y="9945"/>
                  <a:pt x="9217" y="9989"/>
                </a:cubicBezTo>
                <a:cubicBezTo>
                  <a:pt x="9216" y="10007"/>
                  <a:pt x="9216" y="10023"/>
                  <a:pt x="9216" y="10042"/>
                </a:cubicBezTo>
                <a:cubicBezTo>
                  <a:pt x="9207" y="10082"/>
                  <a:pt x="9176" y="10102"/>
                  <a:pt x="9163" y="10136"/>
                </a:cubicBezTo>
                <a:cubicBezTo>
                  <a:pt x="9149" y="10195"/>
                  <a:pt x="9135" y="10255"/>
                  <a:pt x="9121" y="10314"/>
                </a:cubicBezTo>
                <a:cubicBezTo>
                  <a:pt x="9111" y="10335"/>
                  <a:pt x="9101" y="10355"/>
                  <a:pt x="9091" y="10375"/>
                </a:cubicBezTo>
                <a:cubicBezTo>
                  <a:pt x="9079" y="10409"/>
                  <a:pt x="9073" y="10479"/>
                  <a:pt x="9077" y="10533"/>
                </a:cubicBezTo>
                <a:cubicBezTo>
                  <a:pt x="9080" y="10526"/>
                  <a:pt x="9084" y="10518"/>
                  <a:pt x="9087" y="10511"/>
                </a:cubicBezTo>
                <a:cubicBezTo>
                  <a:pt x="9130" y="10518"/>
                  <a:pt x="9132" y="10649"/>
                  <a:pt x="9112" y="10705"/>
                </a:cubicBezTo>
                <a:cubicBezTo>
                  <a:pt x="9163" y="10779"/>
                  <a:pt x="9132" y="10928"/>
                  <a:pt x="9117" y="11023"/>
                </a:cubicBezTo>
                <a:cubicBezTo>
                  <a:pt x="9115" y="11050"/>
                  <a:pt x="9114" y="11078"/>
                  <a:pt x="9112" y="11106"/>
                </a:cubicBezTo>
                <a:cubicBezTo>
                  <a:pt x="9103" y="11160"/>
                  <a:pt x="9080" y="11234"/>
                  <a:pt x="9052" y="11252"/>
                </a:cubicBezTo>
                <a:cubicBezTo>
                  <a:pt x="9052" y="11254"/>
                  <a:pt x="9051" y="11255"/>
                  <a:pt x="9051" y="11257"/>
                </a:cubicBezTo>
                <a:cubicBezTo>
                  <a:pt x="9090" y="11288"/>
                  <a:pt x="9090" y="11367"/>
                  <a:pt x="9109" y="11383"/>
                </a:cubicBezTo>
                <a:cubicBezTo>
                  <a:pt x="9111" y="11391"/>
                  <a:pt x="9112" y="11399"/>
                  <a:pt x="9112" y="11413"/>
                </a:cubicBezTo>
                <a:cubicBezTo>
                  <a:pt x="9108" y="11415"/>
                  <a:pt x="9103" y="11416"/>
                  <a:pt x="9099" y="11418"/>
                </a:cubicBezTo>
                <a:cubicBezTo>
                  <a:pt x="9088" y="11446"/>
                  <a:pt x="9097" y="11490"/>
                  <a:pt x="9092" y="11524"/>
                </a:cubicBezTo>
                <a:cubicBezTo>
                  <a:pt x="9110" y="11578"/>
                  <a:pt x="9101" y="11538"/>
                  <a:pt x="9123" y="11565"/>
                </a:cubicBezTo>
                <a:cubicBezTo>
                  <a:pt x="9124" y="11570"/>
                  <a:pt x="9124" y="11577"/>
                  <a:pt x="9125" y="11583"/>
                </a:cubicBezTo>
                <a:cubicBezTo>
                  <a:pt x="9135" y="11593"/>
                  <a:pt x="9144" y="11603"/>
                  <a:pt x="9153" y="11614"/>
                </a:cubicBezTo>
                <a:cubicBezTo>
                  <a:pt x="9167" y="11609"/>
                  <a:pt x="9187" y="11593"/>
                  <a:pt x="9198" y="11616"/>
                </a:cubicBezTo>
                <a:cubicBezTo>
                  <a:pt x="9190" y="11636"/>
                  <a:pt x="9177" y="11649"/>
                  <a:pt x="9181" y="11683"/>
                </a:cubicBezTo>
                <a:cubicBezTo>
                  <a:pt x="9187" y="11690"/>
                  <a:pt x="9198" y="11692"/>
                  <a:pt x="9203" y="11701"/>
                </a:cubicBezTo>
                <a:cubicBezTo>
                  <a:pt x="9206" y="11709"/>
                  <a:pt x="9205" y="11713"/>
                  <a:pt x="9204" y="11724"/>
                </a:cubicBezTo>
                <a:cubicBezTo>
                  <a:pt x="9212" y="11734"/>
                  <a:pt x="9216" y="11737"/>
                  <a:pt x="9230" y="11736"/>
                </a:cubicBezTo>
                <a:cubicBezTo>
                  <a:pt x="9233" y="11750"/>
                  <a:pt x="9233" y="11761"/>
                  <a:pt x="9230" y="11775"/>
                </a:cubicBezTo>
                <a:cubicBezTo>
                  <a:pt x="9245" y="11803"/>
                  <a:pt x="9267" y="11830"/>
                  <a:pt x="9289" y="11842"/>
                </a:cubicBezTo>
                <a:cubicBezTo>
                  <a:pt x="9291" y="11855"/>
                  <a:pt x="9292" y="11869"/>
                  <a:pt x="9293" y="11882"/>
                </a:cubicBezTo>
                <a:cubicBezTo>
                  <a:pt x="9300" y="11906"/>
                  <a:pt x="9319" y="11914"/>
                  <a:pt x="9324" y="11945"/>
                </a:cubicBezTo>
                <a:cubicBezTo>
                  <a:pt x="9324" y="11958"/>
                  <a:pt x="9324" y="11971"/>
                  <a:pt x="9324" y="11984"/>
                </a:cubicBezTo>
                <a:cubicBezTo>
                  <a:pt x="9327" y="11991"/>
                  <a:pt x="9332" y="11993"/>
                  <a:pt x="9338" y="11995"/>
                </a:cubicBezTo>
                <a:cubicBezTo>
                  <a:pt x="9338" y="11998"/>
                  <a:pt x="9339" y="12001"/>
                  <a:pt x="9339" y="12004"/>
                </a:cubicBezTo>
                <a:cubicBezTo>
                  <a:pt x="9334" y="12012"/>
                  <a:pt x="9329" y="12020"/>
                  <a:pt x="9324" y="12028"/>
                </a:cubicBezTo>
                <a:cubicBezTo>
                  <a:pt x="9323" y="12028"/>
                  <a:pt x="9322" y="12028"/>
                  <a:pt x="9321" y="12028"/>
                </a:cubicBezTo>
                <a:cubicBezTo>
                  <a:pt x="9327" y="12066"/>
                  <a:pt x="9355" y="12103"/>
                  <a:pt x="9378" y="12110"/>
                </a:cubicBezTo>
                <a:cubicBezTo>
                  <a:pt x="9382" y="12124"/>
                  <a:pt x="9380" y="12129"/>
                  <a:pt x="9379" y="12148"/>
                </a:cubicBezTo>
                <a:cubicBezTo>
                  <a:pt x="9410" y="12166"/>
                  <a:pt x="9426" y="12209"/>
                  <a:pt x="9449" y="12238"/>
                </a:cubicBezTo>
                <a:cubicBezTo>
                  <a:pt x="9467" y="12256"/>
                  <a:pt x="9485" y="12272"/>
                  <a:pt x="9502" y="12289"/>
                </a:cubicBezTo>
                <a:cubicBezTo>
                  <a:pt x="9539" y="12337"/>
                  <a:pt x="9563" y="12395"/>
                  <a:pt x="9607" y="12435"/>
                </a:cubicBezTo>
                <a:cubicBezTo>
                  <a:pt x="9620" y="12448"/>
                  <a:pt x="9674" y="12513"/>
                  <a:pt x="9691" y="12505"/>
                </a:cubicBezTo>
                <a:cubicBezTo>
                  <a:pt x="9713" y="12484"/>
                  <a:pt x="9735" y="12463"/>
                  <a:pt x="9757" y="12441"/>
                </a:cubicBezTo>
                <a:cubicBezTo>
                  <a:pt x="9780" y="12429"/>
                  <a:pt x="9804" y="12417"/>
                  <a:pt x="9827" y="12405"/>
                </a:cubicBezTo>
                <a:cubicBezTo>
                  <a:pt x="9847" y="12394"/>
                  <a:pt x="9890" y="12385"/>
                  <a:pt x="9915" y="12395"/>
                </a:cubicBezTo>
                <a:cubicBezTo>
                  <a:pt x="9926" y="12398"/>
                  <a:pt x="9947" y="12421"/>
                  <a:pt x="9961" y="12411"/>
                </a:cubicBezTo>
                <a:cubicBezTo>
                  <a:pt x="9964" y="12406"/>
                  <a:pt x="9965" y="12399"/>
                  <a:pt x="9968" y="12395"/>
                </a:cubicBezTo>
                <a:cubicBezTo>
                  <a:pt x="9977" y="12396"/>
                  <a:pt x="10022" y="12449"/>
                  <a:pt x="10031" y="12462"/>
                </a:cubicBezTo>
                <a:cubicBezTo>
                  <a:pt x="10076" y="12424"/>
                  <a:pt x="10121" y="12385"/>
                  <a:pt x="10165" y="12348"/>
                </a:cubicBezTo>
                <a:cubicBezTo>
                  <a:pt x="10184" y="12344"/>
                  <a:pt x="10203" y="12341"/>
                  <a:pt x="10222" y="12338"/>
                </a:cubicBezTo>
                <a:cubicBezTo>
                  <a:pt x="10233" y="12322"/>
                  <a:pt x="10234" y="12294"/>
                  <a:pt x="10250" y="12284"/>
                </a:cubicBezTo>
                <a:cubicBezTo>
                  <a:pt x="10296" y="12276"/>
                  <a:pt x="10343" y="12269"/>
                  <a:pt x="10390" y="12261"/>
                </a:cubicBezTo>
                <a:cubicBezTo>
                  <a:pt x="10397" y="12257"/>
                  <a:pt x="10398" y="12244"/>
                  <a:pt x="10408" y="12238"/>
                </a:cubicBezTo>
                <a:cubicBezTo>
                  <a:pt x="10424" y="12244"/>
                  <a:pt x="10470" y="12297"/>
                  <a:pt x="10480" y="12320"/>
                </a:cubicBezTo>
                <a:cubicBezTo>
                  <a:pt x="10483" y="12330"/>
                  <a:pt x="10486" y="12341"/>
                  <a:pt x="10490" y="12351"/>
                </a:cubicBezTo>
                <a:cubicBezTo>
                  <a:pt x="10495" y="12352"/>
                  <a:pt x="10499" y="12353"/>
                  <a:pt x="10504" y="12354"/>
                </a:cubicBezTo>
                <a:cubicBezTo>
                  <a:pt x="10506" y="12357"/>
                  <a:pt x="10508" y="12360"/>
                  <a:pt x="10509" y="12363"/>
                </a:cubicBezTo>
                <a:cubicBezTo>
                  <a:pt x="10506" y="12376"/>
                  <a:pt x="10503" y="12390"/>
                  <a:pt x="10501" y="12403"/>
                </a:cubicBezTo>
                <a:cubicBezTo>
                  <a:pt x="10506" y="12488"/>
                  <a:pt x="10577" y="12549"/>
                  <a:pt x="10617" y="12482"/>
                </a:cubicBezTo>
                <a:cubicBezTo>
                  <a:pt x="10639" y="12489"/>
                  <a:pt x="10667" y="12498"/>
                  <a:pt x="10692" y="12480"/>
                </a:cubicBezTo>
                <a:cubicBezTo>
                  <a:pt x="10692" y="12468"/>
                  <a:pt x="10692" y="12464"/>
                  <a:pt x="10689" y="12453"/>
                </a:cubicBezTo>
                <a:cubicBezTo>
                  <a:pt x="10695" y="12447"/>
                  <a:pt x="10721" y="12460"/>
                  <a:pt x="10728" y="12475"/>
                </a:cubicBezTo>
                <a:cubicBezTo>
                  <a:pt x="10743" y="12525"/>
                  <a:pt x="10727" y="12544"/>
                  <a:pt x="10777" y="12541"/>
                </a:cubicBezTo>
                <a:cubicBezTo>
                  <a:pt x="10779" y="12546"/>
                  <a:pt x="10780" y="12552"/>
                  <a:pt x="10782" y="12557"/>
                </a:cubicBezTo>
                <a:cubicBezTo>
                  <a:pt x="10783" y="12558"/>
                  <a:pt x="10784" y="12560"/>
                  <a:pt x="10785" y="12562"/>
                </a:cubicBezTo>
                <a:cubicBezTo>
                  <a:pt x="10781" y="12568"/>
                  <a:pt x="10777" y="12574"/>
                  <a:pt x="10773" y="12580"/>
                </a:cubicBezTo>
                <a:cubicBezTo>
                  <a:pt x="10777" y="12612"/>
                  <a:pt x="10791" y="12640"/>
                  <a:pt x="10795" y="12678"/>
                </a:cubicBezTo>
                <a:cubicBezTo>
                  <a:pt x="10792" y="12695"/>
                  <a:pt x="10790" y="12712"/>
                  <a:pt x="10788" y="12728"/>
                </a:cubicBezTo>
                <a:cubicBezTo>
                  <a:pt x="10789" y="12742"/>
                  <a:pt x="10792" y="12754"/>
                  <a:pt x="10793" y="12767"/>
                </a:cubicBezTo>
                <a:cubicBezTo>
                  <a:pt x="10788" y="12807"/>
                  <a:pt x="10774" y="12848"/>
                  <a:pt x="10760" y="12873"/>
                </a:cubicBezTo>
                <a:cubicBezTo>
                  <a:pt x="10759" y="12875"/>
                  <a:pt x="10759" y="12877"/>
                  <a:pt x="10758" y="12880"/>
                </a:cubicBezTo>
                <a:cubicBezTo>
                  <a:pt x="10764" y="12881"/>
                  <a:pt x="10770" y="12883"/>
                  <a:pt x="10775" y="12885"/>
                </a:cubicBezTo>
                <a:cubicBezTo>
                  <a:pt x="10776" y="12919"/>
                  <a:pt x="10773" y="12944"/>
                  <a:pt x="10758" y="12952"/>
                </a:cubicBezTo>
                <a:cubicBezTo>
                  <a:pt x="10769" y="12969"/>
                  <a:pt x="10780" y="12987"/>
                  <a:pt x="10791" y="13004"/>
                </a:cubicBezTo>
                <a:cubicBezTo>
                  <a:pt x="10791" y="13004"/>
                  <a:pt x="10791" y="13005"/>
                  <a:pt x="10791" y="13006"/>
                </a:cubicBezTo>
                <a:cubicBezTo>
                  <a:pt x="10783" y="13004"/>
                  <a:pt x="10773" y="13003"/>
                  <a:pt x="10765" y="13001"/>
                </a:cubicBezTo>
                <a:cubicBezTo>
                  <a:pt x="10758" y="13057"/>
                  <a:pt x="10750" y="13099"/>
                  <a:pt x="10724" y="13120"/>
                </a:cubicBezTo>
                <a:cubicBezTo>
                  <a:pt x="10727" y="13131"/>
                  <a:pt x="10735" y="13167"/>
                  <a:pt x="10740" y="13176"/>
                </a:cubicBezTo>
                <a:cubicBezTo>
                  <a:pt x="10748" y="13190"/>
                  <a:pt x="10756" y="13182"/>
                  <a:pt x="10765" y="13204"/>
                </a:cubicBezTo>
                <a:cubicBezTo>
                  <a:pt x="10760" y="13210"/>
                  <a:pt x="10756" y="13216"/>
                  <a:pt x="10751" y="13222"/>
                </a:cubicBezTo>
                <a:cubicBezTo>
                  <a:pt x="10751" y="13224"/>
                  <a:pt x="10750" y="13225"/>
                  <a:pt x="10750" y="13227"/>
                </a:cubicBezTo>
                <a:cubicBezTo>
                  <a:pt x="10759" y="13252"/>
                  <a:pt x="10768" y="13277"/>
                  <a:pt x="10777" y="13301"/>
                </a:cubicBezTo>
                <a:cubicBezTo>
                  <a:pt x="10789" y="13313"/>
                  <a:pt x="10794" y="13302"/>
                  <a:pt x="10801" y="13319"/>
                </a:cubicBezTo>
                <a:cubicBezTo>
                  <a:pt x="10799" y="13325"/>
                  <a:pt x="10797" y="13331"/>
                  <a:pt x="10795" y="13337"/>
                </a:cubicBezTo>
                <a:cubicBezTo>
                  <a:pt x="10814" y="13361"/>
                  <a:pt x="10826" y="13386"/>
                  <a:pt x="10839" y="13422"/>
                </a:cubicBezTo>
                <a:cubicBezTo>
                  <a:pt x="10863" y="13464"/>
                  <a:pt x="10888" y="13507"/>
                  <a:pt x="10913" y="13549"/>
                </a:cubicBezTo>
                <a:cubicBezTo>
                  <a:pt x="10920" y="13564"/>
                  <a:pt x="10937" y="13630"/>
                  <a:pt x="10941" y="13649"/>
                </a:cubicBezTo>
                <a:cubicBezTo>
                  <a:pt x="10948" y="13676"/>
                  <a:pt x="10938" y="13714"/>
                  <a:pt x="10950" y="13754"/>
                </a:cubicBezTo>
                <a:cubicBezTo>
                  <a:pt x="10959" y="13780"/>
                  <a:pt x="10969" y="13804"/>
                  <a:pt x="10979" y="13830"/>
                </a:cubicBezTo>
                <a:cubicBezTo>
                  <a:pt x="10982" y="13855"/>
                  <a:pt x="10984" y="13880"/>
                  <a:pt x="10987" y="13904"/>
                </a:cubicBezTo>
                <a:cubicBezTo>
                  <a:pt x="11000" y="13959"/>
                  <a:pt x="11024" y="13980"/>
                  <a:pt x="11018" y="14062"/>
                </a:cubicBezTo>
                <a:cubicBezTo>
                  <a:pt x="10965" y="14105"/>
                  <a:pt x="11028" y="14208"/>
                  <a:pt x="11037" y="14260"/>
                </a:cubicBezTo>
                <a:cubicBezTo>
                  <a:pt x="11039" y="14300"/>
                  <a:pt x="11041" y="14340"/>
                  <a:pt x="11042" y="14380"/>
                </a:cubicBezTo>
                <a:cubicBezTo>
                  <a:pt x="11038" y="14425"/>
                  <a:pt x="11028" y="14496"/>
                  <a:pt x="11011" y="14517"/>
                </a:cubicBezTo>
                <a:cubicBezTo>
                  <a:pt x="11004" y="14521"/>
                  <a:pt x="10998" y="14526"/>
                  <a:pt x="10992" y="14530"/>
                </a:cubicBezTo>
                <a:cubicBezTo>
                  <a:pt x="10988" y="14547"/>
                  <a:pt x="10984" y="14562"/>
                  <a:pt x="10980" y="14578"/>
                </a:cubicBezTo>
                <a:cubicBezTo>
                  <a:pt x="10974" y="14591"/>
                  <a:pt x="10967" y="14604"/>
                  <a:pt x="10961" y="14617"/>
                </a:cubicBezTo>
                <a:cubicBezTo>
                  <a:pt x="10940" y="14707"/>
                  <a:pt x="10952" y="14847"/>
                  <a:pt x="10913" y="14903"/>
                </a:cubicBezTo>
                <a:cubicBezTo>
                  <a:pt x="10913" y="14984"/>
                  <a:pt x="10904" y="15092"/>
                  <a:pt x="10915" y="15164"/>
                </a:cubicBezTo>
                <a:cubicBezTo>
                  <a:pt x="10924" y="15219"/>
                  <a:pt x="10948" y="15252"/>
                  <a:pt x="10962" y="15295"/>
                </a:cubicBezTo>
                <a:cubicBezTo>
                  <a:pt x="10985" y="15383"/>
                  <a:pt x="11009" y="15470"/>
                  <a:pt x="11033" y="15557"/>
                </a:cubicBezTo>
                <a:cubicBezTo>
                  <a:pt x="11049" y="15616"/>
                  <a:pt x="11114" y="15720"/>
                  <a:pt x="11077" y="15788"/>
                </a:cubicBezTo>
                <a:cubicBezTo>
                  <a:pt x="11084" y="15844"/>
                  <a:pt x="11090" y="15900"/>
                  <a:pt x="11097" y="15957"/>
                </a:cubicBezTo>
                <a:cubicBezTo>
                  <a:pt x="11102" y="15979"/>
                  <a:pt x="11107" y="16002"/>
                  <a:pt x="11112" y="16024"/>
                </a:cubicBezTo>
                <a:cubicBezTo>
                  <a:pt x="11116" y="16058"/>
                  <a:pt x="11105" y="16082"/>
                  <a:pt x="11107" y="16106"/>
                </a:cubicBezTo>
                <a:cubicBezTo>
                  <a:pt x="11108" y="16138"/>
                  <a:pt x="11122" y="16166"/>
                  <a:pt x="11126" y="16191"/>
                </a:cubicBezTo>
                <a:cubicBezTo>
                  <a:pt x="11129" y="16211"/>
                  <a:pt x="11121" y="16221"/>
                  <a:pt x="11121" y="16232"/>
                </a:cubicBezTo>
                <a:cubicBezTo>
                  <a:pt x="11129" y="16274"/>
                  <a:pt x="11136" y="16316"/>
                  <a:pt x="11143" y="16358"/>
                </a:cubicBezTo>
                <a:cubicBezTo>
                  <a:pt x="11169" y="16411"/>
                  <a:pt x="11195" y="16465"/>
                  <a:pt x="11221" y="16518"/>
                </a:cubicBezTo>
                <a:cubicBezTo>
                  <a:pt x="11247" y="16595"/>
                  <a:pt x="11255" y="16693"/>
                  <a:pt x="11280" y="16775"/>
                </a:cubicBezTo>
                <a:cubicBezTo>
                  <a:pt x="11301" y="16847"/>
                  <a:pt x="11339" y="16920"/>
                  <a:pt x="11324" y="17039"/>
                </a:cubicBezTo>
                <a:cubicBezTo>
                  <a:pt x="11316" y="17043"/>
                  <a:pt x="11307" y="17040"/>
                  <a:pt x="11304" y="17050"/>
                </a:cubicBezTo>
                <a:cubicBezTo>
                  <a:pt x="11298" y="17063"/>
                  <a:pt x="11330" y="17142"/>
                  <a:pt x="11338" y="17164"/>
                </a:cubicBezTo>
                <a:cubicBezTo>
                  <a:pt x="11334" y="17184"/>
                  <a:pt x="11330" y="17204"/>
                  <a:pt x="11327" y="17224"/>
                </a:cubicBezTo>
                <a:cubicBezTo>
                  <a:pt x="11329" y="17229"/>
                  <a:pt x="11332" y="17233"/>
                  <a:pt x="11334" y="17238"/>
                </a:cubicBezTo>
                <a:cubicBezTo>
                  <a:pt x="11335" y="17238"/>
                  <a:pt x="11336" y="17238"/>
                  <a:pt x="11338" y="17239"/>
                </a:cubicBezTo>
                <a:cubicBezTo>
                  <a:pt x="11339" y="17233"/>
                  <a:pt x="11341" y="17227"/>
                  <a:pt x="11342" y="17221"/>
                </a:cubicBezTo>
                <a:cubicBezTo>
                  <a:pt x="11345" y="17218"/>
                  <a:pt x="11347" y="17216"/>
                  <a:pt x="11353" y="17216"/>
                </a:cubicBezTo>
                <a:cubicBezTo>
                  <a:pt x="11356" y="17225"/>
                  <a:pt x="11359" y="17235"/>
                  <a:pt x="11362" y="17245"/>
                </a:cubicBezTo>
                <a:cubicBezTo>
                  <a:pt x="11368" y="17244"/>
                  <a:pt x="11373" y="17242"/>
                  <a:pt x="11384" y="17242"/>
                </a:cubicBezTo>
                <a:cubicBezTo>
                  <a:pt x="11388" y="17254"/>
                  <a:pt x="11389" y="17264"/>
                  <a:pt x="11392" y="17281"/>
                </a:cubicBezTo>
                <a:cubicBezTo>
                  <a:pt x="11398" y="17298"/>
                  <a:pt x="11418" y="17311"/>
                  <a:pt x="11429" y="17317"/>
                </a:cubicBezTo>
                <a:cubicBezTo>
                  <a:pt x="11442" y="17298"/>
                  <a:pt x="11449" y="17268"/>
                  <a:pt x="11467" y="17258"/>
                </a:cubicBezTo>
                <a:cubicBezTo>
                  <a:pt x="11492" y="17244"/>
                  <a:pt x="11522" y="17275"/>
                  <a:pt x="11545" y="17254"/>
                </a:cubicBezTo>
                <a:cubicBezTo>
                  <a:pt x="11551" y="17242"/>
                  <a:pt x="11558" y="17232"/>
                  <a:pt x="11565" y="17220"/>
                </a:cubicBezTo>
                <a:cubicBezTo>
                  <a:pt x="11598" y="17191"/>
                  <a:pt x="11612" y="17220"/>
                  <a:pt x="11637" y="17220"/>
                </a:cubicBezTo>
                <a:cubicBezTo>
                  <a:pt x="11645" y="17212"/>
                  <a:pt x="11652" y="17204"/>
                  <a:pt x="11659" y="17197"/>
                </a:cubicBezTo>
                <a:cubicBezTo>
                  <a:pt x="11686" y="17182"/>
                  <a:pt x="11710" y="17226"/>
                  <a:pt x="11729" y="17238"/>
                </a:cubicBezTo>
                <a:cubicBezTo>
                  <a:pt x="11737" y="17225"/>
                  <a:pt x="11744" y="17215"/>
                  <a:pt x="11749" y="17197"/>
                </a:cubicBezTo>
                <a:cubicBezTo>
                  <a:pt x="11762" y="17202"/>
                  <a:pt x="11775" y="17207"/>
                  <a:pt x="11787" y="17212"/>
                </a:cubicBezTo>
                <a:cubicBezTo>
                  <a:pt x="11791" y="17205"/>
                  <a:pt x="11791" y="17189"/>
                  <a:pt x="11793" y="17180"/>
                </a:cubicBezTo>
                <a:cubicBezTo>
                  <a:pt x="11805" y="17160"/>
                  <a:pt x="11865" y="17173"/>
                  <a:pt x="11882" y="17152"/>
                </a:cubicBezTo>
                <a:cubicBezTo>
                  <a:pt x="11900" y="17123"/>
                  <a:pt x="11917" y="17095"/>
                  <a:pt x="11935" y="17066"/>
                </a:cubicBezTo>
                <a:cubicBezTo>
                  <a:pt x="12026" y="16934"/>
                  <a:pt x="12093" y="16787"/>
                  <a:pt x="12157" y="16606"/>
                </a:cubicBezTo>
                <a:cubicBezTo>
                  <a:pt x="12173" y="16560"/>
                  <a:pt x="12215" y="16528"/>
                  <a:pt x="12224" y="16484"/>
                </a:cubicBezTo>
                <a:cubicBezTo>
                  <a:pt x="12228" y="16464"/>
                  <a:pt x="12218" y="16435"/>
                  <a:pt x="12220" y="16426"/>
                </a:cubicBezTo>
                <a:cubicBezTo>
                  <a:pt x="12223" y="16408"/>
                  <a:pt x="12234" y="16412"/>
                  <a:pt x="12239" y="16399"/>
                </a:cubicBezTo>
                <a:cubicBezTo>
                  <a:pt x="12254" y="16362"/>
                  <a:pt x="12263" y="16259"/>
                  <a:pt x="12259" y="16200"/>
                </a:cubicBezTo>
                <a:cubicBezTo>
                  <a:pt x="12251" y="16194"/>
                  <a:pt x="12242" y="16183"/>
                  <a:pt x="12238" y="16169"/>
                </a:cubicBezTo>
                <a:cubicBezTo>
                  <a:pt x="12237" y="16166"/>
                  <a:pt x="12235" y="16164"/>
                  <a:pt x="12234" y="16161"/>
                </a:cubicBezTo>
                <a:cubicBezTo>
                  <a:pt x="12250" y="16124"/>
                  <a:pt x="12262" y="16090"/>
                  <a:pt x="12286" y="16065"/>
                </a:cubicBezTo>
                <a:cubicBezTo>
                  <a:pt x="12339" y="16011"/>
                  <a:pt x="12401" y="16016"/>
                  <a:pt x="12425" y="15908"/>
                </a:cubicBezTo>
                <a:cubicBezTo>
                  <a:pt x="12423" y="15883"/>
                  <a:pt x="12413" y="15894"/>
                  <a:pt x="12411" y="15880"/>
                </a:cubicBezTo>
                <a:cubicBezTo>
                  <a:pt x="12412" y="15878"/>
                  <a:pt x="12412" y="15876"/>
                  <a:pt x="12412" y="15873"/>
                </a:cubicBezTo>
                <a:cubicBezTo>
                  <a:pt x="12415" y="15861"/>
                  <a:pt x="12418" y="15848"/>
                  <a:pt x="12421" y="15835"/>
                </a:cubicBezTo>
                <a:cubicBezTo>
                  <a:pt x="12427" y="15785"/>
                  <a:pt x="12425" y="15729"/>
                  <a:pt x="12425" y="15678"/>
                </a:cubicBezTo>
                <a:cubicBezTo>
                  <a:pt x="12419" y="15683"/>
                  <a:pt x="12418" y="15685"/>
                  <a:pt x="12409" y="15686"/>
                </a:cubicBezTo>
                <a:cubicBezTo>
                  <a:pt x="12400" y="15635"/>
                  <a:pt x="12389" y="15574"/>
                  <a:pt x="12399" y="15533"/>
                </a:cubicBezTo>
                <a:cubicBezTo>
                  <a:pt x="12397" y="15503"/>
                  <a:pt x="12385" y="15488"/>
                  <a:pt x="12374" y="15477"/>
                </a:cubicBezTo>
                <a:cubicBezTo>
                  <a:pt x="12374" y="15449"/>
                  <a:pt x="12374" y="15423"/>
                  <a:pt x="12374" y="15395"/>
                </a:cubicBezTo>
                <a:cubicBezTo>
                  <a:pt x="12399" y="15360"/>
                  <a:pt x="12425" y="15324"/>
                  <a:pt x="12451" y="15289"/>
                </a:cubicBezTo>
                <a:cubicBezTo>
                  <a:pt x="12483" y="15240"/>
                  <a:pt x="12502" y="15167"/>
                  <a:pt x="12538" y="15126"/>
                </a:cubicBezTo>
                <a:cubicBezTo>
                  <a:pt x="12582" y="15076"/>
                  <a:pt x="12637" y="15060"/>
                  <a:pt x="12678" y="15007"/>
                </a:cubicBezTo>
                <a:cubicBezTo>
                  <a:pt x="12708" y="14969"/>
                  <a:pt x="12727" y="14899"/>
                  <a:pt x="12751" y="14848"/>
                </a:cubicBezTo>
                <a:cubicBezTo>
                  <a:pt x="12751" y="14837"/>
                  <a:pt x="12749" y="14832"/>
                  <a:pt x="12747" y="14820"/>
                </a:cubicBezTo>
                <a:cubicBezTo>
                  <a:pt x="12754" y="14801"/>
                  <a:pt x="12761" y="14787"/>
                  <a:pt x="12767" y="14763"/>
                </a:cubicBezTo>
                <a:cubicBezTo>
                  <a:pt x="12766" y="14759"/>
                  <a:pt x="12766" y="14756"/>
                  <a:pt x="12766" y="14751"/>
                </a:cubicBezTo>
                <a:cubicBezTo>
                  <a:pt x="12761" y="14747"/>
                  <a:pt x="12756" y="14741"/>
                  <a:pt x="12751" y="14737"/>
                </a:cubicBezTo>
                <a:cubicBezTo>
                  <a:pt x="12746" y="14671"/>
                  <a:pt x="12753" y="14602"/>
                  <a:pt x="12735" y="14564"/>
                </a:cubicBezTo>
                <a:cubicBezTo>
                  <a:pt x="12736" y="14550"/>
                  <a:pt x="12743" y="14538"/>
                  <a:pt x="12745" y="14519"/>
                </a:cubicBezTo>
                <a:cubicBezTo>
                  <a:pt x="12751" y="14474"/>
                  <a:pt x="12736" y="14400"/>
                  <a:pt x="12733" y="14360"/>
                </a:cubicBezTo>
                <a:cubicBezTo>
                  <a:pt x="12739" y="14337"/>
                  <a:pt x="12745" y="14316"/>
                  <a:pt x="12752" y="14294"/>
                </a:cubicBezTo>
                <a:cubicBezTo>
                  <a:pt x="12738" y="14237"/>
                  <a:pt x="12712" y="14230"/>
                  <a:pt x="12694" y="14185"/>
                </a:cubicBezTo>
                <a:cubicBezTo>
                  <a:pt x="12676" y="14142"/>
                  <a:pt x="12666" y="14025"/>
                  <a:pt x="12678" y="13961"/>
                </a:cubicBezTo>
                <a:cubicBezTo>
                  <a:pt x="12674" y="13950"/>
                  <a:pt x="12669" y="13948"/>
                  <a:pt x="12665" y="13938"/>
                </a:cubicBezTo>
                <a:cubicBezTo>
                  <a:pt x="12671" y="13913"/>
                  <a:pt x="12683" y="13879"/>
                  <a:pt x="12684" y="13852"/>
                </a:cubicBezTo>
                <a:cubicBezTo>
                  <a:pt x="12671" y="13823"/>
                  <a:pt x="12649" y="13801"/>
                  <a:pt x="12641" y="13764"/>
                </a:cubicBezTo>
                <a:cubicBezTo>
                  <a:pt x="12633" y="13726"/>
                  <a:pt x="12654" y="13599"/>
                  <a:pt x="12663" y="13581"/>
                </a:cubicBezTo>
                <a:cubicBezTo>
                  <a:pt x="12668" y="13571"/>
                  <a:pt x="12678" y="13573"/>
                  <a:pt x="12683" y="13561"/>
                </a:cubicBezTo>
                <a:cubicBezTo>
                  <a:pt x="12693" y="13534"/>
                  <a:pt x="12684" y="13519"/>
                  <a:pt x="12688" y="13495"/>
                </a:cubicBezTo>
                <a:cubicBezTo>
                  <a:pt x="12697" y="13439"/>
                  <a:pt x="12726" y="13436"/>
                  <a:pt x="12729" y="13345"/>
                </a:cubicBezTo>
                <a:cubicBezTo>
                  <a:pt x="12750" y="13323"/>
                  <a:pt x="12769" y="13324"/>
                  <a:pt x="12770" y="13263"/>
                </a:cubicBezTo>
                <a:cubicBezTo>
                  <a:pt x="12789" y="13269"/>
                  <a:pt x="12797" y="13254"/>
                  <a:pt x="12812" y="13243"/>
                </a:cubicBezTo>
                <a:cubicBezTo>
                  <a:pt x="12817" y="13228"/>
                  <a:pt x="12817" y="13221"/>
                  <a:pt x="12813" y="13204"/>
                </a:cubicBezTo>
                <a:cubicBezTo>
                  <a:pt x="12858" y="13109"/>
                  <a:pt x="12904" y="13013"/>
                  <a:pt x="12949" y="12918"/>
                </a:cubicBezTo>
                <a:cubicBezTo>
                  <a:pt x="12999" y="12843"/>
                  <a:pt x="13061" y="12787"/>
                  <a:pt x="13111" y="12713"/>
                </a:cubicBezTo>
                <a:cubicBezTo>
                  <a:pt x="13130" y="12671"/>
                  <a:pt x="13148" y="12630"/>
                  <a:pt x="13166" y="12588"/>
                </a:cubicBezTo>
                <a:cubicBezTo>
                  <a:pt x="13203" y="12501"/>
                  <a:pt x="13258" y="12417"/>
                  <a:pt x="13282" y="12310"/>
                </a:cubicBezTo>
                <a:cubicBezTo>
                  <a:pt x="13284" y="12291"/>
                  <a:pt x="13286" y="12270"/>
                  <a:pt x="13289" y="12250"/>
                </a:cubicBezTo>
                <a:cubicBezTo>
                  <a:pt x="13305" y="12203"/>
                  <a:pt x="13321" y="12155"/>
                  <a:pt x="13337" y="12107"/>
                </a:cubicBezTo>
                <a:cubicBezTo>
                  <a:pt x="13337" y="12096"/>
                  <a:pt x="13336" y="12085"/>
                  <a:pt x="13336" y="12074"/>
                </a:cubicBezTo>
                <a:cubicBezTo>
                  <a:pt x="13345" y="12058"/>
                  <a:pt x="13355" y="12041"/>
                  <a:pt x="13364" y="12025"/>
                </a:cubicBezTo>
                <a:cubicBezTo>
                  <a:pt x="13376" y="11985"/>
                  <a:pt x="13387" y="11945"/>
                  <a:pt x="13399" y="11906"/>
                </a:cubicBezTo>
                <a:cubicBezTo>
                  <a:pt x="13401" y="11871"/>
                  <a:pt x="13402" y="11836"/>
                  <a:pt x="13403" y="11801"/>
                </a:cubicBezTo>
                <a:cubicBezTo>
                  <a:pt x="13406" y="11785"/>
                  <a:pt x="13421" y="11773"/>
                  <a:pt x="13420" y="11751"/>
                </a:cubicBezTo>
                <a:cubicBezTo>
                  <a:pt x="13420" y="11733"/>
                  <a:pt x="13412" y="11707"/>
                  <a:pt x="13416" y="11681"/>
                </a:cubicBezTo>
                <a:cubicBezTo>
                  <a:pt x="13420" y="11665"/>
                  <a:pt x="13423" y="11648"/>
                  <a:pt x="13427" y="11632"/>
                </a:cubicBezTo>
                <a:cubicBezTo>
                  <a:pt x="13426" y="11629"/>
                  <a:pt x="13426" y="11626"/>
                  <a:pt x="13425" y="11623"/>
                </a:cubicBezTo>
                <a:cubicBezTo>
                  <a:pt x="13414" y="11615"/>
                  <a:pt x="13403" y="11607"/>
                  <a:pt x="13392" y="11598"/>
                </a:cubicBezTo>
                <a:cubicBezTo>
                  <a:pt x="13366" y="11632"/>
                  <a:pt x="13345" y="11668"/>
                  <a:pt x="13307" y="11683"/>
                </a:cubicBezTo>
                <a:cubicBezTo>
                  <a:pt x="13291" y="11690"/>
                  <a:pt x="13277" y="11676"/>
                  <a:pt x="13267" y="11673"/>
                </a:cubicBezTo>
                <a:cubicBezTo>
                  <a:pt x="13248" y="11666"/>
                  <a:pt x="13236" y="11695"/>
                  <a:pt x="13223" y="11701"/>
                </a:cubicBezTo>
                <a:cubicBezTo>
                  <a:pt x="13210" y="11699"/>
                  <a:pt x="13197" y="11695"/>
                  <a:pt x="13184" y="11693"/>
                </a:cubicBezTo>
                <a:cubicBezTo>
                  <a:pt x="13184" y="11693"/>
                  <a:pt x="13183" y="11693"/>
                  <a:pt x="13182" y="11693"/>
                </a:cubicBezTo>
                <a:cubicBezTo>
                  <a:pt x="13166" y="11712"/>
                  <a:pt x="13151" y="11732"/>
                  <a:pt x="13135" y="11751"/>
                </a:cubicBezTo>
                <a:cubicBezTo>
                  <a:pt x="13113" y="11765"/>
                  <a:pt x="13106" y="11725"/>
                  <a:pt x="13082" y="11734"/>
                </a:cubicBezTo>
                <a:cubicBezTo>
                  <a:pt x="13062" y="11750"/>
                  <a:pt x="13042" y="11767"/>
                  <a:pt x="13022" y="11783"/>
                </a:cubicBezTo>
                <a:cubicBezTo>
                  <a:pt x="13009" y="11783"/>
                  <a:pt x="12996" y="11783"/>
                  <a:pt x="12983" y="11783"/>
                </a:cubicBezTo>
                <a:cubicBezTo>
                  <a:pt x="12964" y="11743"/>
                  <a:pt x="12936" y="11698"/>
                  <a:pt x="12924" y="11647"/>
                </a:cubicBezTo>
                <a:cubicBezTo>
                  <a:pt x="12912" y="11642"/>
                  <a:pt x="12896" y="11645"/>
                  <a:pt x="12882" y="11641"/>
                </a:cubicBezTo>
                <a:cubicBezTo>
                  <a:pt x="12881" y="11641"/>
                  <a:pt x="12881" y="11640"/>
                  <a:pt x="12880" y="11639"/>
                </a:cubicBezTo>
                <a:cubicBezTo>
                  <a:pt x="12880" y="11637"/>
                  <a:pt x="12880" y="11636"/>
                  <a:pt x="12880" y="11634"/>
                </a:cubicBezTo>
                <a:cubicBezTo>
                  <a:pt x="12895" y="11621"/>
                  <a:pt x="12925" y="11598"/>
                  <a:pt x="12937" y="11575"/>
                </a:cubicBezTo>
                <a:cubicBezTo>
                  <a:pt x="12935" y="11507"/>
                  <a:pt x="12885" y="11490"/>
                  <a:pt x="12864" y="11452"/>
                </a:cubicBezTo>
                <a:cubicBezTo>
                  <a:pt x="12861" y="11445"/>
                  <a:pt x="12857" y="11396"/>
                  <a:pt x="12845" y="11375"/>
                </a:cubicBezTo>
                <a:cubicBezTo>
                  <a:pt x="12839" y="11365"/>
                  <a:pt x="12828" y="11373"/>
                  <a:pt x="12821" y="11365"/>
                </a:cubicBezTo>
                <a:cubicBezTo>
                  <a:pt x="12802" y="11326"/>
                  <a:pt x="12783" y="11285"/>
                  <a:pt x="12763" y="11246"/>
                </a:cubicBezTo>
                <a:cubicBezTo>
                  <a:pt x="12755" y="11240"/>
                  <a:pt x="12746" y="11243"/>
                  <a:pt x="12735" y="11244"/>
                </a:cubicBezTo>
                <a:cubicBezTo>
                  <a:pt x="12727" y="11222"/>
                  <a:pt x="12719" y="11188"/>
                  <a:pt x="12706" y="11174"/>
                </a:cubicBezTo>
                <a:cubicBezTo>
                  <a:pt x="12702" y="11184"/>
                  <a:pt x="12703" y="11209"/>
                  <a:pt x="12702" y="11219"/>
                </a:cubicBezTo>
                <a:cubicBezTo>
                  <a:pt x="12701" y="11219"/>
                  <a:pt x="12700" y="11220"/>
                  <a:pt x="12700" y="11221"/>
                </a:cubicBezTo>
                <a:cubicBezTo>
                  <a:pt x="12660" y="11159"/>
                  <a:pt x="12650" y="10969"/>
                  <a:pt x="12627" y="10872"/>
                </a:cubicBezTo>
                <a:cubicBezTo>
                  <a:pt x="12616" y="10826"/>
                  <a:pt x="12563" y="10805"/>
                  <a:pt x="12549" y="10768"/>
                </a:cubicBezTo>
                <a:cubicBezTo>
                  <a:pt x="12525" y="10710"/>
                  <a:pt x="12540" y="10560"/>
                  <a:pt x="12528" y="10476"/>
                </a:cubicBezTo>
                <a:cubicBezTo>
                  <a:pt x="12521" y="10421"/>
                  <a:pt x="12495" y="10334"/>
                  <a:pt x="12473" y="10303"/>
                </a:cubicBezTo>
                <a:cubicBezTo>
                  <a:pt x="12462" y="10288"/>
                  <a:pt x="12447" y="10283"/>
                  <a:pt x="12439" y="10263"/>
                </a:cubicBezTo>
                <a:cubicBezTo>
                  <a:pt x="12429" y="10238"/>
                  <a:pt x="12428" y="10197"/>
                  <a:pt x="12422" y="10165"/>
                </a:cubicBezTo>
                <a:cubicBezTo>
                  <a:pt x="12427" y="10156"/>
                  <a:pt x="12432" y="10147"/>
                  <a:pt x="12437" y="10139"/>
                </a:cubicBezTo>
                <a:cubicBezTo>
                  <a:pt x="12426" y="10118"/>
                  <a:pt x="12415" y="10098"/>
                  <a:pt x="12404" y="10078"/>
                </a:cubicBezTo>
                <a:cubicBezTo>
                  <a:pt x="12373" y="9993"/>
                  <a:pt x="12352" y="9891"/>
                  <a:pt x="12324" y="9807"/>
                </a:cubicBezTo>
                <a:cubicBezTo>
                  <a:pt x="12312" y="9749"/>
                  <a:pt x="12299" y="9691"/>
                  <a:pt x="12287" y="9633"/>
                </a:cubicBezTo>
                <a:cubicBezTo>
                  <a:pt x="12267" y="9564"/>
                  <a:pt x="12232" y="9516"/>
                  <a:pt x="12223" y="9422"/>
                </a:cubicBezTo>
                <a:cubicBezTo>
                  <a:pt x="12230" y="9404"/>
                  <a:pt x="12231" y="9396"/>
                  <a:pt x="12243" y="9387"/>
                </a:cubicBezTo>
                <a:cubicBezTo>
                  <a:pt x="12261" y="9486"/>
                  <a:pt x="12292" y="9585"/>
                  <a:pt x="12330" y="9646"/>
                </a:cubicBezTo>
                <a:cubicBezTo>
                  <a:pt x="12334" y="9655"/>
                  <a:pt x="12341" y="9653"/>
                  <a:pt x="12348" y="9651"/>
                </a:cubicBezTo>
                <a:cubicBezTo>
                  <a:pt x="12356" y="9619"/>
                  <a:pt x="12359" y="9578"/>
                  <a:pt x="12364" y="9541"/>
                </a:cubicBezTo>
                <a:cubicBezTo>
                  <a:pt x="12362" y="9553"/>
                  <a:pt x="12360" y="9569"/>
                  <a:pt x="12359" y="9580"/>
                </a:cubicBezTo>
                <a:cubicBezTo>
                  <a:pt x="12367" y="9581"/>
                  <a:pt x="12376" y="9579"/>
                  <a:pt x="12384" y="9580"/>
                </a:cubicBezTo>
                <a:cubicBezTo>
                  <a:pt x="12394" y="9604"/>
                  <a:pt x="12404" y="9631"/>
                  <a:pt x="12414" y="9655"/>
                </a:cubicBezTo>
                <a:cubicBezTo>
                  <a:pt x="12437" y="9723"/>
                  <a:pt x="12456" y="9779"/>
                  <a:pt x="12480" y="9842"/>
                </a:cubicBezTo>
                <a:cubicBezTo>
                  <a:pt x="12498" y="9890"/>
                  <a:pt x="12524" y="9935"/>
                  <a:pt x="12515" y="10010"/>
                </a:cubicBezTo>
                <a:cubicBezTo>
                  <a:pt x="12534" y="10058"/>
                  <a:pt x="12564" y="10073"/>
                  <a:pt x="12586" y="10112"/>
                </a:cubicBezTo>
                <a:cubicBezTo>
                  <a:pt x="12600" y="10161"/>
                  <a:pt x="12617" y="10205"/>
                  <a:pt x="12631" y="10253"/>
                </a:cubicBezTo>
                <a:cubicBezTo>
                  <a:pt x="12646" y="10305"/>
                  <a:pt x="12630" y="10382"/>
                  <a:pt x="12642" y="10440"/>
                </a:cubicBezTo>
                <a:cubicBezTo>
                  <a:pt x="12653" y="10469"/>
                  <a:pt x="12661" y="10496"/>
                  <a:pt x="12672" y="10526"/>
                </a:cubicBezTo>
                <a:cubicBezTo>
                  <a:pt x="12687" y="10564"/>
                  <a:pt x="12722" y="10573"/>
                  <a:pt x="12738" y="10610"/>
                </a:cubicBezTo>
                <a:cubicBezTo>
                  <a:pt x="12757" y="10683"/>
                  <a:pt x="12778" y="10761"/>
                  <a:pt x="12798" y="10834"/>
                </a:cubicBezTo>
                <a:cubicBezTo>
                  <a:pt x="12805" y="10845"/>
                  <a:pt x="12811" y="10852"/>
                  <a:pt x="12819" y="10862"/>
                </a:cubicBezTo>
                <a:cubicBezTo>
                  <a:pt x="12838" y="10891"/>
                  <a:pt x="12861" y="10957"/>
                  <a:pt x="12869" y="11002"/>
                </a:cubicBezTo>
                <a:cubicBezTo>
                  <a:pt x="12872" y="11030"/>
                  <a:pt x="12877" y="11059"/>
                  <a:pt x="12880" y="11087"/>
                </a:cubicBezTo>
                <a:cubicBezTo>
                  <a:pt x="12878" y="11102"/>
                  <a:pt x="12867" y="11109"/>
                  <a:pt x="12869" y="11133"/>
                </a:cubicBezTo>
                <a:cubicBezTo>
                  <a:pt x="12876" y="11203"/>
                  <a:pt x="12893" y="11273"/>
                  <a:pt x="12904" y="11330"/>
                </a:cubicBezTo>
                <a:cubicBezTo>
                  <a:pt x="12904" y="11359"/>
                  <a:pt x="12904" y="11395"/>
                  <a:pt x="12904" y="11424"/>
                </a:cubicBezTo>
                <a:cubicBezTo>
                  <a:pt x="12925" y="11507"/>
                  <a:pt x="12988" y="11486"/>
                  <a:pt x="13026" y="11442"/>
                </a:cubicBezTo>
                <a:cubicBezTo>
                  <a:pt x="13038" y="11423"/>
                  <a:pt x="13053" y="11404"/>
                  <a:pt x="13066" y="11386"/>
                </a:cubicBezTo>
                <a:cubicBezTo>
                  <a:pt x="13086" y="11374"/>
                  <a:pt x="13114" y="11395"/>
                  <a:pt x="13132" y="11386"/>
                </a:cubicBezTo>
                <a:cubicBezTo>
                  <a:pt x="13160" y="11370"/>
                  <a:pt x="13177" y="11326"/>
                  <a:pt x="13202" y="11311"/>
                </a:cubicBezTo>
                <a:cubicBezTo>
                  <a:pt x="13220" y="11301"/>
                  <a:pt x="13238" y="11317"/>
                  <a:pt x="13253" y="11303"/>
                </a:cubicBezTo>
                <a:cubicBezTo>
                  <a:pt x="13268" y="11288"/>
                  <a:pt x="13274" y="11251"/>
                  <a:pt x="13289" y="11237"/>
                </a:cubicBezTo>
                <a:cubicBezTo>
                  <a:pt x="13340" y="11184"/>
                  <a:pt x="13407" y="11189"/>
                  <a:pt x="13455" y="11133"/>
                </a:cubicBezTo>
                <a:cubicBezTo>
                  <a:pt x="13469" y="11118"/>
                  <a:pt x="13463" y="11096"/>
                  <a:pt x="13470" y="11067"/>
                </a:cubicBezTo>
                <a:cubicBezTo>
                  <a:pt x="13477" y="11039"/>
                  <a:pt x="13505" y="11014"/>
                  <a:pt x="13521" y="11002"/>
                </a:cubicBezTo>
                <a:cubicBezTo>
                  <a:pt x="13547" y="10986"/>
                  <a:pt x="13570" y="10972"/>
                  <a:pt x="13596" y="10956"/>
                </a:cubicBezTo>
                <a:cubicBezTo>
                  <a:pt x="13612" y="10959"/>
                  <a:pt x="13627" y="10962"/>
                  <a:pt x="13642" y="10965"/>
                </a:cubicBezTo>
                <a:cubicBezTo>
                  <a:pt x="13647" y="10959"/>
                  <a:pt x="13657" y="10952"/>
                  <a:pt x="13663" y="10946"/>
                </a:cubicBezTo>
                <a:cubicBezTo>
                  <a:pt x="13672" y="10909"/>
                  <a:pt x="13662" y="10861"/>
                  <a:pt x="13682" y="10844"/>
                </a:cubicBezTo>
                <a:cubicBezTo>
                  <a:pt x="13703" y="10825"/>
                  <a:pt x="13724" y="10853"/>
                  <a:pt x="13743" y="10825"/>
                </a:cubicBezTo>
                <a:cubicBezTo>
                  <a:pt x="13750" y="10814"/>
                  <a:pt x="13749" y="10796"/>
                  <a:pt x="13753" y="10778"/>
                </a:cubicBezTo>
                <a:cubicBezTo>
                  <a:pt x="13763" y="10729"/>
                  <a:pt x="13794" y="10715"/>
                  <a:pt x="13829" y="10713"/>
                </a:cubicBezTo>
                <a:cubicBezTo>
                  <a:pt x="13831" y="10666"/>
                  <a:pt x="13826" y="10590"/>
                  <a:pt x="13834" y="10544"/>
                </a:cubicBezTo>
                <a:cubicBezTo>
                  <a:pt x="13846" y="10534"/>
                  <a:pt x="13864" y="10555"/>
                  <a:pt x="13875" y="10544"/>
                </a:cubicBezTo>
                <a:cubicBezTo>
                  <a:pt x="13887" y="10526"/>
                  <a:pt x="13886" y="10485"/>
                  <a:pt x="13895" y="10460"/>
                </a:cubicBezTo>
                <a:cubicBezTo>
                  <a:pt x="13904" y="10443"/>
                  <a:pt x="13911" y="10421"/>
                  <a:pt x="13920" y="10404"/>
                </a:cubicBezTo>
                <a:cubicBezTo>
                  <a:pt x="13933" y="10374"/>
                  <a:pt x="13945" y="10345"/>
                  <a:pt x="13955" y="10309"/>
                </a:cubicBezTo>
                <a:cubicBezTo>
                  <a:pt x="13952" y="10283"/>
                  <a:pt x="13929" y="10269"/>
                  <a:pt x="13920" y="10253"/>
                </a:cubicBezTo>
                <a:cubicBezTo>
                  <a:pt x="13906" y="10220"/>
                  <a:pt x="13893" y="10193"/>
                  <a:pt x="13879" y="10160"/>
                </a:cubicBezTo>
                <a:cubicBezTo>
                  <a:pt x="13869" y="10147"/>
                  <a:pt x="13857" y="10166"/>
                  <a:pt x="13843" y="10160"/>
                </a:cubicBezTo>
                <a:cubicBezTo>
                  <a:pt x="13824" y="10141"/>
                  <a:pt x="13803" y="10114"/>
                  <a:pt x="13783" y="10094"/>
                </a:cubicBezTo>
                <a:cubicBezTo>
                  <a:pt x="13768" y="10075"/>
                  <a:pt x="13744" y="10036"/>
                  <a:pt x="13738" y="10001"/>
                </a:cubicBezTo>
                <a:cubicBezTo>
                  <a:pt x="13733" y="9974"/>
                  <a:pt x="13743" y="9938"/>
                  <a:pt x="13738" y="9917"/>
                </a:cubicBezTo>
                <a:cubicBezTo>
                  <a:pt x="13735" y="9910"/>
                  <a:pt x="13730" y="9908"/>
                  <a:pt x="13723" y="9908"/>
                </a:cubicBezTo>
                <a:cubicBezTo>
                  <a:pt x="13733" y="9881"/>
                  <a:pt x="13740" y="9859"/>
                  <a:pt x="13738" y="9813"/>
                </a:cubicBezTo>
                <a:cubicBezTo>
                  <a:pt x="13727" y="9836"/>
                  <a:pt x="13717" y="9866"/>
                  <a:pt x="13707" y="9889"/>
                </a:cubicBezTo>
                <a:cubicBezTo>
                  <a:pt x="13683" y="9925"/>
                  <a:pt x="13658" y="9941"/>
                  <a:pt x="13637" y="9991"/>
                </a:cubicBezTo>
                <a:cubicBezTo>
                  <a:pt x="13632" y="10009"/>
                  <a:pt x="13627" y="10030"/>
                  <a:pt x="13622" y="10048"/>
                </a:cubicBezTo>
                <a:cubicBezTo>
                  <a:pt x="13614" y="10060"/>
                  <a:pt x="13610" y="10056"/>
                  <a:pt x="13606" y="10076"/>
                </a:cubicBezTo>
                <a:cubicBezTo>
                  <a:pt x="13597" y="10081"/>
                  <a:pt x="13593" y="10085"/>
                  <a:pt x="13586" y="10076"/>
                </a:cubicBezTo>
                <a:cubicBezTo>
                  <a:pt x="13586" y="10081"/>
                  <a:pt x="13587" y="10082"/>
                  <a:pt x="13586" y="10086"/>
                </a:cubicBezTo>
                <a:cubicBezTo>
                  <a:pt x="13570" y="10097"/>
                  <a:pt x="13498" y="10093"/>
                  <a:pt x="13480" y="10076"/>
                </a:cubicBezTo>
                <a:cubicBezTo>
                  <a:pt x="13476" y="10083"/>
                  <a:pt x="13477" y="10083"/>
                  <a:pt x="13475" y="10094"/>
                </a:cubicBezTo>
                <a:cubicBezTo>
                  <a:pt x="13459" y="10097"/>
                  <a:pt x="13446" y="10095"/>
                  <a:pt x="13430" y="10094"/>
                </a:cubicBezTo>
                <a:cubicBezTo>
                  <a:pt x="13433" y="10071"/>
                  <a:pt x="13425" y="10072"/>
                  <a:pt x="13414" y="10067"/>
                </a:cubicBezTo>
                <a:cubicBezTo>
                  <a:pt x="13406" y="10031"/>
                  <a:pt x="13434" y="10009"/>
                  <a:pt x="13434" y="9973"/>
                </a:cubicBezTo>
                <a:cubicBezTo>
                  <a:pt x="13435" y="9962"/>
                  <a:pt x="13432" y="9865"/>
                  <a:pt x="13430" y="9860"/>
                </a:cubicBezTo>
                <a:cubicBezTo>
                  <a:pt x="13426" y="9850"/>
                  <a:pt x="13418" y="9858"/>
                  <a:pt x="13414" y="9842"/>
                </a:cubicBezTo>
                <a:cubicBezTo>
                  <a:pt x="13411" y="9841"/>
                  <a:pt x="13412" y="9834"/>
                  <a:pt x="13409" y="9833"/>
                </a:cubicBezTo>
                <a:cubicBezTo>
                  <a:pt x="13391" y="9857"/>
                  <a:pt x="13384" y="9953"/>
                  <a:pt x="13395" y="10001"/>
                </a:cubicBezTo>
                <a:cubicBezTo>
                  <a:pt x="13396" y="10029"/>
                  <a:pt x="13393" y="10041"/>
                  <a:pt x="13379" y="10039"/>
                </a:cubicBezTo>
                <a:cubicBezTo>
                  <a:pt x="13369" y="10015"/>
                  <a:pt x="13355" y="9948"/>
                  <a:pt x="13354" y="9908"/>
                </a:cubicBezTo>
                <a:cubicBezTo>
                  <a:pt x="13347" y="9897"/>
                  <a:pt x="13347" y="9896"/>
                  <a:pt x="13339" y="9899"/>
                </a:cubicBezTo>
                <a:cubicBezTo>
                  <a:pt x="13331" y="9856"/>
                  <a:pt x="13329" y="9849"/>
                  <a:pt x="13339" y="9804"/>
                </a:cubicBezTo>
                <a:cubicBezTo>
                  <a:pt x="13336" y="9795"/>
                  <a:pt x="13332" y="9785"/>
                  <a:pt x="13329" y="9776"/>
                </a:cubicBezTo>
                <a:cubicBezTo>
                  <a:pt x="13333" y="9764"/>
                  <a:pt x="13337" y="9768"/>
                  <a:pt x="13339" y="9748"/>
                </a:cubicBezTo>
                <a:cubicBezTo>
                  <a:pt x="13325" y="9715"/>
                  <a:pt x="13293" y="9722"/>
                  <a:pt x="13283" y="9682"/>
                </a:cubicBezTo>
                <a:cubicBezTo>
                  <a:pt x="13276" y="9671"/>
                  <a:pt x="13279" y="9670"/>
                  <a:pt x="13283" y="9655"/>
                </a:cubicBezTo>
                <a:cubicBezTo>
                  <a:pt x="13275" y="9648"/>
                  <a:pt x="13270" y="9644"/>
                  <a:pt x="13258" y="9645"/>
                </a:cubicBezTo>
                <a:cubicBezTo>
                  <a:pt x="13243" y="9571"/>
                  <a:pt x="13224" y="9500"/>
                  <a:pt x="13213" y="9421"/>
                </a:cubicBezTo>
                <a:cubicBezTo>
                  <a:pt x="13205" y="9424"/>
                  <a:pt x="13195" y="9436"/>
                  <a:pt x="13188" y="9440"/>
                </a:cubicBezTo>
                <a:cubicBezTo>
                  <a:pt x="13185" y="9437"/>
                  <a:pt x="13185" y="9432"/>
                  <a:pt x="13182" y="9430"/>
                </a:cubicBezTo>
                <a:cubicBezTo>
                  <a:pt x="13187" y="9420"/>
                  <a:pt x="13188" y="9403"/>
                  <a:pt x="13193" y="9393"/>
                </a:cubicBezTo>
                <a:cubicBezTo>
                  <a:pt x="13196" y="9393"/>
                  <a:pt x="13199" y="9393"/>
                  <a:pt x="13202" y="9393"/>
                </a:cubicBezTo>
                <a:cubicBezTo>
                  <a:pt x="13201" y="9377"/>
                  <a:pt x="13199" y="9362"/>
                  <a:pt x="13197" y="9346"/>
                </a:cubicBezTo>
                <a:cubicBezTo>
                  <a:pt x="13203" y="9332"/>
                  <a:pt x="13233" y="9336"/>
                  <a:pt x="13248" y="9336"/>
                </a:cubicBezTo>
                <a:cubicBezTo>
                  <a:pt x="13260" y="9315"/>
                  <a:pt x="13261" y="9285"/>
                  <a:pt x="13278" y="9272"/>
                </a:cubicBezTo>
                <a:cubicBezTo>
                  <a:pt x="13280" y="9272"/>
                  <a:pt x="13282" y="9272"/>
                  <a:pt x="13283" y="9272"/>
                </a:cubicBezTo>
                <a:cubicBezTo>
                  <a:pt x="13283" y="9288"/>
                  <a:pt x="13280" y="9299"/>
                  <a:pt x="13283" y="9308"/>
                </a:cubicBezTo>
                <a:cubicBezTo>
                  <a:pt x="13292" y="9337"/>
                  <a:pt x="13322" y="9339"/>
                  <a:pt x="13339" y="9327"/>
                </a:cubicBezTo>
                <a:cubicBezTo>
                  <a:pt x="13348" y="9355"/>
                  <a:pt x="13368" y="9384"/>
                  <a:pt x="13374" y="9411"/>
                </a:cubicBezTo>
                <a:cubicBezTo>
                  <a:pt x="13374" y="9425"/>
                  <a:pt x="13374" y="9434"/>
                  <a:pt x="13374" y="9448"/>
                </a:cubicBezTo>
                <a:cubicBezTo>
                  <a:pt x="13381" y="9481"/>
                  <a:pt x="13402" y="9558"/>
                  <a:pt x="13414" y="9590"/>
                </a:cubicBezTo>
                <a:cubicBezTo>
                  <a:pt x="13428" y="9626"/>
                  <a:pt x="13466" y="9619"/>
                  <a:pt x="13486" y="9645"/>
                </a:cubicBezTo>
                <a:cubicBezTo>
                  <a:pt x="13496" y="9668"/>
                  <a:pt x="13505" y="9688"/>
                  <a:pt x="13515" y="9711"/>
                </a:cubicBezTo>
                <a:cubicBezTo>
                  <a:pt x="13539" y="9737"/>
                  <a:pt x="13564" y="9741"/>
                  <a:pt x="13591" y="9758"/>
                </a:cubicBezTo>
                <a:cubicBezTo>
                  <a:pt x="13607" y="9768"/>
                  <a:pt x="13613" y="9790"/>
                  <a:pt x="13632" y="9794"/>
                </a:cubicBezTo>
                <a:cubicBezTo>
                  <a:pt x="13641" y="9779"/>
                  <a:pt x="13674" y="9741"/>
                  <a:pt x="13677" y="9721"/>
                </a:cubicBezTo>
                <a:cubicBezTo>
                  <a:pt x="13698" y="9707"/>
                  <a:pt x="13722" y="9689"/>
                  <a:pt x="13748" y="9702"/>
                </a:cubicBezTo>
                <a:cubicBezTo>
                  <a:pt x="13759" y="9706"/>
                  <a:pt x="13752" y="9719"/>
                  <a:pt x="13763" y="9721"/>
                </a:cubicBezTo>
                <a:cubicBezTo>
                  <a:pt x="13766" y="9738"/>
                  <a:pt x="13768" y="9762"/>
                  <a:pt x="13773" y="9786"/>
                </a:cubicBezTo>
                <a:cubicBezTo>
                  <a:pt x="13778" y="9813"/>
                  <a:pt x="13793" y="9830"/>
                  <a:pt x="13794" y="9870"/>
                </a:cubicBezTo>
                <a:cubicBezTo>
                  <a:pt x="13808" y="9874"/>
                  <a:pt x="13824" y="9891"/>
                  <a:pt x="13834" y="9899"/>
                </a:cubicBezTo>
                <a:cubicBezTo>
                  <a:pt x="13853" y="9899"/>
                  <a:pt x="13871" y="9899"/>
                  <a:pt x="13889" y="9899"/>
                </a:cubicBezTo>
                <a:cubicBezTo>
                  <a:pt x="13895" y="9908"/>
                  <a:pt x="13899" y="9915"/>
                  <a:pt x="13905" y="9925"/>
                </a:cubicBezTo>
                <a:cubicBezTo>
                  <a:pt x="13936" y="9926"/>
                  <a:pt x="13965" y="9934"/>
                  <a:pt x="13996" y="9935"/>
                </a:cubicBezTo>
                <a:cubicBezTo>
                  <a:pt x="14012" y="9943"/>
                  <a:pt x="14024" y="9957"/>
                  <a:pt x="14046" y="9963"/>
                </a:cubicBezTo>
                <a:cubicBezTo>
                  <a:pt x="14074" y="9972"/>
                  <a:pt x="14099" y="9951"/>
                  <a:pt x="14121" y="9944"/>
                </a:cubicBezTo>
                <a:cubicBezTo>
                  <a:pt x="14142" y="9944"/>
                  <a:pt x="14166" y="9944"/>
                  <a:pt x="14187" y="9944"/>
                </a:cubicBezTo>
                <a:cubicBezTo>
                  <a:pt x="14199" y="9936"/>
                  <a:pt x="14208" y="9922"/>
                  <a:pt x="14228" y="9917"/>
                </a:cubicBezTo>
                <a:cubicBezTo>
                  <a:pt x="14245" y="9984"/>
                  <a:pt x="14344" y="9911"/>
                  <a:pt x="14374" y="9908"/>
                </a:cubicBezTo>
                <a:cubicBezTo>
                  <a:pt x="14390" y="9930"/>
                  <a:pt x="14390" y="9952"/>
                  <a:pt x="14389" y="10001"/>
                </a:cubicBezTo>
                <a:cubicBezTo>
                  <a:pt x="14399" y="10005"/>
                  <a:pt x="14409" y="10006"/>
                  <a:pt x="14420" y="10010"/>
                </a:cubicBezTo>
                <a:cubicBezTo>
                  <a:pt x="14425" y="10038"/>
                  <a:pt x="14430" y="10067"/>
                  <a:pt x="14435" y="10094"/>
                </a:cubicBezTo>
                <a:cubicBezTo>
                  <a:pt x="14446" y="10122"/>
                  <a:pt x="14464" y="10104"/>
                  <a:pt x="14480" y="10122"/>
                </a:cubicBezTo>
                <a:cubicBezTo>
                  <a:pt x="14487" y="10139"/>
                  <a:pt x="14494" y="10161"/>
                  <a:pt x="14501" y="10178"/>
                </a:cubicBezTo>
                <a:cubicBezTo>
                  <a:pt x="14523" y="10228"/>
                  <a:pt x="14579" y="10266"/>
                  <a:pt x="14626" y="10235"/>
                </a:cubicBezTo>
                <a:cubicBezTo>
                  <a:pt x="14627" y="10256"/>
                  <a:pt x="14624" y="10259"/>
                  <a:pt x="14617" y="10272"/>
                </a:cubicBezTo>
                <a:cubicBezTo>
                  <a:pt x="14586" y="10331"/>
                  <a:pt x="14569" y="10288"/>
                  <a:pt x="14536" y="10309"/>
                </a:cubicBezTo>
                <a:cubicBezTo>
                  <a:pt x="14546" y="10355"/>
                  <a:pt x="14627" y="10513"/>
                  <a:pt x="14657" y="10516"/>
                </a:cubicBezTo>
                <a:cubicBezTo>
                  <a:pt x="14666" y="10510"/>
                  <a:pt x="14679" y="10503"/>
                  <a:pt x="14688" y="10497"/>
                </a:cubicBezTo>
                <a:cubicBezTo>
                  <a:pt x="14720" y="10477"/>
                  <a:pt x="14771" y="10445"/>
                  <a:pt x="14743" y="10375"/>
                </a:cubicBezTo>
                <a:cubicBezTo>
                  <a:pt x="14745" y="10363"/>
                  <a:pt x="14746" y="10350"/>
                  <a:pt x="14748" y="10338"/>
                </a:cubicBezTo>
                <a:cubicBezTo>
                  <a:pt x="14755" y="10330"/>
                  <a:pt x="14766" y="10328"/>
                  <a:pt x="14779" y="10329"/>
                </a:cubicBezTo>
                <a:cubicBezTo>
                  <a:pt x="14774" y="10358"/>
                  <a:pt x="14773" y="10408"/>
                  <a:pt x="14779" y="10440"/>
                </a:cubicBezTo>
                <a:cubicBezTo>
                  <a:pt x="14782" y="10459"/>
                  <a:pt x="14806" y="10481"/>
                  <a:pt x="14803" y="10506"/>
                </a:cubicBezTo>
                <a:cubicBezTo>
                  <a:pt x="14800" y="10531"/>
                  <a:pt x="14780" y="10550"/>
                  <a:pt x="14779" y="10581"/>
                </a:cubicBezTo>
                <a:cubicBezTo>
                  <a:pt x="14785" y="10640"/>
                  <a:pt x="14792" y="10700"/>
                  <a:pt x="14798" y="10759"/>
                </a:cubicBezTo>
                <a:cubicBezTo>
                  <a:pt x="14805" y="10842"/>
                  <a:pt x="14811" y="10929"/>
                  <a:pt x="14819" y="11012"/>
                </a:cubicBezTo>
                <a:cubicBezTo>
                  <a:pt x="14834" y="11113"/>
                  <a:pt x="14864" y="11189"/>
                  <a:pt x="14884" y="11274"/>
                </a:cubicBezTo>
                <a:cubicBezTo>
                  <a:pt x="14898" y="11332"/>
                  <a:pt x="14914" y="11397"/>
                  <a:pt x="14925" y="11461"/>
                </a:cubicBezTo>
                <a:cubicBezTo>
                  <a:pt x="14930" y="11493"/>
                  <a:pt x="14930" y="11523"/>
                  <a:pt x="14935" y="11555"/>
                </a:cubicBezTo>
                <a:cubicBezTo>
                  <a:pt x="14943" y="11577"/>
                  <a:pt x="14952" y="11598"/>
                  <a:pt x="14961" y="11620"/>
                </a:cubicBezTo>
                <a:cubicBezTo>
                  <a:pt x="14977" y="11686"/>
                  <a:pt x="14994" y="11751"/>
                  <a:pt x="15011" y="11817"/>
                </a:cubicBezTo>
                <a:cubicBezTo>
                  <a:pt x="15018" y="11862"/>
                  <a:pt x="15024" y="11912"/>
                  <a:pt x="15031" y="11957"/>
                </a:cubicBezTo>
                <a:cubicBezTo>
                  <a:pt x="15044" y="11983"/>
                  <a:pt x="15058" y="12006"/>
                  <a:pt x="15071" y="12032"/>
                </a:cubicBezTo>
                <a:cubicBezTo>
                  <a:pt x="15091" y="12031"/>
                  <a:pt x="15116" y="12002"/>
                  <a:pt x="15122" y="11977"/>
                </a:cubicBezTo>
                <a:cubicBezTo>
                  <a:pt x="15128" y="11955"/>
                  <a:pt x="15125" y="11936"/>
                  <a:pt x="15132" y="11920"/>
                </a:cubicBezTo>
                <a:cubicBezTo>
                  <a:pt x="15151" y="11909"/>
                  <a:pt x="15170" y="11893"/>
                  <a:pt x="15188" y="11882"/>
                </a:cubicBezTo>
                <a:cubicBezTo>
                  <a:pt x="15185" y="11871"/>
                  <a:pt x="15177" y="11870"/>
                  <a:pt x="15172" y="11864"/>
                </a:cubicBezTo>
                <a:cubicBezTo>
                  <a:pt x="15178" y="11834"/>
                  <a:pt x="15187" y="11809"/>
                  <a:pt x="15193" y="11780"/>
                </a:cubicBezTo>
                <a:cubicBezTo>
                  <a:pt x="15201" y="11771"/>
                  <a:pt x="15214" y="11769"/>
                  <a:pt x="15228" y="11770"/>
                </a:cubicBezTo>
                <a:cubicBezTo>
                  <a:pt x="15233" y="11722"/>
                  <a:pt x="15220" y="11666"/>
                  <a:pt x="15223" y="11620"/>
                </a:cubicBezTo>
                <a:cubicBezTo>
                  <a:pt x="15229" y="11534"/>
                  <a:pt x="15287" y="11438"/>
                  <a:pt x="15248" y="11359"/>
                </a:cubicBezTo>
                <a:cubicBezTo>
                  <a:pt x="15260" y="11302"/>
                  <a:pt x="15240" y="11234"/>
                  <a:pt x="15248" y="11172"/>
                </a:cubicBezTo>
                <a:cubicBezTo>
                  <a:pt x="15252" y="11153"/>
                  <a:pt x="15259" y="11134"/>
                  <a:pt x="15263" y="11115"/>
                </a:cubicBezTo>
                <a:cubicBezTo>
                  <a:pt x="15276" y="11096"/>
                  <a:pt x="15288" y="11098"/>
                  <a:pt x="15304" y="11115"/>
                </a:cubicBezTo>
                <a:cubicBezTo>
                  <a:pt x="15314" y="11103"/>
                  <a:pt x="15320" y="11065"/>
                  <a:pt x="15324" y="11041"/>
                </a:cubicBezTo>
                <a:cubicBezTo>
                  <a:pt x="15336" y="11028"/>
                  <a:pt x="15362" y="11038"/>
                  <a:pt x="15374" y="11022"/>
                </a:cubicBezTo>
                <a:cubicBezTo>
                  <a:pt x="15388" y="11004"/>
                  <a:pt x="15382" y="10956"/>
                  <a:pt x="15395" y="10936"/>
                </a:cubicBezTo>
                <a:cubicBezTo>
                  <a:pt x="15409" y="10923"/>
                  <a:pt x="15426" y="10912"/>
                  <a:pt x="15440" y="10899"/>
                </a:cubicBezTo>
                <a:cubicBezTo>
                  <a:pt x="15456" y="10881"/>
                  <a:pt x="15461" y="10841"/>
                  <a:pt x="15475" y="10825"/>
                </a:cubicBezTo>
                <a:cubicBezTo>
                  <a:pt x="15485" y="10813"/>
                  <a:pt x="15497" y="10809"/>
                  <a:pt x="15506" y="10797"/>
                </a:cubicBezTo>
                <a:cubicBezTo>
                  <a:pt x="15527" y="10749"/>
                  <a:pt x="15545" y="10705"/>
                  <a:pt x="15567" y="10657"/>
                </a:cubicBezTo>
                <a:cubicBezTo>
                  <a:pt x="15584" y="10634"/>
                  <a:pt x="15614" y="10640"/>
                  <a:pt x="15632" y="10618"/>
                </a:cubicBezTo>
                <a:cubicBezTo>
                  <a:pt x="15655" y="10591"/>
                  <a:pt x="15665" y="10544"/>
                  <a:pt x="15682" y="10506"/>
                </a:cubicBezTo>
                <a:cubicBezTo>
                  <a:pt x="15679" y="10488"/>
                  <a:pt x="15675" y="10468"/>
                  <a:pt x="15672" y="10450"/>
                </a:cubicBezTo>
                <a:cubicBezTo>
                  <a:pt x="15688" y="10421"/>
                  <a:pt x="15714" y="10417"/>
                  <a:pt x="15733" y="10395"/>
                </a:cubicBezTo>
                <a:cubicBezTo>
                  <a:pt x="15740" y="10381"/>
                  <a:pt x="15746" y="10370"/>
                  <a:pt x="15753" y="10356"/>
                </a:cubicBezTo>
                <a:cubicBezTo>
                  <a:pt x="15759" y="10365"/>
                  <a:pt x="15761" y="10377"/>
                  <a:pt x="15763" y="10395"/>
                </a:cubicBezTo>
                <a:cubicBezTo>
                  <a:pt x="15766" y="10396"/>
                  <a:pt x="15771" y="10393"/>
                  <a:pt x="15773" y="10395"/>
                </a:cubicBezTo>
                <a:cubicBezTo>
                  <a:pt x="15777" y="10383"/>
                  <a:pt x="15779" y="10378"/>
                  <a:pt x="15783" y="10366"/>
                </a:cubicBezTo>
                <a:cubicBezTo>
                  <a:pt x="15783" y="10364"/>
                  <a:pt x="15788" y="10358"/>
                  <a:pt x="15788" y="10356"/>
                </a:cubicBezTo>
                <a:cubicBezTo>
                  <a:pt x="15796" y="10364"/>
                  <a:pt x="15797" y="10387"/>
                  <a:pt x="15799" y="10404"/>
                </a:cubicBezTo>
                <a:cubicBezTo>
                  <a:pt x="15805" y="10404"/>
                  <a:pt x="15812" y="10404"/>
                  <a:pt x="15819" y="10404"/>
                </a:cubicBezTo>
                <a:cubicBezTo>
                  <a:pt x="15818" y="10392"/>
                  <a:pt x="15817" y="10387"/>
                  <a:pt x="15819" y="10375"/>
                </a:cubicBezTo>
                <a:cubicBezTo>
                  <a:pt x="15823" y="10380"/>
                  <a:pt x="15825" y="10381"/>
                  <a:pt x="15829" y="10385"/>
                </a:cubicBezTo>
                <a:cubicBezTo>
                  <a:pt x="15832" y="10376"/>
                  <a:pt x="15836" y="10365"/>
                  <a:pt x="15839" y="10356"/>
                </a:cubicBezTo>
                <a:cubicBezTo>
                  <a:pt x="15841" y="10354"/>
                  <a:pt x="15842" y="10359"/>
                  <a:pt x="15844" y="10356"/>
                </a:cubicBezTo>
                <a:cubicBezTo>
                  <a:pt x="15846" y="10365"/>
                  <a:pt x="15848" y="10367"/>
                  <a:pt x="15849" y="10375"/>
                </a:cubicBezTo>
                <a:cubicBezTo>
                  <a:pt x="15852" y="10375"/>
                  <a:pt x="15856" y="10375"/>
                  <a:pt x="15859" y="10375"/>
                </a:cubicBezTo>
                <a:cubicBezTo>
                  <a:pt x="15864" y="10362"/>
                  <a:pt x="15868" y="10351"/>
                  <a:pt x="15869" y="10329"/>
                </a:cubicBezTo>
                <a:cubicBezTo>
                  <a:pt x="15870" y="10328"/>
                  <a:pt x="15873" y="10329"/>
                  <a:pt x="15875" y="10329"/>
                </a:cubicBezTo>
                <a:cubicBezTo>
                  <a:pt x="15879" y="10344"/>
                  <a:pt x="15880" y="10360"/>
                  <a:pt x="15884" y="10375"/>
                </a:cubicBezTo>
                <a:cubicBezTo>
                  <a:pt x="15887" y="10375"/>
                  <a:pt x="15892" y="10375"/>
                  <a:pt x="15895" y="10375"/>
                </a:cubicBezTo>
                <a:cubicBezTo>
                  <a:pt x="15898" y="10348"/>
                  <a:pt x="15900" y="10345"/>
                  <a:pt x="15915" y="10338"/>
                </a:cubicBezTo>
                <a:cubicBezTo>
                  <a:pt x="15920" y="10310"/>
                  <a:pt x="15916" y="10285"/>
                  <a:pt x="15910" y="10263"/>
                </a:cubicBezTo>
                <a:cubicBezTo>
                  <a:pt x="15910" y="10249"/>
                  <a:pt x="15912" y="10233"/>
                  <a:pt x="15915" y="10226"/>
                </a:cubicBezTo>
                <a:cubicBezTo>
                  <a:pt x="15922" y="10243"/>
                  <a:pt x="15928" y="10255"/>
                  <a:pt x="15935" y="10272"/>
                </a:cubicBezTo>
                <a:cubicBezTo>
                  <a:pt x="15950" y="10272"/>
                  <a:pt x="15960" y="10262"/>
                  <a:pt x="15970" y="10253"/>
                </a:cubicBezTo>
                <a:cubicBezTo>
                  <a:pt x="16009" y="10309"/>
                  <a:pt x="15994" y="10517"/>
                  <a:pt x="16046" y="10544"/>
                </a:cubicBezTo>
                <a:cubicBezTo>
                  <a:pt x="16051" y="10546"/>
                  <a:pt x="16056" y="10540"/>
                  <a:pt x="16061" y="10544"/>
                </a:cubicBezTo>
                <a:cubicBezTo>
                  <a:pt x="16061" y="10555"/>
                  <a:pt x="16061" y="10560"/>
                  <a:pt x="16061" y="10571"/>
                </a:cubicBezTo>
                <a:cubicBezTo>
                  <a:pt x="16073" y="10585"/>
                  <a:pt x="16082" y="10580"/>
                  <a:pt x="16092" y="10590"/>
                </a:cubicBezTo>
                <a:cubicBezTo>
                  <a:pt x="16106" y="10606"/>
                  <a:pt x="16116" y="10641"/>
                  <a:pt x="16122" y="10675"/>
                </a:cubicBezTo>
                <a:cubicBezTo>
                  <a:pt x="16115" y="10679"/>
                  <a:pt x="16104" y="10691"/>
                  <a:pt x="16096" y="10694"/>
                </a:cubicBezTo>
                <a:cubicBezTo>
                  <a:pt x="16102" y="10706"/>
                  <a:pt x="16113" y="10716"/>
                  <a:pt x="16122" y="10723"/>
                </a:cubicBezTo>
                <a:cubicBezTo>
                  <a:pt x="16124" y="10715"/>
                  <a:pt x="16124" y="10701"/>
                  <a:pt x="16127" y="10694"/>
                </a:cubicBezTo>
                <a:cubicBezTo>
                  <a:pt x="16128" y="10693"/>
                  <a:pt x="16131" y="10695"/>
                  <a:pt x="16132" y="10694"/>
                </a:cubicBezTo>
                <a:cubicBezTo>
                  <a:pt x="16149" y="10746"/>
                  <a:pt x="16168" y="10839"/>
                  <a:pt x="16162" y="10927"/>
                </a:cubicBezTo>
                <a:cubicBezTo>
                  <a:pt x="16158" y="10979"/>
                  <a:pt x="16143" y="11010"/>
                  <a:pt x="16142" y="11067"/>
                </a:cubicBezTo>
                <a:cubicBezTo>
                  <a:pt x="16145" y="11072"/>
                  <a:pt x="16149" y="11082"/>
                  <a:pt x="16153" y="11087"/>
                </a:cubicBezTo>
                <a:cubicBezTo>
                  <a:pt x="16163" y="11071"/>
                  <a:pt x="16165" y="11053"/>
                  <a:pt x="16182" y="11049"/>
                </a:cubicBezTo>
                <a:cubicBezTo>
                  <a:pt x="16181" y="11060"/>
                  <a:pt x="16179" y="11076"/>
                  <a:pt x="16178" y="11087"/>
                </a:cubicBezTo>
                <a:cubicBezTo>
                  <a:pt x="16180" y="11091"/>
                  <a:pt x="16185" y="11092"/>
                  <a:pt x="16188" y="11096"/>
                </a:cubicBezTo>
                <a:cubicBezTo>
                  <a:pt x="16189" y="11096"/>
                  <a:pt x="16190" y="11096"/>
                  <a:pt x="16192" y="11096"/>
                </a:cubicBezTo>
                <a:cubicBezTo>
                  <a:pt x="16198" y="11087"/>
                  <a:pt x="16202" y="11079"/>
                  <a:pt x="16213" y="11077"/>
                </a:cubicBezTo>
                <a:cubicBezTo>
                  <a:pt x="16213" y="11085"/>
                  <a:pt x="16213" y="11098"/>
                  <a:pt x="16213" y="11106"/>
                </a:cubicBezTo>
                <a:cubicBezTo>
                  <a:pt x="16230" y="11135"/>
                  <a:pt x="16231" y="11066"/>
                  <a:pt x="16243" y="11049"/>
                </a:cubicBezTo>
                <a:cubicBezTo>
                  <a:pt x="16283" y="10996"/>
                  <a:pt x="16302" y="11045"/>
                  <a:pt x="16309" y="10918"/>
                </a:cubicBezTo>
                <a:cubicBezTo>
                  <a:pt x="16311" y="10918"/>
                  <a:pt x="16312" y="10918"/>
                  <a:pt x="16314" y="10918"/>
                </a:cubicBezTo>
                <a:cubicBezTo>
                  <a:pt x="16333" y="10944"/>
                  <a:pt x="16336" y="11009"/>
                  <a:pt x="16359" y="11022"/>
                </a:cubicBezTo>
                <a:cubicBezTo>
                  <a:pt x="16365" y="11094"/>
                  <a:pt x="16369" y="11164"/>
                  <a:pt x="16374" y="11237"/>
                </a:cubicBezTo>
                <a:cubicBezTo>
                  <a:pt x="16384" y="11303"/>
                  <a:pt x="16409" y="11366"/>
                  <a:pt x="16420" y="11424"/>
                </a:cubicBezTo>
                <a:cubicBezTo>
                  <a:pt x="16432" y="11482"/>
                  <a:pt x="16426" y="11544"/>
                  <a:pt x="16425" y="11602"/>
                </a:cubicBezTo>
                <a:cubicBezTo>
                  <a:pt x="16429" y="11606"/>
                  <a:pt x="16432" y="11602"/>
                  <a:pt x="16440" y="11602"/>
                </a:cubicBezTo>
                <a:cubicBezTo>
                  <a:pt x="16432" y="11634"/>
                  <a:pt x="16408" y="11740"/>
                  <a:pt x="16415" y="11770"/>
                </a:cubicBezTo>
                <a:cubicBezTo>
                  <a:pt x="16419" y="11775"/>
                  <a:pt x="16422" y="11784"/>
                  <a:pt x="16425" y="11789"/>
                </a:cubicBezTo>
                <a:cubicBezTo>
                  <a:pt x="16411" y="11855"/>
                  <a:pt x="16392" y="11943"/>
                  <a:pt x="16405" y="12014"/>
                </a:cubicBezTo>
                <a:cubicBezTo>
                  <a:pt x="16410" y="12010"/>
                  <a:pt x="16415" y="12008"/>
                  <a:pt x="16420" y="12004"/>
                </a:cubicBezTo>
                <a:cubicBezTo>
                  <a:pt x="16439" y="12041"/>
                  <a:pt x="16456" y="12061"/>
                  <a:pt x="16465" y="12117"/>
                </a:cubicBezTo>
                <a:cubicBezTo>
                  <a:pt x="16469" y="12120"/>
                  <a:pt x="16474" y="12120"/>
                  <a:pt x="16480" y="12117"/>
                </a:cubicBezTo>
                <a:cubicBezTo>
                  <a:pt x="16490" y="12140"/>
                  <a:pt x="16491" y="12151"/>
                  <a:pt x="16491" y="12190"/>
                </a:cubicBezTo>
                <a:cubicBezTo>
                  <a:pt x="16493" y="12193"/>
                  <a:pt x="16498" y="12197"/>
                  <a:pt x="16501" y="12200"/>
                </a:cubicBezTo>
                <a:cubicBezTo>
                  <a:pt x="16508" y="12217"/>
                  <a:pt x="16517" y="12209"/>
                  <a:pt x="16527" y="12200"/>
                </a:cubicBezTo>
                <a:cubicBezTo>
                  <a:pt x="16528" y="12201"/>
                  <a:pt x="16526" y="12208"/>
                  <a:pt x="16527" y="12210"/>
                </a:cubicBezTo>
                <a:cubicBezTo>
                  <a:pt x="16523" y="12266"/>
                  <a:pt x="16524" y="12329"/>
                  <a:pt x="16536" y="12387"/>
                </a:cubicBezTo>
                <a:cubicBezTo>
                  <a:pt x="16541" y="12406"/>
                  <a:pt x="16551" y="12425"/>
                  <a:pt x="16556" y="12444"/>
                </a:cubicBezTo>
                <a:cubicBezTo>
                  <a:pt x="16558" y="12472"/>
                  <a:pt x="16548" y="12493"/>
                  <a:pt x="16556" y="12518"/>
                </a:cubicBezTo>
                <a:cubicBezTo>
                  <a:pt x="16565" y="12532"/>
                  <a:pt x="16573" y="12553"/>
                  <a:pt x="16582" y="12566"/>
                </a:cubicBezTo>
                <a:cubicBezTo>
                  <a:pt x="16592" y="12593"/>
                  <a:pt x="16590" y="12644"/>
                  <a:pt x="16602" y="12668"/>
                </a:cubicBezTo>
                <a:cubicBezTo>
                  <a:pt x="16616" y="12685"/>
                  <a:pt x="16632" y="12699"/>
                  <a:pt x="16647" y="12715"/>
                </a:cubicBezTo>
                <a:cubicBezTo>
                  <a:pt x="16674" y="12747"/>
                  <a:pt x="16703" y="12784"/>
                  <a:pt x="16728" y="12819"/>
                </a:cubicBezTo>
                <a:cubicBezTo>
                  <a:pt x="16746" y="12819"/>
                  <a:pt x="16766" y="12819"/>
                  <a:pt x="16784" y="12819"/>
                </a:cubicBezTo>
                <a:cubicBezTo>
                  <a:pt x="16775" y="12784"/>
                  <a:pt x="16762" y="12749"/>
                  <a:pt x="16753" y="12715"/>
                </a:cubicBezTo>
                <a:cubicBezTo>
                  <a:pt x="16744" y="12689"/>
                  <a:pt x="16732" y="12676"/>
                  <a:pt x="16728" y="12641"/>
                </a:cubicBezTo>
                <a:cubicBezTo>
                  <a:pt x="16729" y="12565"/>
                  <a:pt x="16728" y="12483"/>
                  <a:pt x="16728" y="12407"/>
                </a:cubicBezTo>
                <a:cubicBezTo>
                  <a:pt x="16721" y="12391"/>
                  <a:pt x="16715" y="12375"/>
                  <a:pt x="16707" y="12360"/>
                </a:cubicBezTo>
                <a:cubicBezTo>
                  <a:pt x="16693" y="12325"/>
                  <a:pt x="16677" y="12291"/>
                  <a:pt x="16663" y="12256"/>
                </a:cubicBezTo>
                <a:cubicBezTo>
                  <a:pt x="16657" y="12254"/>
                  <a:pt x="16648" y="12259"/>
                  <a:pt x="16642" y="12256"/>
                </a:cubicBezTo>
                <a:cubicBezTo>
                  <a:pt x="16626" y="12240"/>
                  <a:pt x="16618" y="12200"/>
                  <a:pt x="16607" y="12174"/>
                </a:cubicBezTo>
                <a:cubicBezTo>
                  <a:pt x="16526" y="12180"/>
                  <a:pt x="16540" y="12079"/>
                  <a:pt x="16527" y="11967"/>
                </a:cubicBezTo>
                <a:cubicBezTo>
                  <a:pt x="16524" y="11969"/>
                  <a:pt x="16519" y="11975"/>
                  <a:pt x="16516" y="11977"/>
                </a:cubicBezTo>
                <a:cubicBezTo>
                  <a:pt x="16504" y="11959"/>
                  <a:pt x="16510" y="11913"/>
                  <a:pt x="16506" y="11882"/>
                </a:cubicBezTo>
                <a:cubicBezTo>
                  <a:pt x="16492" y="11883"/>
                  <a:pt x="16478" y="11896"/>
                  <a:pt x="16465" y="11891"/>
                </a:cubicBezTo>
                <a:cubicBezTo>
                  <a:pt x="16432" y="11791"/>
                  <a:pt x="16491" y="11633"/>
                  <a:pt x="16506" y="11555"/>
                </a:cubicBezTo>
                <a:cubicBezTo>
                  <a:pt x="16505" y="11534"/>
                  <a:pt x="16507" y="11512"/>
                  <a:pt x="16506" y="11490"/>
                </a:cubicBezTo>
                <a:cubicBezTo>
                  <a:pt x="16510" y="11457"/>
                  <a:pt x="16519" y="11446"/>
                  <a:pt x="16511" y="11405"/>
                </a:cubicBezTo>
                <a:cubicBezTo>
                  <a:pt x="16531" y="11376"/>
                  <a:pt x="16539" y="11382"/>
                  <a:pt x="16571" y="11386"/>
                </a:cubicBezTo>
                <a:cubicBezTo>
                  <a:pt x="16570" y="11417"/>
                  <a:pt x="16573" y="11449"/>
                  <a:pt x="16571" y="11480"/>
                </a:cubicBezTo>
                <a:cubicBezTo>
                  <a:pt x="16584" y="11481"/>
                  <a:pt x="16588" y="11487"/>
                  <a:pt x="16597" y="11490"/>
                </a:cubicBezTo>
                <a:cubicBezTo>
                  <a:pt x="16614" y="11496"/>
                  <a:pt x="16618" y="11471"/>
                  <a:pt x="16637" y="11490"/>
                </a:cubicBezTo>
                <a:cubicBezTo>
                  <a:pt x="16645" y="11506"/>
                  <a:pt x="16654" y="11519"/>
                  <a:pt x="16663" y="11536"/>
                </a:cubicBezTo>
                <a:cubicBezTo>
                  <a:pt x="16670" y="11541"/>
                  <a:pt x="16675" y="11550"/>
                  <a:pt x="16683" y="11555"/>
                </a:cubicBezTo>
                <a:cubicBezTo>
                  <a:pt x="16697" y="11594"/>
                  <a:pt x="16697" y="11636"/>
                  <a:pt x="16707" y="11686"/>
                </a:cubicBezTo>
                <a:cubicBezTo>
                  <a:pt x="16707" y="11688"/>
                  <a:pt x="16707" y="11693"/>
                  <a:pt x="16707" y="11694"/>
                </a:cubicBezTo>
                <a:cubicBezTo>
                  <a:pt x="16724" y="11693"/>
                  <a:pt x="16721" y="11679"/>
                  <a:pt x="16738" y="11677"/>
                </a:cubicBezTo>
                <a:cubicBezTo>
                  <a:pt x="16747" y="11704"/>
                  <a:pt x="16745" y="11705"/>
                  <a:pt x="16738" y="11733"/>
                </a:cubicBezTo>
                <a:cubicBezTo>
                  <a:pt x="16740" y="11735"/>
                  <a:pt x="16741" y="11740"/>
                  <a:pt x="16743" y="11742"/>
                </a:cubicBezTo>
                <a:cubicBezTo>
                  <a:pt x="16754" y="11740"/>
                  <a:pt x="16768" y="11735"/>
                  <a:pt x="16779" y="11733"/>
                </a:cubicBezTo>
                <a:cubicBezTo>
                  <a:pt x="16793" y="11753"/>
                  <a:pt x="16806" y="11775"/>
                  <a:pt x="16824" y="11789"/>
                </a:cubicBezTo>
                <a:cubicBezTo>
                  <a:pt x="16827" y="11798"/>
                  <a:pt x="16833" y="11802"/>
                  <a:pt x="16834" y="11817"/>
                </a:cubicBezTo>
                <a:cubicBezTo>
                  <a:pt x="16819" y="11846"/>
                  <a:pt x="16813" y="11922"/>
                  <a:pt x="16814" y="11977"/>
                </a:cubicBezTo>
                <a:cubicBezTo>
                  <a:pt x="16848" y="11976"/>
                  <a:pt x="16846" y="11936"/>
                  <a:pt x="16865" y="11910"/>
                </a:cubicBezTo>
                <a:cubicBezTo>
                  <a:pt x="16875" y="11904"/>
                  <a:pt x="16885" y="11897"/>
                  <a:pt x="16895" y="11891"/>
                </a:cubicBezTo>
                <a:cubicBezTo>
                  <a:pt x="16901" y="11884"/>
                  <a:pt x="16904" y="11859"/>
                  <a:pt x="16910" y="11855"/>
                </a:cubicBezTo>
                <a:cubicBezTo>
                  <a:pt x="16915" y="11855"/>
                  <a:pt x="16925" y="11855"/>
                  <a:pt x="16930" y="11855"/>
                </a:cubicBezTo>
                <a:cubicBezTo>
                  <a:pt x="16951" y="11833"/>
                  <a:pt x="16941" y="11762"/>
                  <a:pt x="16945" y="11723"/>
                </a:cubicBezTo>
                <a:cubicBezTo>
                  <a:pt x="16946" y="11722"/>
                  <a:pt x="16949" y="11724"/>
                  <a:pt x="16950" y="11723"/>
                </a:cubicBezTo>
                <a:cubicBezTo>
                  <a:pt x="16985" y="11795"/>
                  <a:pt x="17001" y="11729"/>
                  <a:pt x="17026" y="11694"/>
                </a:cubicBezTo>
                <a:cubicBezTo>
                  <a:pt x="17050" y="11662"/>
                  <a:pt x="17082" y="11661"/>
                  <a:pt x="17092" y="11602"/>
                </a:cubicBezTo>
                <a:cubicBezTo>
                  <a:pt x="17091" y="11566"/>
                  <a:pt x="17092" y="11534"/>
                  <a:pt x="17092" y="11499"/>
                </a:cubicBezTo>
                <a:cubicBezTo>
                  <a:pt x="17097" y="11482"/>
                  <a:pt x="17102" y="11458"/>
                  <a:pt x="17107" y="11442"/>
                </a:cubicBezTo>
                <a:cubicBezTo>
                  <a:pt x="17097" y="11356"/>
                  <a:pt x="17087" y="11276"/>
                  <a:pt x="17077" y="11190"/>
                </a:cubicBezTo>
                <a:cubicBezTo>
                  <a:pt x="17070" y="11167"/>
                  <a:pt x="17053" y="11151"/>
                  <a:pt x="17046" y="11124"/>
                </a:cubicBezTo>
                <a:cubicBezTo>
                  <a:pt x="17044" y="11104"/>
                  <a:pt x="17044" y="11087"/>
                  <a:pt x="17041" y="11067"/>
                </a:cubicBezTo>
                <a:cubicBezTo>
                  <a:pt x="17034" y="11047"/>
                  <a:pt x="17023" y="11053"/>
                  <a:pt x="17011" y="11041"/>
                </a:cubicBezTo>
                <a:cubicBezTo>
                  <a:pt x="16997" y="11013"/>
                  <a:pt x="16984" y="10983"/>
                  <a:pt x="16970" y="10956"/>
                </a:cubicBezTo>
                <a:cubicBezTo>
                  <a:pt x="16959" y="10940"/>
                  <a:pt x="16947" y="10924"/>
                  <a:pt x="16935" y="10909"/>
                </a:cubicBezTo>
                <a:cubicBezTo>
                  <a:pt x="16922" y="10878"/>
                  <a:pt x="16929" y="10872"/>
                  <a:pt x="16920" y="10834"/>
                </a:cubicBezTo>
                <a:cubicBezTo>
                  <a:pt x="16903" y="10802"/>
                  <a:pt x="16887" y="10764"/>
                  <a:pt x="16870" y="10731"/>
                </a:cubicBezTo>
                <a:cubicBezTo>
                  <a:pt x="16872" y="10690"/>
                  <a:pt x="16883" y="10628"/>
                  <a:pt x="16895" y="10600"/>
                </a:cubicBezTo>
                <a:cubicBezTo>
                  <a:pt x="16912" y="10561"/>
                  <a:pt x="16949" y="10565"/>
                  <a:pt x="16945" y="10487"/>
                </a:cubicBezTo>
                <a:cubicBezTo>
                  <a:pt x="16952" y="10480"/>
                  <a:pt x="16969" y="10481"/>
                  <a:pt x="16980" y="10487"/>
                </a:cubicBezTo>
                <a:cubicBezTo>
                  <a:pt x="16988" y="10476"/>
                  <a:pt x="16986" y="10464"/>
                  <a:pt x="16985" y="10440"/>
                </a:cubicBezTo>
                <a:cubicBezTo>
                  <a:pt x="16996" y="10428"/>
                  <a:pt x="17011" y="10416"/>
                  <a:pt x="17021" y="10404"/>
                </a:cubicBezTo>
                <a:cubicBezTo>
                  <a:pt x="17031" y="10397"/>
                  <a:pt x="17038" y="10412"/>
                  <a:pt x="17046" y="10404"/>
                </a:cubicBezTo>
                <a:cubicBezTo>
                  <a:pt x="17051" y="10398"/>
                  <a:pt x="17055" y="10378"/>
                  <a:pt x="17056" y="10366"/>
                </a:cubicBezTo>
                <a:cubicBezTo>
                  <a:pt x="17073" y="10393"/>
                  <a:pt x="17077" y="10414"/>
                  <a:pt x="17107" y="10413"/>
                </a:cubicBezTo>
                <a:cubicBezTo>
                  <a:pt x="17111" y="10405"/>
                  <a:pt x="17113" y="10402"/>
                  <a:pt x="17117" y="10395"/>
                </a:cubicBezTo>
                <a:cubicBezTo>
                  <a:pt x="17123" y="10398"/>
                  <a:pt x="17131" y="10401"/>
                  <a:pt x="17137" y="10404"/>
                </a:cubicBezTo>
                <a:cubicBezTo>
                  <a:pt x="17141" y="10437"/>
                  <a:pt x="17123" y="10449"/>
                  <a:pt x="17127" y="10487"/>
                </a:cubicBezTo>
                <a:cubicBezTo>
                  <a:pt x="17134" y="10513"/>
                  <a:pt x="17140" y="10537"/>
                  <a:pt x="17147" y="10563"/>
                </a:cubicBezTo>
                <a:cubicBezTo>
                  <a:pt x="17160" y="10559"/>
                  <a:pt x="17168" y="10551"/>
                  <a:pt x="17178" y="10544"/>
                </a:cubicBezTo>
                <a:cubicBezTo>
                  <a:pt x="17178" y="10539"/>
                  <a:pt x="17177" y="10530"/>
                  <a:pt x="17178" y="10526"/>
                </a:cubicBezTo>
                <a:cubicBezTo>
                  <a:pt x="17168" y="10514"/>
                  <a:pt x="17165" y="10504"/>
                  <a:pt x="17157" y="10487"/>
                </a:cubicBezTo>
                <a:cubicBezTo>
                  <a:pt x="17160" y="10472"/>
                  <a:pt x="17164" y="10456"/>
                  <a:pt x="17167" y="10440"/>
                </a:cubicBezTo>
                <a:cubicBezTo>
                  <a:pt x="17168" y="10439"/>
                  <a:pt x="17167" y="10432"/>
                  <a:pt x="17167" y="10431"/>
                </a:cubicBezTo>
                <a:cubicBezTo>
                  <a:pt x="17171" y="10432"/>
                  <a:pt x="17175" y="10439"/>
                  <a:pt x="17178" y="10440"/>
                </a:cubicBezTo>
                <a:cubicBezTo>
                  <a:pt x="17195" y="10443"/>
                  <a:pt x="17202" y="10410"/>
                  <a:pt x="17218" y="10404"/>
                </a:cubicBezTo>
                <a:cubicBezTo>
                  <a:pt x="17228" y="10405"/>
                  <a:pt x="17238" y="10412"/>
                  <a:pt x="17248" y="10413"/>
                </a:cubicBezTo>
                <a:cubicBezTo>
                  <a:pt x="17255" y="10406"/>
                  <a:pt x="17256" y="10383"/>
                  <a:pt x="17263" y="10375"/>
                </a:cubicBezTo>
                <a:cubicBezTo>
                  <a:pt x="17271" y="10378"/>
                  <a:pt x="17281" y="10383"/>
                  <a:pt x="17289" y="10385"/>
                </a:cubicBezTo>
                <a:cubicBezTo>
                  <a:pt x="17301" y="10381"/>
                  <a:pt x="17311" y="10380"/>
                  <a:pt x="17324" y="10375"/>
                </a:cubicBezTo>
                <a:cubicBezTo>
                  <a:pt x="17327" y="10367"/>
                  <a:pt x="17332" y="10350"/>
                  <a:pt x="17334" y="10338"/>
                </a:cubicBezTo>
                <a:cubicBezTo>
                  <a:pt x="17340" y="10342"/>
                  <a:pt x="17343" y="10345"/>
                  <a:pt x="17349" y="10348"/>
                </a:cubicBezTo>
                <a:cubicBezTo>
                  <a:pt x="17374" y="10321"/>
                  <a:pt x="17364" y="10295"/>
                  <a:pt x="17370" y="10253"/>
                </a:cubicBezTo>
                <a:cubicBezTo>
                  <a:pt x="17404" y="10310"/>
                  <a:pt x="17394" y="10264"/>
                  <a:pt x="17440" y="10263"/>
                </a:cubicBezTo>
                <a:cubicBezTo>
                  <a:pt x="17441" y="10270"/>
                  <a:pt x="17440" y="10274"/>
                  <a:pt x="17440" y="10282"/>
                </a:cubicBezTo>
                <a:cubicBezTo>
                  <a:pt x="17462" y="10278"/>
                  <a:pt x="17473" y="10263"/>
                  <a:pt x="17486" y="10245"/>
                </a:cubicBezTo>
                <a:cubicBezTo>
                  <a:pt x="17495" y="10250"/>
                  <a:pt x="17507" y="10257"/>
                  <a:pt x="17516" y="10263"/>
                </a:cubicBezTo>
                <a:cubicBezTo>
                  <a:pt x="17525" y="10237"/>
                  <a:pt x="17536" y="10229"/>
                  <a:pt x="17556" y="10226"/>
                </a:cubicBezTo>
                <a:cubicBezTo>
                  <a:pt x="17559" y="10218"/>
                  <a:pt x="17562" y="10213"/>
                  <a:pt x="17562" y="10198"/>
                </a:cubicBezTo>
                <a:cubicBezTo>
                  <a:pt x="17582" y="10172"/>
                  <a:pt x="17599" y="10155"/>
                  <a:pt x="17622" y="10132"/>
                </a:cubicBezTo>
                <a:cubicBezTo>
                  <a:pt x="17631" y="10118"/>
                  <a:pt x="17644" y="10108"/>
                  <a:pt x="17653" y="10094"/>
                </a:cubicBezTo>
                <a:cubicBezTo>
                  <a:pt x="17654" y="10076"/>
                  <a:pt x="17650" y="10048"/>
                  <a:pt x="17653" y="10030"/>
                </a:cubicBezTo>
                <a:cubicBezTo>
                  <a:pt x="17660" y="10025"/>
                  <a:pt x="17675" y="10034"/>
                  <a:pt x="17683" y="10039"/>
                </a:cubicBezTo>
                <a:cubicBezTo>
                  <a:pt x="17688" y="10031"/>
                  <a:pt x="17710" y="9989"/>
                  <a:pt x="17713" y="9981"/>
                </a:cubicBezTo>
                <a:cubicBezTo>
                  <a:pt x="17718" y="9958"/>
                  <a:pt x="17723" y="9940"/>
                  <a:pt x="17728" y="9917"/>
                </a:cubicBezTo>
                <a:cubicBezTo>
                  <a:pt x="17735" y="9910"/>
                  <a:pt x="17742" y="9905"/>
                  <a:pt x="17748" y="9899"/>
                </a:cubicBezTo>
                <a:cubicBezTo>
                  <a:pt x="17758" y="9873"/>
                  <a:pt x="17757" y="9791"/>
                  <a:pt x="17753" y="9766"/>
                </a:cubicBezTo>
                <a:cubicBezTo>
                  <a:pt x="17759" y="9762"/>
                  <a:pt x="17776" y="9757"/>
                  <a:pt x="17784" y="9748"/>
                </a:cubicBezTo>
                <a:cubicBezTo>
                  <a:pt x="17798" y="9732"/>
                  <a:pt x="17842" y="9596"/>
                  <a:pt x="17849" y="9561"/>
                </a:cubicBezTo>
                <a:cubicBezTo>
                  <a:pt x="17852" y="9565"/>
                  <a:pt x="17857" y="9567"/>
                  <a:pt x="17860" y="9571"/>
                </a:cubicBezTo>
                <a:cubicBezTo>
                  <a:pt x="17869" y="9565"/>
                  <a:pt x="17889" y="9443"/>
                  <a:pt x="17895" y="9421"/>
                </a:cubicBezTo>
                <a:cubicBezTo>
                  <a:pt x="17889" y="9420"/>
                  <a:pt x="17885" y="9412"/>
                  <a:pt x="17880" y="9411"/>
                </a:cubicBezTo>
                <a:cubicBezTo>
                  <a:pt x="17888" y="9398"/>
                  <a:pt x="17892" y="9377"/>
                  <a:pt x="17900" y="9364"/>
                </a:cubicBezTo>
                <a:cubicBezTo>
                  <a:pt x="17900" y="9361"/>
                  <a:pt x="17900" y="9358"/>
                  <a:pt x="17900" y="9354"/>
                </a:cubicBezTo>
                <a:cubicBezTo>
                  <a:pt x="17876" y="9352"/>
                  <a:pt x="17870" y="9334"/>
                  <a:pt x="17860" y="9308"/>
                </a:cubicBezTo>
                <a:cubicBezTo>
                  <a:pt x="17830" y="9310"/>
                  <a:pt x="17817" y="9345"/>
                  <a:pt x="17789" y="9317"/>
                </a:cubicBezTo>
                <a:cubicBezTo>
                  <a:pt x="17805" y="9287"/>
                  <a:pt x="17863" y="9250"/>
                  <a:pt x="17890" y="9233"/>
                </a:cubicBezTo>
                <a:cubicBezTo>
                  <a:pt x="17896" y="9182"/>
                  <a:pt x="17881" y="9165"/>
                  <a:pt x="17869" y="9139"/>
                </a:cubicBezTo>
                <a:cubicBezTo>
                  <a:pt x="17877" y="9133"/>
                  <a:pt x="17883" y="9127"/>
                  <a:pt x="17890" y="9121"/>
                </a:cubicBezTo>
                <a:cubicBezTo>
                  <a:pt x="17890" y="9113"/>
                  <a:pt x="17891" y="9111"/>
                  <a:pt x="17890" y="9102"/>
                </a:cubicBezTo>
                <a:cubicBezTo>
                  <a:pt x="17884" y="9080"/>
                  <a:pt x="17872" y="9082"/>
                  <a:pt x="17864" y="9065"/>
                </a:cubicBezTo>
                <a:cubicBezTo>
                  <a:pt x="17861" y="9053"/>
                  <a:pt x="17858" y="9040"/>
                  <a:pt x="17854" y="9028"/>
                </a:cubicBezTo>
                <a:cubicBezTo>
                  <a:pt x="17848" y="9018"/>
                  <a:pt x="17839" y="9021"/>
                  <a:pt x="17834" y="9009"/>
                </a:cubicBezTo>
                <a:cubicBezTo>
                  <a:pt x="17828" y="8991"/>
                  <a:pt x="17834" y="8965"/>
                  <a:pt x="17829" y="8944"/>
                </a:cubicBezTo>
                <a:cubicBezTo>
                  <a:pt x="17822" y="8931"/>
                  <a:pt x="17816" y="8918"/>
                  <a:pt x="17809" y="8905"/>
                </a:cubicBezTo>
                <a:cubicBezTo>
                  <a:pt x="17805" y="8879"/>
                  <a:pt x="17803" y="8847"/>
                  <a:pt x="17799" y="8821"/>
                </a:cubicBezTo>
                <a:cubicBezTo>
                  <a:pt x="17789" y="8777"/>
                  <a:pt x="17753" y="8733"/>
                  <a:pt x="17728" y="8718"/>
                </a:cubicBezTo>
                <a:cubicBezTo>
                  <a:pt x="17724" y="8622"/>
                  <a:pt x="17801" y="8617"/>
                  <a:pt x="17784" y="8522"/>
                </a:cubicBezTo>
                <a:cubicBezTo>
                  <a:pt x="17788" y="8520"/>
                  <a:pt x="17794" y="8515"/>
                  <a:pt x="17799" y="8512"/>
                </a:cubicBezTo>
                <a:cubicBezTo>
                  <a:pt x="17801" y="8522"/>
                  <a:pt x="17801" y="8531"/>
                  <a:pt x="17804" y="8540"/>
                </a:cubicBezTo>
                <a:cubicBezTo>
                  <a:pt x="17809" y="8537"/>
                  <a:pt x="17814" y="8543"/>
                  <a:pt x="17819" y="8540"/>
                </a:cubicBezTo>
                <a:cubicBezTo>
                  <a:pt x="17820" y="8525"/>
                  <a:pt x="17824" y="8509"/>
                  <a:pt x="17825" y="8493"/>
                </a:cubicBezTo>
                <a:cubicBezTo>
                  <a:pt x="17849" y="8444"/>
                  <a:pt x="17894" y="8423"/>
                  <a:pt x="17935" y="8438"/>
                </a:cubicBezTo>
                <a:cubicBezTo>
                  <a:pt x="17935" y="8405"/>
                  <a:pt x="17935" y="8384"/>
                  <a:pt x="17940" y="8362"/>
                </a:cubicBezTo>
                <a:cubicBezTo>
                  <a:pt x="17920" y="8346"/>
                  <a:pt x="17903" y="8370"/>
                  <a:pt x="17880" y="8362"/>
                </a:cubicBezTo>
                <a:cubicBezTo>
                  <a:pt x="17860" y="8356"/>
                  <a:pt x="17852" y="8314"/>
                  <a:pt x="17834" y="8307"/>
                </a:cubicBezTo>
                <a:cubicBezTo>
                  <a:pt x="17800" y="8290"/>
                  <a:pt x="17786" y="8376"/>
                  <a:pt x="17763" y="8391"/>
                </a:cubicBezTo>
                <a:cubicBezTo>
                  <a:pt x="17750" y="8400"/>
                  <a:pt x="17737" y="8392"/>
                  <a:pt x="17723" y="8391"/>
                </a:cubicBezTo>
                <a:cubicBezTo>
                  <a:pt x="17712" y="8356"/>
                  <a:pt x="17718" y="8328"/>
                  <a:pt x="17718" y="8278"/>
                </a:cubicBezTo>
                <a:cubicBezTo>
                  <a:pt x="17697" y="8251"/>
                  <a:pt x="17649" y="8268"/>
                  <a:pt x="17632" y="8231"/>
                </a:cubicBezTo>
                <a:cubicBezTo>
                  <a:pt x="17629" y="8218"/>
                  <a:pt x="17625" y="8208"/>
                  <a:pt x="17622" y="8194"/>
                </a:cubicBezTo>
                <a:cubicBezTo>
                  <a:pt x="17628" y="8165"/>
                  <a:pt x="17637" y="8112"/>
                  <a:pt x="17653" y="8100"/>
                </a:cubicBezTo>
                <a:cubicBezTo>
                  <a:pt x="17656" y="8096"/>
                  <a:pt x="17655" y="8100"/>
                  <a:pt x="17662" y="8100"/>
                </a:cubicBezTo>
                <a:cubicBezTo>
                  <a:pt x="17667" y="8112"/>
                  <a:pt x="17673" y="8117"/>
                  <a:pt x="17678" y="8129"/>
                </a:cubicBezTo>
                <a:cubicBezTo>
                  <a:pt x="17688" y="8125"/>
                  <a:pt x="17686" y="8115"/>
                  <a:pt x="17692" y="8110"/>
                </a:cubicBezTo>
                <a:cubicBezTo>
                  <a:pt x="17703" y="8102"/>
                  <a:pt x="17715" y="8112"/>
                  <a:pt x="17723" y="8100"/>
                </a:cubicBezTo>
                <a:cubicBezTo>
                  <a:pt x="17737" y="8079"/>
                  <a:pt x="17738" y="8028"/>
                  <a:pt x="17753" y="8007"/>
                </a:cubicBezTo>
                <a:cubicBezTo>
                  <a:pt x="17766" y="7988"/>
                  <a:pt x="17789" y="7997"/>
                  <a:pt x="17804" y="7979"/>
                </a:cubicBezTo>
                <a:cubicBezTo>
                  <a:pt x="17820" y="7944"/>
                  <a:pt x="17833" y="7911"/>
                  <a:pt x="17849" y="7876"/>
                </a:cubicBezTo>
                <a:cubicBezTo>
                  <a:pt x="17883" y="7874"/>
                  <a:pt x="17915" y="7893"/>
                  <a:pt x="17920" y="7942"/>
                </a:cubicBezTo>
                <a:cubicBezTo>
                  <a:pt x="17902" y="7980"/>
                  <a:pt x="17883" y="8025"/>
                  <a:pt x="17864" y="8063"/>
                </a:cubicBezTo>
                <a:cubicBezTo>
                  <a:pt x="17864" y="8070"/>
                  <a:pt x="17864" y="8075"/>
                  <a:pt x="17864" y="8082"/>
                </a:cubicBezTo>
                <a:cubicBezTo>
                  <a:pt x="17865" y="8084"/>
                  <a:pt x="17869" y="8081"/>
                  <a:pt x="17869" y="8082"/>
                </a:cubicBezTo>
                <a:cubicBezTo>
                  <a:pt x="17880" y="8081"/>
                  <a:pt x="17885" y="8088"/>
                  <a:pt x="17895" y="8091"/>
                </a:cubicBezTo>
                <a:cubicBezTo>
                  <a:pt x="17885" y="8122"/>
                  <a:pt x="17864" y="8134"/>
                  <a:pt x="17854" y="8165"/>
                </a:cubicBezTo>
                <a:cubicBezTo>
                  <a:pt x="17874" y="8178"/>
                  <a:pt x="17894" y="8134"/>
                  <a:pt x="17905" y="8120"/>
                </a:cubicBezTo>
                <a:cubicBezTo>
                  <a:pt x="17936" y="8091"/>
                  <a:pt x="17965" y="8053"/>
                  <a:pt x="17996" y="8025"/>
                </a:cubicBezTo>
                <a:cubicBezTo>
                  <a:pt x="18014" y="8015"/>
                  <a:pt x="18036" y="8020"/>
                  <a:pt x="18051" y="8007"/>
                </a:cubicBezTo>
                <a:cubicBezTo>
                  <a:pt x="18072" y="8084"/>
                  <a:pt x="18106" y="8016"/>
                  <a:pt x="18122" y="8073"/>
                </a:cubicBezTo>
                <a:cubicBezTo>
                  <a:pt x="18127" y="8089"/>
                  <a:pt x="18109" y="8131"/>
                  <a:pt x="18107" y="8157"/>
                </a:cubicBezTo>
                <a:cubicBezTo>
                  <a:pt x="18112" y="8163"/>
                  <a:pt x="18122" y="8169"/>
                  <a:pt x="18127" y="8175"/>
                </a:cubicBezTo>
                <a:cubicBezTo>
                  <a:pt x="18117" y="8209"/>
                  <a:pt x="18098" y="8199"/>
                  <a:pt x="18087" y="8251"/>
                </a:cubicBezTo>
                <a:cubicBezTo>
                  <a:pt x="18099" y="8279"/>
                  <a:pt x="18118" y="8304"/>
                  <a:pt x="18122" y="8343"/>
                </a:cubicBezTo>
                <a:cubicBezTo>
                  <a:pt x="18129" y="8327"/>
                  <a:pt x="18136" y="8304"/>
                  <a:pt x="18142" y="8288"/>
                </a:cubicBezTo>
                <a:cubicBezTo>
                  <a:pt x="18156" y="8292"/>
                  <a:pt x="18160" y="8312"/>
                  <a:pt x="18163" y="8335"/>
                </a:cubicBezTo>
                <a:cubicBezTo>
                  <a:pt x="18173" y="8329"/>
                  <a:pt x="18175" y="8318"/>
                  <a:pt x="18182" y="8307"/>
                </a:cubicBezTo>
                <a:cubicBezTo>
                  <a:pt x="18195" y="8325"/>
                  <a:pt x="18217" y="8382"/>
                  <a:pt x="18218" y="8419"/>
                </a:cubicBezTo>
                <a:cubicBezTo>
                  <a:pt x="18216" y="8422"/>
                  <a:pt x="18215" y="8425"/>
                  <a:pt x="18213" y="8428"/>
                </a:cubicBezTo>
                <a:cubicBezTo>
                  <a:pt x="18205" y="8424"/>
                  <a:pt x="18200" y="8414"/>
                  <a:pt x="18193" y="8409"/>
                </a:cubicBezTo>
                <a:cubicBezTo>
                  <a:pt x="18186" y="8417"/>
                  <a:pt x="18179" y="8430"/>
                  <a:pt x="18173" y="8438"/>
                </a:cubicBezTo>
                <a:cubicBezTo>
                  <a:pt x="18171" y="8442"/>
                  <a:pt x="18169" y="8444"/>
                  <a:pt x="18167" y="8448"/>
                </a:cubicBezTo>
                <a:cubicBezTo>
                  <a:pt x="18179" y="8448"/>
                  <a:pt x="18185" y="8451"/>
                  <a:pt x="18193" y="8457"/>
                </a:cubicBezTo>
                <a:cubicBezTo>
                  <a:pt x="18195" y="8472"/>
                  <a:pt x="18191" y="8496"/>
                  <a:pt x="18193" y="8512"/>
                </a:cubicBezTo>
                <a:cubicBezTo>
                  <a:pt x="18197" y="8526"/>
                  <a:pt x="18203" y="8537"/>
                  <a:pt x="18208" y="8550"/>
                </a:cubicBezTo>
                <a:cubicBezTo>
                  <a:pt x="18213" y="8593"/>
                  <a:pt x="18185" y="8615"/>
                  <a:pt x="18182" y="8653"/>
                </a:cubicBezTo>
                <a:cubicBezTo>
                  <a:pt x="18186" y="8693"/>
                  <a:pt x="18194" y="8735"/>
                  <a:pt x="18198" y="8776"/>
                </a:cubicBezTo>
                <a:cubicBezTo>
                  <a:pt x="18208" y="8765"/>
                  <a:pt x="18211" y="8767"/>
                  <a:pt x="18223" y="8756"/>
                </a:cubicBezTo>
                <a:cubicBezTo>
                  <a:pt x="18243" y="8739"/>
                  <a:pt x="18255" y="8686"/>
                  <a:pt x="18283" y="8681"/>
                </a:cubicBezTo>
                <a:cubicBezTo>
                  <a:pt x="18294" y="8679"/>
                  <a:pt x="18296" y="8698"/>
                  <a:pt x="18309" y="8700"/>
                </a:cubicBezTo>
                <a:cubicBezTo>
                  <a:pt x="18318" y="8686"/>
                  <a:pt x="18322" y="8670"/>
                  <a:pt x="18335" y="8661"/>
                </a:cubicBezTo>
                <a:cubicBezTo>
                  <a:pt x="18342" y="8667"/>
                  <a:pt x="18343" y="8671"/>
                  <a:pt x="18354" y="8671"/>
                </a:cubicBezTo>
                <a:cubicBezTo>
                  <a:pt x="18371" y="8643"/>
                  <a:pt x="18382" y="8593"/>
                  <a:pt x="18390" y="8550"/>
                </a:cubicBezTo>
                <a:cubicBezTo>
                  <a:pt x="18385" y="8550"/>
                  <a:pt x="18384" y="8550"/>
                  <a:pt x="18379" y="8550"/>
                </a:cubicBezTo>
                <a:cubicBezTo>
                  <a:pt x="18367" y="8496"/>
                  <a:pt x="18385" y="8404"/>
                  <a:pt x="18370" y="8353"/>
                </a:cubicBezTo>
                <a:cubicBezTo>
                  <a:pt x="18352" y="8292"/>
                  <a:pt x="18325" y="8232"/>
                  <a:pt x="18299" y="8185"/>
                </a:cubicBezTo>
                <a:cubicBezTo>
                  <a:pt x="18286" y="8160"/>
                  <a:pt x="18261" y="8144"/>
                  <a:pt x="18254" y="8110"/>
                </a:cubicBezTo>
                <a:cubicBezTo>
                  <a:pt x="18250" y="8098"/>
                  <a:pt x="18256" y="8078"/>
                  <a:pt x="18259" y="8063"/>
                </a:cubicBezTo>
                <a:cubicBezTo>
                  <a:pt x="18275" y="7977"/>
                  <a:pt x="18302" y="8026"/>
                  <a:pt x="18330" y="7979"/>
                </a:cubicBezTo>
                <a:cubicBezTo>
                  <a:pt x="18343" y="7955"/>
                  <a:pt x="18356" y="7927"/>
                  <a:pt x="18370" y="7903"/>
                </a:cubicBezTo>
                <a:cubicBezTo>
                  <a:pt x="18377" y="7901"/>
                  <a:pt x="18383" y="7906"/>
                  <a:pt x="18390" y="7903"/>
                </a:cubicBezTo>
                <a:cubicBezTo>
                  <a:pt x="18402" y="7883"/>
                  <a:pt x="18394" y="7791"/>
                  <a:pt x="18400" y="7764"/>
                </a:cubicBezTo>
                <a:cubicBezTo>
                  <a:pt x="18403" y="7753"/>
                  <a:pt x="18514" y="7546"/>
                  <a:pt x="18521" y="7538"/>
                </a:cubicBezTo>
                <a:cubicBezTo>
                  <a:pt x="18527" y="7536"/>
                  <a:pt x="18531" y="7531"/>
                  <a:pt x="18536" y="7529"/>
                </a:cubicBezTo>
                <a:cubicBezTo>
                  <a:pt x="18533" y="7540"/>
                  <a:pt x="18529" y="7547"/>
                  <a:pt x="18526" y="7558"/>
                </a:cubicBezTo>
                <a:cubicBezTo>
                  <a:pt x="18536" y="7552"/>
                  <a:pt x="18551" y="7546"/>
                  <a:pt x="18562" y="7538"/>
                </a:cubicBezTo>
                <a:cubicBezTo>
                  <a:pt x="18573" y="7574"/>
                  <a:pt x="18575" y="7569"/>
                  <a:pt x="18597" y="7585"/>
                </a:cubicBezTo>
                <a:cubicBezTo>
                  <a:pt x="18602" y="7591"/>
                  <a:pt x="18606" y="7593"/>
                  <a:pt x="18608" y="7604"/>
                </a:cubicBezTo>
                <a:cubicBezTo>
                  <a:pt x="18618" y="7612"/>
                  <a:pt x="18639" y="7594"/>
                  <a:pt x="18652" y="7585"/>
                </a:cubicBezTo>
                <a:cubicBezTo>
                  <a:pt x="18688" y="7562"/>
                  <a:pt x="18718" y="7543"/>
                  <a:pt x="18738" y="7493"/>
                </a:cubicBezTo>
                <a:cubicBezTo>
                  <a:pt x="18753" y="7458"/>
                  <a:pt x="18764" y="7415"/>
                  <a:pt x="18783" y="7389"/>
                </a:cubicBezTo>
                <a:cubicBezTo>
                  <a:pt x="18815" y="7345"/>
                  <a:pt x="18816" y="7322"/>
                  <a:pt x="18840" y="7267"/>
                </a:cubicBezTo>
                <a:cubicBezTo>
                  <a:pt x="18866" y="7205"/>
                  <a:pt x="18906" y="7165"/>
                  <a:pt x="18930" y="7099"/>
                </a:cubicBezTo>
                <a:cubicBezTo>
                  <a:pt x="18938" y="7067"/>
                  <a:pt x="18943" y="7028"/>
                  <a:pt x="18950" y="6997"/>
                </a:cubicBezTo>
                <a:cubicBezTo>
                  <a:pt x="18963" y="6976"/>
                  <a:pt x="18978" y="6961"/>
                  <a:pt x="18991" y="6940"/>
                </a:cubicBezTo>
                <a:cubicBezTo>
                  <a:pt x="18999" y="6919"/>
                  <a:pt x="18998" y="6885"/>
                  <a:pt x="19006" y="6866"/>
                </a:cubicBezTo>
                <a:cubicBezTo>
                  <a:pt x="19026" y="6830"/>
                  <a:pt x="19042" y="6796"/>
                  <a:pt x="19061" y="6761"/>
                </a:cubicBezTo>
                <a:cubicBezTo>
                  <a:pt x="19069" y="6677"/>
                  <a:pt x="19078" y="6593"/>
                  <a:pt x="19086" y="6509"/>
                </a:cubicBezTo>
                <a:cubicBezTo>
                  <a:pt x="19083" y="6487"/>
                  <a:pt x="19080" y="6465"/>
                  <a:pt x="19077" y="6443"/>
                </a:cubicBezTo>
                <a:cubicBezTo>
                  <a:pt x="19085" y="6346"/>
                  <a:pt x="19118" y="6279"/>
                  <a:pt x="19137" y="6200"/>
                </a:cubicBezTo>
                <a:cubicBezTo>
                  <a:pt x="19132" y="6183"/>
                  <a:pt x="19129" y="6177"/>
                  <a:pt x="19118" y="6173"/>
                </a:cubicBezTo>
                <a:cubicBezTo>
                  <a:pt x="19121" y="6145"/>
                  <a:pt x="19128" y="6136"/>
                  <a:pt x="19127" y="6107"/>
                </a:cubicBezTo>
                <a:cubicBezTo>
                  <a:pt x="19123" y="6101"/>
                  <a:pt x="19117" y="6092"/>
                  <a:pt x="19112" y="6087"/>
                </a:cubicBezTo>
                <a:cubicBezTo>
                  <a:pt x="19118" y="6073"/>
                  <a:pt x="19122" y="6065"/>
                  <a:pt x="19127" y="6051"/>
                </a:cubicBezTo>
                <a:cubicBezTo>
                  <a:pt x="19090" y="6015"/>
                  <a:pt x="19076" y="5933"/>
                  <a:pt x="19046" y="5901"/>
                </a:cubicBezTo>
                <a:cubicBezTo>
                  <a:pt x="19023" y="5876"/>
                  <a:pt x="18992" y="5896"/>
                  <a:pt x="18960" y="5882"/>
                </a:cubicBezTo>
                <a:cubicBezTo>
                  <a:pt x="18960" y="5899"/>
                  <a:pt x="18956" y="5912"/>
                  <a:pt x="18956" y="5929"/>
                </a:cubicBezTo>
                <a:cubicBezTo>
                  <a:pt x="18945" y="5986"/>
                  <a:pt x="18915" y="5982"/>
                  <a:pt x="18875" y="5976"/>
                </a:cubicBezTo>
                <a:cubicBezTo>
                  <a:pt x="18875" y="5971"/>
                  <a:pt x="18875" y="5971"/>
                  <a:pt x="18875" y="5966"/>
                </a:cubicBezTo>
                <a:cubicBezTo>
                  <a:pt x="18880" y="5955"/>
                  <a:pt x="18884" y="5940"/>
                  <a:pt x="18889" y="5929"/>
                </a:cubicBezTo>
                <a:cubicBezTo>
                  <a:pt x="18863" y="5907"/>
                  <a:pt x="18857" y="5954"/>
                  <a:pt x="18829" y="5947"/>
                </a:cubicBezTo>
                <a:cubicBezTo>
                  <a:pt x="18828" y="5946"/>
                  <a:pt x="18825" y="5947"/>
                  <a:pt x="18824" y="5947"/>
                </a:cubicBezTo>
                <a:cubicBezTo>
                  <a:pt x="18822" y="5900"/>
                  <a:pt x="18833" y="5860"/>
                  <a:pt x="18834" y="5816"/>
                </a:cubicBezTo>
                <a:cubicBezTo>
                  <a:pt x="18805" y="5814"/>
                  <a:pt x="18776" y="5827"/>
                  <a:pt x="18744" y="5826"/>
                </a:cubicBezTo>
                <a:cubicBezTo>
                  <a:pt x="18740" y="5818"/>
                  <a:pt x="18737" y="5815"/>
                  <a:pt x="18733" y="5807"/>
                </a:cubicBezTo>
                <a:cubicBezTo>
                  <a:pt x="18733" y="5716"/>
                  <a:pt x="18804" y="5680"/>
                  <a:pt x="18834" y="5638"/>
                </a:cubicBezTo>
                <a:cubicBezTo>
                  <a:pt x="18848" y="5615"/>
                  <a:pt x="18861" y="5597"/>
                  <a:pt x="18875" y="5573"/>
                </a:cubicBezTo>
                <a:cubicBezTo>
                  <a:pt x="18910" y="5511"/>
                  <a:pt x="18946" y="5448"/>
                  <a:pt x="18981" y="5386"/>
                </a:cubicBezTo>
                <a:cubicBezTo>
                  <a:pt x="19007" y="5355"/>
                  <a:pt x="19035" y="5323"/>
                  <a:pt x="19061" y="5292"/>
                </a:cubicBezTo>
                <a:cubicBezTo>
                  <a:pt x="19071" y="5261"/>
                  <a:pt x="19082" y="5229"/>
                  <a:pt x="19092" y="5199"/>
                </a:cubicBezTo>
                <a:cubicBezTo>
                  <a:pt x="19103" y="5170"/>
                  <a:pt x="19127" y="5163"/>
                  <a:pt x="19142" y="5142"/>
                </a:cubicBezTo>
                <a:cubicBezTo>
                  <a:pt x="19147" y="5130"/>
                  <a:pt x="19152" y="5117"/>
                  <a:pt x="19157" y="5105"/>
                </a:cubicBezTo>
                <a:cubicBezTo>
                  <a:pt x="19172" y="5070"/>
                  <a:pt x="19199" y="5038"/>
                  <a:pt x="19223" y="5021"/>
                </a:cubicBezTo>
                <a:cubicBezTo>
                  <a:pt x="19266" y="4990"/>
                  <a:pt x="19353" y="5006"/>
                  <a:pt x="19400" y="5002"/>
                </a:cubicBezTo>
                <a:cubicBezTo>
                  <a:pt x="19415" y="5032"/>
                  <a:pt x="19400" y="5060"/>
                  <a:pt x="19435" y="5058"/>
                </a:cubicBezTo>
                <a:cubicBezTo>
                  <a:pt x="19438" y="5043"/>
                  <a:pt x="19443" y="5026"/>
                  <a:pt x="19446" y="5011"/>
                </a:cubicBezTo>
                <a:cubicBezTo>
                  <a:pt x="19470" y="5004"/>
                  <a:pt x="19486" y="5029"/>
                  <a:pt x="19511" y="5021"/>
                </a:cubicBezTo>
                <a:cubicBezTo>
                  <a:pt x="19528" y="5017"/>
                  <a:pt x="19545" y="5015"/>
                  <a:pt x="19562" y="5011"/>
                </a:cubicBezTo>
                <a:cubicBezTo>
                  <a:pt x="19573" y="5021"/>
                  <a:pt x="19586" y="5031"/>
                  <a:pt x="19597" y="5040"/>
                </a:cubicBezTo>
                <a:cubicBezTo>
                  <a:pt x="19602" y="5032"/>
                  <a:pt x="19609" y="5032"/>
                  <a:pt x="19612" y="5021"/>
                </a:cubicBezTo>
                <a:cubicBezTo>
                  <a:pt x="19619" y="5010"/>
                  <a:pt x="19614" y="4994"/>
                  <a:pt x="19612" y="4974"/>
                </a:cubicBezTo>
                <a:cubicBezTo>
                  <a:pt x="19629" y="4958"/>
                  <a:pt x="19649" y="4953"/>
                  <a:pt x="19678" y="4955"/>
                </a:cubicBezTo>
                <a:cubicBezTo>
                  <a:pt x="19688" y="4968"/>
                  <a:pt x="19698" y="4978"/>
                  <a:pt x="19708" y="4992"/>
                </a:cubicBezTo>
                <a:cubicBezTo>
                  <a:pt x="19717" y="4987"/>
                  <a:pt x="19724" y="4988"/>
                  <a:pt x="19733" y="4984"/>
                </a:cubicBezTo>
                <a:cubicBezTo>
                  <a:pt x="19772" y="4969"/>
                  <a:pt x="19800" y="4998"/>
                  <a:pt x="19809" y="5040"/>
                </a:cubicBezTo>
                <a:cubicBezTo>
                  <a:pt x="19810" y="5042"/>
                  <a:pt x="19813" y="5047"/>
                  <a:pt x="19814" y="5050"/>
                </a:cubicBezTo>
                <a:cubicBezTo>
                  <a:pt x="19795" y="5058"/>
                  <a:pt x="19766" y="5055"/>
                  <a:pt x="19759" y="5087"/>
                </a:cubicBezTo>
                <a:cubicBezTo>
                  <a:pt x="19781" y="5130"/>
                  <a:pt x="19811" y="5082"/>
                  <a:pt x="19834" y="5068"/>
                </a:cubicBezTo>
                <a:cubicBezTo>
                  <a:pt x="19840" y="5074"/>
                  <a:pt x="19844" y="5090"/>
                  <a:pt x="19849" y="5096"/>
                </a:cubicBezTo>
                <a:cubicBezTo>
                  <a:pt x="19851" y="5099"/>
                  <a:pt x="19853" y="5094"/>
                  <a:pt x="19854" y="5096"/>
                </a:cubicBezTo>
                <a:cubicBezTo>
                  <a:pt x="19864" y="5083"/>
                  <a:pt x="19876" y="5072"/>
                  <a:pt x="19885" y="5058"/>
                </a:cubicBezTo>
                <a:cubicBezTo>
                  <a:pt x="19903" y="5045"/>
                  <a:pt x="19923" y="5075"/>
                  <a:pt x="19945" y="5068"/>
                </a:cubicBezTo>
                <a:cubicBezTo>
                  <a:pt x="19951" y="5066"/>
                  <a:pt x="19992" y="5047"/>
                  <a:pt x="20001" y="5040"/>
                </a:cubicBezTo>
                <a:cubicBezTo>
                  <a:pt x="20002" y="5040"/>
                  <a:pt x="20005" y="5040"/>
                  <a:pt x="20006" y="5040"/>
                </a:cubicBezTo>
                <a:cubicBezTo>
                  <a:pt x="20004" y="5031"/>
                  <a:pt x="20003" y="5020"/>
                  <a:pt x="20001" y="5011"/>
                </a:cubicBezTo>
                <a:cubicBezTo>
                  <a:pt x="19986" y="4999"/>
                  <a:pt x="19952" y="5011"/>
                  <a:pt x="19945" y="4984"/>
                </a:cubicBezTo>
                <a:cubicBezTo>
                  <a:pt x="19925" y="4902"/>
                  <a:pt x="20033" y="4800"/>
                  <a:pt x="20062" y="4787"/>
                </a:cubicBezTo>
                <a:cubicBezTo>
                  <a:pt x="20061" y="4773"/>
                  <a:pt x="20058" y="4763"/>
                  <a:pt x="20057" y="4749"/>
                </a:cubicBezTo>
                <a:cubicBezTo>
                  <a:pt x="20066" y="4726"/>
                  <a:pt x="20087" y="4694"/>
                  <a:pt x="20102" y="4683"/>
                </a:cubicBezTo>
                <a:cubicBezTo>
                  <a:pt x="20103" y="4665"/>
                  <a:pt x="20101" y="4644"/>
                  <a:pt x="20102" y="4627"/>
                </a:cubicBezTo>
                <a:cubicBezTo>
                  <a:pt x="20128" y="4596"/>
                  <a:pt x="20264" y="4517"/>
                  <a:pt x="20279" y="4609"/>
                </a:cubicBezTo>
                <a:cubicBezTo>
                  <a:pt x="20306" y="4605"/>
                  <a:pt x="20314" y="4573"/>
                  <a:pt x="20340" y="4572"/>
                </a:cubicBezTo>
                <a:cubicBezTo>
                  <a:pt x="20346" y="4610"/>
                  <a:pt x="20322" y="4648"/>
                  <a:pt x="20314" y="4683"/>
                </a:cubicBezTo>
                <a:cubicBezTo>
                  <a:pt x="20316" y="4688"/>
                  <a:pt x="20317" y="4697"/>
                  <a:pt x="20319" y="4702"/>
                </a:cubicBezTo>
                <a:cubicBezTo>
                  <a:pt x="20324" y="4711"/>
                  <a:pt x="20336" y="4713"/>
                  <a:pt x="20345" y="4712"/>
                </a:cubicBezTo>
                <a:cubicBezTo>
                  <a:pt x="20340" y="4734"/>
                  <a:pt x="20334" y="4756"/>
                  <a:pt x="20330" y="4778"/>
                </a:cubicBezTo>
                <a:cubicBezTo>
                  <a:pt x="20376" y="4786"/>
                  <a:pt x="20436" y="4656"/>
                  <a:pt x="20471" y="4618"/>
                </a:cubicBezTo>
                <a:cubicBezTo>
                  <a:pt x="20481" y="4612"/>
                  <a:pt x="20496" y="4606"/>
                  <a:pt x="20506" y="4600"/>
                </a:cubicBezTo>
                <a:cubicBezTo>
                  <a:pt x="20508" y="4600"/>
                  <a:pt x="20505" y="4592"/>
                  <a:pt x="20506" y="4591"/>
                </a:cubicBezTo>
                <a:cubicBezTo>
                  <a:pt x="20503" y="4531"/>
                  <a:pt x="20521" y="4522"/>
                  <a:pt x="20521" y="4459"/>
                </a:cubicBezTo>
                <a:cubicBezTo>
                  <a:pt x="20544" y="4446"/>
                  <a:pt x="20568" y="4435"/>
                  <a:pt x="20592" y="4421"/>
                </a:cubicBezTo>
                <a:cubicBezTo>
                  <a:pt x="20612" y="4428"/>
                  <a:pt x="20633" y="4435"/>
                  <a:pt x="20653" y="4441"/>
                </a:cubicBezTo>
                <a:cubicBezTo>
                  <a:pt x="20658" y="4450"/>
                  <a:pt x="20663" y="4459"/>
                  <a:pt x="20668" y="4468"/>
                </a:cubicBezTo>
                <a:cubicBezTo>
                  <a:pt x="20638" y="4470"/>
                  <a:pt x="20608" y="4482"/>
                  <a:pt x="20587" y="4496"/>
                </a:cubicBezTo>
                <a:cubicBezTo>
                  <a:pt x="20582" y="4518"/>
                  <a:pt x="20587" y="4543"/>
                  <a:pt x="20582" y="4572"/>
                </a:cubicBezTo>
                <a:cubicBezTo>
                  <a:pt x="20575" y="4596"/>
                  <a:pt x="20569" y="4621"/>
                  <a:pt x="20562" y="4646"/>
                </a:cubicBezTo>
                <a:cubicBezTo>
                  <a:pt x="20567" y="4652"/>
                  <a:pt x="20571" y="4659"/>
                  <a:pt x="20577" y="4665"/>
                </a:cubicBezTo>
                <a:cubicBezTo>
                  <a:pt x="20575" y="4674"/>
                  <a:pt x="20545" y="4753"/>
                  <a:pt x="20541" y="4759"/>
                </a:cubicBezTo>
                <a:cubicBezTo>
                  <a:pt x="20515" y="4799"/>
                  <a:pt x="20468" y="4789"/>
                  <a:pt x="20446" y="4833"/>
                </a:cubicBezTo>
                <a:cubicBezTo>
                  <a:pt x="20437" y="4851"/>
                  <a:pt x="20441" y="4874"/>
                  <a:pt x="20431" y="4890"/>
                </a:cubicBezTo>
                <a:cubicBezTo>
                  <a:pt x="20392" y="4944"/>
                  <a:pt x="20352" y="5004"/>
                  <a:pt x="20314" y="5058"/>
                </a:cubicBezTo>
                <a:cubicBezTo>
                  <a:pt x="20307" y="5081"/>
                  <a:pt x="20301" y="5100"/>
                  <a:pt x="20294" y="5123"/>
                </a:cubicBezTo>
                <a:cubicBezTo>
                  <a:pt x="20255" y="5200"/>
                  <a:pt x="20191" y="5275"/>
                  <a:pt x="20127" y="5302"/>
                </a:cubicBezTo>
                <a:cubicBezTo>
                  <a:pt x="20130" y="5314"/>
                  <a:pt x="20130" y="5326"/>
                  <a:pt x="20132" y="5339"/>
                </a:cubicBezTo>
                <a:cubicBezTo>
                  <a:pt x="20126" y="5362"/>
                  <a:pt x="20119" y="5382"/>
                  <a:pt x="20112" y="5405"/>
                </a:cubicBezTo>
                <a:cubicBezTo>
                  <a:pt x="20096" y="5445"/>
                  <a:pt x="20061" y="5470"/>
                  <a:pt x="20051" y="5517"/>
                </a:cubicBezTo>
                <a:cubicBezTo>
                  <a:pt x="20050" y="5542"/>
                  <a:pt x="20048" y="5575"/>
                  <a:pt x="20046" y="5601"/>
                </a:cubicBezTo>
                <a:cubicBezTo>
                  <a:pt x="20036" y="5701"/>
                  <a:pt x="20048" y="5782"/>
                  <a:pt x="20057" y="5872"/>
                </a:cubicBezTo>
                <a:cubicBezTo>
                  <a:pt x="20065" y="5957"/>
                  <a:pt x="20065" y="6009"/>
                  <a:pt x="20077" y="6087"/>
                </a:cubicBezTo>
                <a:cubicBezTo>
                  <a:pt x="20084" y="6115"/>
                  <a:pt x="20090" y="6145"/>
                  <a:pt x="20097" y="6173"/>
                </a:cubicBezTo>
                <a:cubicBezTo>
                  <a:pt x="20097" y="6194"/>
                  <a:pt x="20102" y="6216"/>
                  <a:pt x="20102" y="6238"/>
                </a:cubicBezTo>
                <a:cubicBezTo>
                  <a:pt x="20107" y="6287"/>
                  <a:pt x="20115" y="6335"/>
                  <a:pt x="20122" y="6378"/>
                </a:cubicBezTo>
                <a:cubicBezTo>
                  <a:pt x="20151" y="6360"/>
                  <a:pt x="20218" y="6235"/>
                  <a:pt x="20228" y="6182"/>
                </a:cubicBezTo>
                <a:cubicBezTo>
                  <a:pt x="20229" y="6150"/>
                  <a:pt x="20233" y="6120"/>
                  <a:pt x="20234" y="6087"/>
                </a:cubicBezTo>
                <a:cubicBezTo>
                  <a:pt x="20262" y="6069"/>
                  <a:pt x="20292" y="6041"/>
                  <a:pt x="20324" y="6023"/>
                </a:cubicBezTo>
                <a:cubicBezTo>
                  <a:pt x="20325" y="6014"/>
                  <a:pt x="20324" y="6004"/>
                  <a:pt x="20324" y="5995"/>
                </a:cubicBezTo>
                <a:cubicBezTo>
                  <a:pt x="20319" y="5985"/>
                  <a:pt x="20314" y="5976"/>
                  <a:pt x="20309" y="5966"/>
                </a:cubicBezTo>
                <a:cubicBezTo>
                  <a:pt x="20303" y="5903"/>
                  <a:pt x="20344" y="5837"/>
                  <a:pt x="20370" y="5826"/>
                </a:cubicBezTo>
                <a:cubicBezTo>
                  <a:pt x="20415" y="5805"/>
                  <a:pt x="20436" y="5870"/>
                  <a:pt x="20460" y="5779"/>
                </a:cubicBezTo>
                <a:cubicBezTo>
                  <a:pt x="20454" y="5762"/>
                  <a:pt x="20440" y="5749"/>
                  <a:pt x="20435" y="5733"/>
                </a:cubicBezTo>
                <a:cubicBezTo>
                  <a:pt x="20415" y="5660"/>
                  <a:pt x="20465" y="5537"/>
                  <a:pt x="20491" y="5517"/>
                </a:cubicBezTo>
                <a:cubicBezTo>
                  <a:pt x="20495" y="5516"/>
                  <a:pt x="20497" y="5508"/>
                  <a:pt x="20501" y="5507"/>
                </a:cubicBezTo>
                <a:cubicBezTo>
                  <a:pt x="20502" y="5509"/>
                  <a:pt x="20506" y="5515"/>
                  <a:pt x="20506" y="5517"/>
                </a:cubicBezTo>
                <a:cubicBezTo>
                  <a:pt x="20502" y="5532"/>
                  <a:pt x="20492" y="5541"/>
                  <a:pt x="20491" y="5564"/>
                </a:cubicBezTo>
                <a:cubicBezTo>
                  <a:pt x="20495" y="5568"/>
                  <a:pt x="20502" y="5578"/>
                  <a:pt x="20506" y="5583"/>
                </a:cubicBezTo>
                <a:cubicBezTo>
                  <a:pt x="20516" y="5595"/>
                  <a:pt x="20528" y="5571"/>
                  <a:pt x="20531" y="5555"/>
                </a:cubicBezTo>
                <a:cubicBezTo>
                  <a:pt x="20537" y="5529"/>
                  <a:pt x="20528" y="5491"/>
                  <a:pt x="20526" y="5470"/>
                </a:cubicBezTo>
                <a:cubicBezTo>
                  <a:pt x="20518" y="5469"/>
                  <a:pt x="20514" y="5471"/>
                  <a:pt x="20506" y="5470"/>
                </a:cubicBezTo>
                <a:cubicBezTo>
                  <a:pt x="20502" y="5448"/>
                  <a:pt x="20495" y="5427"/>
                  <a:pt x="20491" y="5405"/>
                </a:cubicBezTo>
                <a:cubicBezTo>
                  <a:pt x="20493" y="5355"/>
                  <a:pt x="20517" y="5347"/>
                  <a:pt x="20526" y="5310"/>
                </a:cubicBezTo>
                <a:cubicBezTo>
                  <a:pt x="20529" y="5303"/>
                  <a:pt x="20527" y="5304"/>
                  <a:pt x="20526" y="5292"/>
                </a:cubicBezTo>
                <a:cubicBezTo>
                  <a:pt x="20493" y="5282"/>
                  <a:pt x="20469" y="5288"/>
                  <a:pt x="20446" y="5255"/>
                </a:cubicBezTo>
                <a:cubicBezTo>
                  <a:pt x="20449" y="5151"/>
                  <a:pt x="20490" y="5136"/>
                  <a:pt x="20516" y="5077"/>
                </a:cubicBezTo>
                <a:cubicBezTo>
                  <a:pt x="20514" y="5072"/>
                  <a:pt x="20509" y="5063"/>
                  <a:pt x="20506" y="5058"/>
                </a:cubicBezTo>
                <a:cubicBezTo>
                  <a:pt x="20516" y="5042"/>
                  <a:pt x="20527" y="5027"/>
                  <a:pt x="20536" y="5011"/>
                </a:cubicBezTo>
                <a:cubicBezTo>
                  <a:pt x="20537" y="4998"/>
                  <a:pt x="20529" y="4996"/>
                  <a:pt x="20526" y="4974"/>
                </a:cubicBezTo>
                <a:cubicBezTo>
                  <a:pt x="20537" y="4946"/>
                  <a:pt x="20543" y="4914"/>
                  <a:pt x="20567" y="4909"/>
                </a:cubicBezTo>
                <a:cubicBezTo>
                  <a:pt x="20576" y="4895"/>
                  <a:pt x="20583" y="4885"/>
                  <a:pt x="20592" y="4871"/>
                </a:cubicBezTo>
                <a:cubicBezTo>
                  <a:pt x="20605" y="4887"/>
                  <a:pt x="20612" y="4913"/>
                  <a:pt x="20622" y="4937"/>
                </a:cubicBezTo>
                <a:cubicBezTo>
                  <a:pt x="20629" y="4932"/>
                  <a:pt x="20635" y="4931"/>
                  <a:pt x="20643" y="4927"/>
                </a:cubicBezTo>
                <a:cubicBezTo>
                  <a:pt x="20643" y="4914"/>
                  <a:pt x="20642" y="4902"/>
                  <a:pt x="20643" y="4890"/>
                </a:cubicBezTo>
                <a:cubicBezTo>
                  <a:pt x="20664" y="4871"/>
                  <a:pt x="20684" y="4857"/>
                  <a:pt x="20698" y="4824"/>
                </a:cubicBezTo>
                <a:cubicBezTo>
                  <a:pt x="20710" y="4826"/>
                  <a:pt x="20711" y="4826"/>
                  <a:pt x="20723" y="4824"/>
                </a:cubicBezTo>
                <a:cubicBezTo>
                  <a:pt x="20717" y="4859"/>
                  <a:pt x="20714" y="4886"/>
                  <a:pt x="20708" y="4919"/>
                </a:cubicBezTo>
                <a:cubicBezTo>
                  <a:pt x="20710" y="4923"/>
                  <a:pt x="20716" y="4932"/>
                  <a:pt x="20718" y="4937"/>
                </a:cubicBezTo>
                <a:cubicBezTo>
                  <a:pt x="20740" y="4903"/>
                  <a:pt x="20762" y="4867"/>
                  <a:pt x="20784" y="4833"/>
                </a:cubicBezTo>
                <a:cubicBezTo>
                  <a:pt x="20804" y="4816"/>
                  <a:pt x="20889" y="4785"/>
                  <a:pt x="20915" y="4805"/>
                </a:cubicBezTo>
                <a:cubicBezTo>
                  <a:pt x="20938" y="4821"/>
                  <a:pt x="20939" y="4881"/>
                  <a:pt x="20961" y="4899"/>
                </a:cubicBezTo>
                <a:cubicBezTo>
                  <a:pt x="20966" y="4900"/>
                  <a:pt x="20970" y="4899"/>
                  <a:pt x="20976" y="4899"/>
                </a:cubicBezTo>
                <a:cubicBezTo>
                  <a:pt x="20979" y="4894"/>
                  <a:pt x="20978" y="4886"/>
                  <a:pt x="20981" y="4880"/>
                </a:cubicBezTo>
                <a:cubicBezTo>
                  <a:pt x="20986" y="4869"/>
                  <a:pt x="20986" y="4847"/>
                  <a:pt x="20991" y="4833"/>
                </a:cubicBezTo>
                <a:cubicBezTo>
                  <a:pt x="21001" y="4809"/>
                  <a:pt x="21022" y="4821"/>
                  <a:pt x="21037" y="4805"/>
                </a:cubicBezTo>
                <a:cubicBezTo>
                  <a:pt x="21041" y="4792"/>
                  <a:pt x="21042" y="4781"/>
                  <a:pt x="21046" y="4769"/>
                </a:cubicBezTo>
                <a:cubicBezTo>
                  <a:pt x="21062" y="4757"/>
                  <a:pt x="21081" y="4743"/>
                  <a:pt x="21097" y="4731"/>
                </a:cubicBezTo>
                <a:cubicBezTo>
                  <a:pt x="21109" y="4712"/>
                  <a:pt x="21111" y="4668"/>
                  <a:pt x="21127" y="4656"/>
                </a:cubicBezTo>
                <a:cubicBezTo>
                  <a:pt x="21137" y="4654"/>
                  <a:pt x="21149" y="4656"/>
                  <a:pt x="21158" y="4656"/>
                </a:cubicBezTo>
                <a:cubicBezTo>
                  <a:pt x="21172" y="4647"/>
                  <a:pt x="21173" y="4614"/>
                  <a:pt x="21183" y="4600"/>
                </a:cubicBezTo>
                <a:cubicBezTo>
                  <a:pt x="21193" y="4587"/>
                  <a:pt x="21204" y="4598"/>
                  <a:pt x="21218" y="4591"/>
                </a:cubicBezTo>
                <a:cubicBezTo>
                  <a:pt x="21235" y="4582"/>
                  <a:pt x="21245" y="4555"/>
                  <a:pt x="21259" y="4544"/>
                </a:cubicBezTo>
                <a:cubicBezTo>
                  <a:pt x="21273" y="4540"/>
                  <a:pt x="21285" y="4529"/>
                  <a:pt x="21299" y="4525"/>
                </a:cubicBezTo>
                <a:cubicBezTo>
                  <a:pt x="21328" y="4500"/>
                  <a:pt x="21356" y="4475"/>
                  <a:pt x="21385" y="4450"/>
                </a:cubicBezTo>
                <a:cubicBezTo>
                  <a:pt x="21391" y="4433"/>
                  <a:pt x="21394" y="4420"/>
                  <a:pt x="21400" y="4403"/>
                </a:cubicBezTo>
                <a:cubicBezTo>
                  <a:pt x="21405" y="4393"/>
                  <a:pt x="21417" y="4392"/>
                  <a:pt x="21425" y="4394"/>
                </a:cubicBezTo>
                <a:cubicBezTo>
                  <a:pt x="21425" y="4401"/>
                  <a:pt x="21421" y="4414"/>
                  <a:pt x="21420" y="4421"/>
                </a:cubicBezTo>
                <a:cubicBezTo>
                  <a:pt x="21431" y="4441"/>
                  <a:pt x="21453" y="4434"/>
                  <a:pt x="21471" y="4441"/>
                </a:cubicBezTo>
                <a:cubicBezTo>
                  <a:pt x="21520" y="4459"/>
                  <a:pt x="21557" y="4500"/>
                  <a:pt x="21562" y="4375"/>
                </a:cubicBezTo>
                <a:cubicBezTo>
                  <a:pt x="21554" y="4377"/>
                  <a:pt x="21544" y="4382"/>
                  <a:pt x="21537" y="4384"/>
                </a:cubicBezTo>
                <a:cubicBezTo>
                  <a:pt x="21538" y="4362"/>
                  <a:pt x="21539" y="4339"/>
                  <a:pt x="21537" y="4318"/>
                </a:cubicBezTo>
                <a:cubicBezTo>
                  <a:pt x="21514" y="4296"/>
                  <a:pt x="21515" y="4248"/>
                  <a:pt x="21486" y="4253"/>
                </a:cubicBezTo>
                <a:cubicBezTo>
                  <a:pt x="21491" y="4241"/>
                  <a:pt x="21496" y="4237"/>
                  <a:pt x="21501" y="4226"/>
                </a:cubicBezTo>
                <a:cubicBezTo>
                  <a:pt x="21500" y="4183"/>
                  <a:pt x="21487" y="4162"/>
                  <a:pt x="21486" y="4122"/>
                </a:cubicBezTo>
                <a:cubicBezTo>
                  <a:pt x="21479" y="4127"/>
                  <a:pt x="21477" y="4136"/>
                  <a:pt x="21471" y="4140"/>
                </a:cubicBezTo>
                <a:cubicBezTo>
                  <a:pt x="21474" y="4133"/>
                  <a:pt x="21473" y="4129"/>
                  <a:pt x="21475" y="4122"/>
                </a:cubicBezTo>
                <a:cubicBezTo>
                  <a:pt x="21466" y="4127"/>
                  <a:pt x="21455" y="4127"/>
                  <a:pt x="21446" y="4132"/>
                </a:cubicBezTo>
                <a:cubicBezTo>
                  <a:pt x="21422" y="4112"/>
                  <a:pt x="21427" y="4111"/>
                  <a:pt x="21420" y="4056"/>
                </a:cubicBezTo>
                <a:cubicBezTo>
                  <a:pt x="21413" y="4054"/>
                  <a:pt x="21407" y="4049"/>
                  <a:pt x="21400" y="4047"/>
                </a:cubicBezTo>
                <a:cubicBezTo>
                  <a:pt x="21395" y="4055"/>
                  <a:pt x="21386" y="4067"/>
                  <a:pt x="21380" y="4075"/>
                </a:cubicBezTo>
                <a:cubicBezTo>
                  <a:pt x="21369" y="4069"/>
                  <a:pt x="21356" y="4054"/>
                  <a:pt x="21344" y="4047"/>
                </a:cubicBezTo>
                <a:cubicBezTo>
                  <a:pt x="21347" y="4036"/>
                  <a:pt x="21354" y="4033"/>
                  <a:pt x="21360" y="4029"/>
                </a:cubicBezTo>
                <a:cubicBezTo>
                  <a:pt x="21363" y="4014"/>
                  <a:pt x="21353" y="4000"/>
                  <a:pt x="21350" y="3982"/>
                </a:cubicBezTo>
                <a:cubicBezTo>
                  <a:pt x="21360" y="3988"/>
                  <a:pt x="21364" y="3995"/>
                  <a:pt x="21370" y="4009"/>
                </a:cubicBezTo>
                <a:cubicBezTo>
                  <a:pt x="21392" y="4004"/>
                  <a:pt x="21406" y="3998"/>
                  <a:pt x="21420" y="3982"/>
                </a:cubicBezTo>
                <a:cubicBezTo>
                  <a:pt x="21419" y="3986"/>
                  <a:pt x="21416" y="3986"/>
                  <a:pt x="21415" y="3990"/>
                </a:cubicBezTo>
                <a:cubicBezTo>
                  <a:pt x="21420" y="3989"/>
                  <a:pt x="21426" y="3991"/>
                  <a:pt x="21431" y="3990"/>
                </a:cubicBezTo>
                <a:cubicBezTo>
                  <a:pt x="21436" y="4003"/>
                  <a:pt x="21440" y="4016"/>
                  <a:pt x="21440" y="4038"/>
                </a:cubicBezTo>
                <a:cubicBezTo>
                  <a:pt x="21462" y="4051"/>
                  <a:pt x="21507" y="4061"/>
                  <a:pt x="21527" y="4038"/>
                </a:cubicBezTo>
                <a:cubicBezTo>
                  <a:pt x="21533" y="4028"/>
                  <a:pt x="21541" y="4010"/>
                  <a:pt x="21547" y="4000"/>
                </a:cubicBezTo>
                <a:cubicBezTo>
                  <a:pt x="21567" y="3988"/>
                  <a:pt x="21579" y="3996"/>
                  <a:pt x="21592" y="3973"/>
                </a:cubicBezTo>
                <a:cubicBezTo>
                  <a:pt x="21600" y="3958"/>
                  <a:pt x="21592" y="3802"/>
                  <a:pt x="21592" y="3767"/>
                </a:cubicBezTo>
                <a:cubicBezTo>
                  <a:pt x="21592" y="3572"/>
                  <a:pt x="21592" y="3380"/>
                  <a:pt x="21592" y="3185"/>
                </a:cubicBezTo>
                <a:cubicBezTo>
                  <a:pt x="21555" y="3140"/>
                  <a:pt x="21508" y="3092"/>
                  <a:pt x="21461" y="3064"/>
                </a:cubicBezTo>
                <a:cubicBezTo>
                  <a:pt x="21438" y="3057"/>
                  <a:pt x="21413" y="3053"/>
                  <a:pt x="21390" y="3045"/>
                </a:cubicBezTo>
                <a:cubicBezTo>
                  <a:pt x="21369" y="3033"/>
                  <a:pt x="21351" y="3017"/>
                  <a:pt x="21324" y="3009"/>
                </a:cubicBezTo>
                <a:cubicBezTo>
                  <a:pt x="21277" y="2994"/>
                  <a:pt x="21198" y="3019"/>
                  <a:pt x="21158" y="3027"/>
                </a:cubicBezTo>
                <a:cubicBezTo>
                  <a:pt x="21156" y="3017"/>
                  <a:pt x="21154" y="3009"/>
                  <a:pt x="21153" y="2999"/>
                </a:cubicBezTo>
                <a:cubicBezTo>
                  <a:pt x="21107" y="2983"/>
                  <a:pt x="21050" y="2953"/>
                  <a:pt x="20996" y="2952"/>
                </a:cubicBezTo>
                <a:cubicBezTo>
                  <a:pt x="20984" y="2975"/>
                  <a:pt x="20983" y="3014"/>
                  <a:pt x="20970" y="3035"/>
                </a:cubicBezTo>
                <a:cubicBezTo>
                  <a:pt x="20979" y="3040"/>
                  <a:pt x="20987" y="3040"/>
                  <a:pt x="20996" y="3045"/>
                </a:cubicBezTo>
                <a:cubicBezTo>
                  <a:pt x="21004" y="3075"/>
                  <a:pt x="21033" y="3140"/>
                  <a:pt x="21022" y="3176"/>
                </a:cubicBezTo>
                <a:cubicBezTo>
                  <a:pt x="21008" y="3209"/>
                  <a:pt x="20934" y="3225"/>
                  <a:pt x="20910" y="3214"/>
                </a:cubicBezTo>
                <a:cubicBezTo>
                  <a:pt x="20892" y="3140"/>
                  <a:pt x="20882" y="3161"/>
                  <a:pt x="20850" y="3121"/>
                </a:cubicBezTo>
                <a:cubicBezTo>
                  <a:pt x="20833" y="3091"/>
                  <a:pt x="20815" y="3057"/>
                  <a:pt x="20799" y="3027"/>
                </a:cubicBezTo>
                <a:cubicBezTo>
                  <a:pt x="20766" y="3064"/>
                  <a:pt x="20732" y="3099"/>
                  <a:pt x="20673" y="3083"/>
                </a:cubicBezTo>
                <a:cubicBezTo>
                  <a:pt x="20657" y="3083"/>
                  <a:pt x="20638" y="3083"/>
                  <a:pt x="20622" y="3083"/>
                </a:cubicBezTo>
                <a:cubicBezTo>
                  <a:pt x="20599" y="3072"/>
                  <a:pt x="20600" y="3013"/>
                  <a:pt x="20567" y="3027"/>
                </a:cubicBezTo>
                <a:cubicBezTo>
                  <a:pt x="20552" y="3035"/>
                  <a:pt x="20536" y="3046"/>
                  <a:pt x="20521" y="3054"/>
                </a:cubicBezTo>
                <a:cubicBezTo>
                  <a:pt x="20499" y="3055"/>
                  <a:pt x="20477" y="3054"/>
                  <a:pt x="20455" y="3054"/>
                </a:cubicBezTo>
                <a:cubicBezTo>
                  <a:pt x="20427" y="3074"/>
                  <a:pt x="20411" y="3120"/>
                  <a:pt x="20385" y="3149"/>
                </a:cubicBezTo>
                <a:cubicBezTo>
                  <a:pt x="20373" y="3128"/>
                  <a:pt x="20374" y="3091"/>
                  <a:pt x="20375" y="3045"/>
                </a:cubicBezTo>
                <a:cubicBezTo>
                  <a:pt x="20350" y="3033"/>
                  <a:pt x="20308" y="3042"/>
                  <a:pt x="20294" y="3009"/>
                </a:cubicBezTo>
                <a:cubicBezTo>
                  <a:pt x="20298" y="2988"/>
                  <a:pt x="20315" y="2938"/>
                  <a:pt x="20309" y="2906"/>
                </a:cubicBezTo>
                <a:cubicBezTo>
                  <a:pt x="20300" y="2854"/>
                  <a:pt x="20254" y="2805"/>
                  <a:pt x="20228" y="2783"/>
                </a:cubicBezTo>
                <a:cubicBezTo>
                  <a:pt x="20196" y="2756"/>
                  <a:pt x="20059" y="2739"/>
                  <a:pt x="20016" y="2755"/>
                </a:cubicBezTo>
                <a:cubicBezTo>
                  <a:pt x="19987" y="2769"/>
                  <a:pt x="19954" y="2779"/>
                  <a:pt x="19925" y="2793"/>
                </a:cubicBezTo>
                <a:cubicBezTo>
                  <a:pt x="19893" y="2800"/>
                  <a:pt x="19862" y="2815"/>
                  <a:pt x="19829" y="2821"/>
                </a:cubicBezTo>
                <a:cubicBezTo>
                  <a:pt x="19801" y="2810"/>
                  <a:pt x="19792" y="2717"/>
                  <a:pt x="19768" y="2689"/>
                </a:cubicBezTo>
                <a:cubicBezTo>
                  <a:pt x="19743" y="2660"/>
                  <a:pt x="19705" y="2670"/>
                  <a:pt x="19672" y="2652"/>
                </a:cubicBezTo>
                <a:cubicBezTo>
                  <a:pt x="19653" y="2639"/>
                  <a:pt x="19631" y="2618"/>
                  <a:pt x="19612" y="2605"/>
                </a:cubicBezTo>
                <a:cubicBezTo>
                  <a:pt x="19633" y="2585"/>
                  <a:pt x="19657" y="2567"/>
                  <a:pt x="19678" y="2549"/>
                </a:cubicBezTo>
                <a:cubicBezTo>
                  <a:pt x="19634" y="2485"/>
                  <a:pt x="19578" y="2484"/>
                  <a:pt x="19501" y="2484"/>
                </a:cubicBezTo>
                <a:cubicBezTo>
                  <a:pt x="19464" y="2537"/>
                  <a:pt x="19429" y="2624"/>
                  <a:pt x="19365" y="2615"/>
                </a:cubicBezTo>
                <a:cubicBezTo>
                  <a:pt x="19371" y="2560"/>
                  <a:pt x="19399" y="2575"/>
                  <a:pt x="19420" y="2549"/>
                </a:cubicBezTo>
                <a:cubicBezTo>
                  <a:pt x="19423" y="2538"/>
                  <a:pt x="19427" y="2523"/>
                  <a:pt x="19430" y="2513"/>
                </a:cubicBezTo>
                <a:cubicBezTo>
                  <a:pt x="19431" y="2510"/>
                  <a:pt x="19429" y="2506"/>
                  <a:pt x="19430" y="2503"/>
                </a:cubicBezTo>
                <a:cubicBezTo>
                  <a:pt x="19428" y="2501"/>
                  <a:pt x="19423" y="2506"/>
                  <a:pt x="19420" y="2503"/>
                </a:cubicBezTo>
                <a:cubicBezTo>
                  <a:pt x="19415" y="2493"/>
                  <a:pt x="19380" y="2493"/>
                  <a:pt x="19365" y="2494"/>
                </a:cubicBezTo>
                <a:cubicBezTo>
                  <a:pt x="19380" y="2474"/>
                  <a:pt x="19400" y="2457"/>
                  <a:pt x="19415" y="2437"/>
                </a:cubicBezTo>
                <a:cubicBezTo>
                  <a:pt x="19392" y="2434"/>
                  <a:pt x="19367" y="2430"/>
                  <a:pt x="19344" y="2427"/>
                </a:cubicBezTo>
                <a:cubicBezTo>
                  <a:pt x="19285" y="2402"/>
                  <a:pt x="19202" y="2355"/>
                  <a:pt x="19137" y="2353"/>
                </a:cubicBezTo>
                <a:cubicBezTo>
                  <a:pt x="19120" y="2384"/>
                  <a:pt x="19098" y="2426"/>
                  <a:pt x="19072" y="2437"/>
                </a:cubicBezTo>
                <a:cubicBezTo>
                  <a:pt x="19046" y="2448"/>
                  <a:pt x="19024" y="2425"/>
                  <a:pt x="19006" y="2447"/>
                </a:cubicBezTo>
                <a:cubicBezTo>
                  <a:pt x="19002" y="2456"/>
                  <a:pt x="18995" y="2465"/>
                  <a:pt x="18991" y="2474"/>
                </a:cubicBezTo>
                <a:cubicBezTo>
                  <a:pt x="18990" y="2477"/>
                  <a:pt x="18991" y="2481"/>
                  <a:pt x="18991" y="2484"/>
                </a:cubicBezTo>
                <a:cubicBezTo>
                  <a:pt x="19002" y="2499"/>
                  <a:pt x="19030" y="2484"/>
                  <a:pt x="19046" y="2474"/>
                </a:cubicBezTo>
                <a:cubicBezTo>
                  <a:pt x="19045" y="2538"/>
                  <a:pt x="19045" y="2594"/>
                  <a:pt x="19042" y="2652"/>
                </a:cubicBezTo>
                <a:cubicBezTo>
                  <a:pt x="19008" y="2670"/>
                  <a:pt x="18987" y="2637"/>
                  <a:pt x="18976" y="2605"/>
                </a:cubicBezTo>
                <a:cubicBezTo>
                  <a:pt x="18959" y="2610"/>
                  <a:pt x="18953" y="2624"/>
                  <a:pt x="18941" y="2634"/>
                </a:cubicBezTo>
                <a:cubicBezTo>
                  <a:pt x="18931" y="2666"/>
                  <a:pt x="18941" y="2717"/>
                  <a:pt x="18910" y="2727"/>
                </a:cubicBezTo>
                <a:cubicBezTo>
                  <a:pt x="18906" y="2728"/>
                  <a:pt x="18837" y="2644"/>
                  <a:pt x="18809" y="2634"/>
                </a:cubicBezTo>
                <a:cubicBezTo>
                  <a:pt x="18764" y="2618"/>
                  <a:pt x="18733" y="2682"/>
                  <a:pt x="18693" y="2689"/>
                </a:cubicBezTo>
                <a:cubicBezTo>
                  <a:pt x="18674" y="2693"/>
                  <a:pt x="18652" y="2662"/>
                  <a:pt x="18637" y="2652"/>
                </a:cubicBezTo>
                <a:cubicBezTo>
                  <a:pt x="18613" y="2634"/>
                  <a:pt x="18597" y="2623"/>
                  <a:pt x="18592" y="2568"/>
                </a:cubicBezTo>
                <a:cubicBezTo>
                  <a:pt x="18589" y="2567"/>
                  <a:pt x="18584" y="2569"/>
                  <a:pt x="18582" y="2568"/>
                </a:cubicBezTo>
                <a:cubicBezTo>
                  <a:pt x="18539" y="2627"/>
                  <a:pt x="18533" y="2751"/>
                  <a:pt x="18491" y="2812"/>
                </a:cubicBezTo>
                <a:cubicBezTo>
                  <a:pt x="18447" y="2827"/>
                  <a:pt x="18416" y="2763"/>
                  <a:pt x="18390" y="2727"/>
                </a:cubicBezTo>
                <a:cubicBezTo>
                  <a:pt x="18364" y="2691"/>
                  <a:pt x="18349" y="2641"/>
                  <a:pt x="18330" y="2596"/>
                </a:cubicBezTo>
                <a:cubicBezTo>
                  <a:pt x="18323" y="2582"/>
                  <a:pt x="18312" y="2578"/>
                  <a:pt x="18304" y="2568"/>
                </a:cubicBezTo>
                <a:cubicBezTo>
                  <a:pt x="18256" y="2517"/>
                  <a:pt x="18259" y="2479"/>
                  <a:pt x="18177" y="2474"/>
                </a:cubicBezTo>
                <a:cubicBezTo>
                  <a:pt x="18176" y="2473"/>
                  <a:pt x="18174" y="2466"/>
                  <a:pt x="18173" y="2465"/>
                </a:cubicBezTo>
                <a:cubicBezTo>
                  <a:pt x="18186" y="2415"/>
                  <a:pt x="18292" y="2325"/>
                  <a:pt x="18330" y="2316"/>
                </a:cubicBezTo>
                <a:cubicBezTo>
                  <a:pt x="18329" y="2301"/>
                  <a:pt x="18325" y="2292"/>
                  <a:pt x="18324" y="2277"/>
                </a:cubicBezTo>
                <a:cubicBezTo>
                  <a:pt x="18308" y="2257"/>
                  <a:pt x="18290" y="2233"/>
                  <a:pt x="18273" y="2212"/>
                </a:cubicBezTo>
                <a:cubicBezTo>
                  <a:pt x="18230" y="2212"/>
                  <a:pt x="18190" y="2212"/>
                  <a:pt x="18147" y="2212"/>
                </a:cubicBezTo>
                <a:cubicBezTo>
                  <a:pt x="18127" y="2201"/>
                  <a:pt x="18084" y="2118"/>
                  <a:pt x="18051" y="2138"/>
                </a:cubicBezTo>
                <a:cubicBezTo>
                  <a:pt x="18034" y="2156"/>
                  <a:pt x="18018" y="2176"/>
                  <a:pt x="18001" y="2194"/>
                </a:cubicBezTo>
                <a:cubicBezTo>
                  <a:pt x="18002" y="2219"/>
                  <a:pt x="18005" y="2242"/>
                  <a:pt x="18011" y="2259"/>
                </a:cubicBezTo>
                <a:cubicBezTo>
                  <a:pt x="17998" y="2290"/>
                  <a:pt x="17983" y="2322"/>
                  <a:pt x="17970" y="2353"/>
                </a:cubicBezTo>
                <a:cubicBezTo>
                  <a:pt x="17955" y="2363"/>
                  <a:pt x="17940" y="2321"/>
                  <a:pt x="17920" y="2325"/>
                </a:cubicBezTo>
                <a:cubicBezTo>
                  <a:pt x="17885" y="2331"/>
                  <a:pt x="17854" y="2337"/>
                  <a:pt x="17819" y="2343"/>
                </a:cubicBezTo>
                <a:cubicBezTo>
                  <a:pt x="17776" y="2328"/>
                  <a:pt x="17731" y="2312"/>
                  <a:pt x="17688" y="2297"/>
                </a:cubicBezTo>
                <a:cubicBezTo>
                  <a:pt x="17680" y="2258"/>
                  <a:pt x="17685" y="2233"/>
                  <a:pt x="17688" y="2185"/>
                </a:cubicBezTo>
                <a:cubicBezTo>
                  <a:pt x="17629" y="2176"/>
                  <a:pt x="17570" y="2165"/>
                  <a:pt x="17511" y="2156"/>
                </a:cubicBezTo>
                <a:cubicBezTo>
                  <a:pt x="17485" y="2151"/>
                  <a:pt x="17448" y="2175"/>
                  <a:pt x="17415" y="2175"/>
                </a:cubicBezTo>
                <a:cubicBezTo>
                  <a:pt x="17404" y="2199"/>
                  <a:pt x="17391" y="2227"/>
                  <a:pt x="17380" y="2250"/>
                </a:cubicBezTo>
                <a:cubicBezTo>
                  <a:pt x="17377" y="2254"/>
                  <a:pt x="17378" y="2255"/>
                  <a:pt x="17375" y="2259"/>
                </a:cubicBezTo>
                <a:cubicBezTo>
                  <a:pt x="17370" y="2246"/>
                  <a:pt x="17364" y="2234"/>
                  <a:pt x="17359" y="2221"/>
                </a:cubicBezTo>
                <a:cubicBezTo>
                  <a:pt x="17354" y="2192"/>
                  <a:pt x="17359" y="2154"/>
                  <a:pt x="17354" y="2128"/>
                </a:cubicBezTo>
                <a:cubicBezTo>
                  <a:pt x="17326" y="2116"/>
                  <a:pt x="17303" y="2177"/>
                  <a:pt x="17263" y="2156"/>
                </a:cubicBezTo>
                <a:cubicBezTo>
                  <a:pt x="17232" y="2140"/>
                  <a:pt x="17210" y="2097"/>
                  <a:pt x="17182" y="2072"/>
                </a:cubicBezTo>
                <a:cubicBezTo>
                  <a:pt x="17171" y="2085"/>
                  <a:pt x="17162" y="2094"/>
                  <a:pt x="17157" y="2119"/>
                </a:cubicBezTo>
                <a:cubicBezTo>
                  <a:pt x="17161" y="2127"/>
                  <a:pt x="17166" y="2125"/>
                  <a:pt x="17173" y="2128"/>
                </a:cubicBezTo>
                <a:cubicBezTo>
                  <a:pt x="17173" y="2142"/>
                  <a:pt x="17177" y="2161"/>
                  <a:pt x="17178" y="2175"/>
                </a:cubicBezTo>
                <a:cubicBezTo>
                  <a:pt x="17154" y="2220"/>
                  <a:pt x="17043" y="2256"/>
                  <a:pt x="17001" y="2269"/>
                </a:cubicBezTo>
                <a:cubicBezTo>
                  <a:pt x="16973" y="2278"/>
                  <a:pt x="16948" y="2269"/>
                  <a:pt x="16925" y="2287"/>
                </a:cubicBezTo>
                <a:cubicBezTo>
                  <a:pt x="16898" y="2308"/>
                  <a:pt x="16897" y="2364"/>
                  <a:pt x="16849" y="2363"/>
                </a:cubicBezTo>
                <a:cubicBezTo>
                  <a:pt x="16880" y="2286"/>
                  <a:pt x="16919" y="2223"/>
                  <a:pt x="16970" y="2185"/>
                </a:cubicBezTo>
                <a:cubicBezTo>
                  <a:pt x="16995" y="2172"/>
                  <a:pt x="17022" y="2160"/>
                  <a:pt x="17046" y="2148"/>
                </a:cubicBezTo>
                <a:cubicBezTo>
                  <a:pt x="17112" y="2070"/>
                  <a:pt x="17177" y="1990"/>
                  <a:pt x="17243" y="1912"/>
                </a:cubicBezTo>
                <a:cubicBezTo>
                  <a:pt x="17265" y="1888"/>
                  <a:pt x="17294" y="1891"/>
                  <a:pt x="17314" y="1867"/>
                </a:cubicBezTo>
                <a:cubicBezTo>
                  <a:pt x="17335" y="1837"/>
                  <a:pt x="17359" y="1810"/>
                  <a:pt x="17380" y="1781"/>
                </a:cubicBezTo>
                <a:cubicBezTo>
                  <a:pt x="17381" y="1780"/>
                  <a:pt x="17380" y="1773"/>
                  <a:pt x="17380" y="1772"/>
                </a:cubicBezTo>
                <a:cubicBezTo>
                  <a:pt x="17369" y="1756"/>
                  <a:pt x="17360" y="1740"/>
                  <a:pt x="17349" y="1725"/>
                </a:cubicBezTo>
                <a:cubicBezTo>
                  <a:pt x="17361" y="1696"/>
                  <a:pt x="17372" y="1661"/>
                  <a:pt x="17385" y="1632"/>
                </a:cubicBezTo>
                <a:cubicBezTo>
                  <a:pt x="17381" y="1614"/>
                  <a:pt x="17379" y="1595"/>
                  <a:pt x="17375" y="1576"/>
                </a:cubicBezTo>
                <a:cubicBezTo>
                  <a:pt x="17359" y="1578"/>
                  <a:pt x="17345" y="1582"/>
                  <a:pt x="17329" y="1584"/>
                </a:cubicBezTo>
                <a:cubicBezTo>
                  <a:pt x="17295" y="1425"/>
                  <a:pt x="17145" y="1442"/>
                  <a:pt x="17037" y="1445"/>
                </a:cubicBezTo>
                <a:cubicBezTo>
                  <a:pt x="17032" y="1454"/>
                  <a:pt x="17031" y="1464"/>
                  <a:pt x="17026" y="1473"/>
                </a:cubicBezTo>
                <a:cubicBezTo>
                  <a:pt x="17020" y="1483"/>
                  <a:pt x="17012" y="1491"/>
                  <a:pt x="17006" y="1501"/>
                </a:cubicBezTo>
                <a:cubicBezTo>
                  <a:pt x="16997" y="1506"/>
                  <a:pt x="16937" y="1502"/>
                  <a:pt x="16920" y="1501"/>
                </a:cubicBezTo>
                <a:cubicBezTo>
                  <a:pt x="16932" y="1454"/>
                  <a:pt x="16958" y="1426"/>
                  <a:pt x="16976" y="1388"/>
                </a:cubicBezTo>
                <a:cubicBezTo>
                  <a:pt x="16974" y="1382"/>
                  <a:pt x="16972" y="1374"/>
                  <a:pt x="16970" y="1370"/>
                </a:cubicBezTo>
                <a:cubicBezTo>
                  <a:pt x="16926" y="1376"/>
                  <a:pt x="16902" y="1371"/>
                  <a:pt x="16865" y="1361"/>
                </a:cubicBezTo>
                <a:cubicBezTo>
                  <a:pt x="16836" y="1353"/>
                  <a:pt x="16825" y="1380"/>
                  <a:pt x="16799" y="1361"/>
                </a:cubicBezTo>
                <a:cubicBezTo>
                  <a:pt x="16819" y="1332"/>
                  <a:pt x="16834" y="1298"/>
                  <a:pt x="16860" y="1276"/>
                </a:cubicBezTo>
                <a:cubicBezTo>
                  <a:pt x="16859" y="1266"/>
                  <a:pt x="16860" y="1258"/>
                  <a:pt x="16860" y="1248"/>
                </a:cubicBezTo>
                <a:cubicBezTo>
                  <a:pt x="16842" y="1226"/>
                  <a:pt x="16822" y="1213"/>
                  <a:pt x="16800" y="1210"/>
                </a:cubicBezTo>
                <a:close/>
                <a:moveTo>
                  <a:pt x="11618" y="8094"/>
                </a:moveTo>
                <a:cubicBezTo>
                  <a:pt x="11620" y="8101"/>
                  <a:pt x="11618" y="8107"/>
                  <a:pt x="11618" y="8112"/>
                </a:cubicBezTo>
                <a:cubicBezTo>
                  <a:pt x="11616" y="8109"/>
                  <a:pt x="11613" y="8105"/>
                  <a:pt x="11611" y="8100"/>
                </a:cubicBezTo>
                <a:cubicBezTo>
                  <a:pt x="11614" y="8111"/>
                  <a:pt x="11612" y="8116"/>
                  <a:pt x="11611" y="8129"/>
                </a:cubicBezTo>
                <a:cubicBezTo>
                  <a:pt x="11614" y="8128"/>
                  <a:pt x="11615" y="8130"/>
                  <a:pt x="11617" y="8129"/>
                </a:cubicBezTo>
                <a:cubicBezTo>
                  <a:pt x="11618" y="8127"/>
                  <a:pt x="11619" y="8125"/>
                  <a:pt x="11620" y="8123"/>
                </a:cubicBezTo>
                <a:cubicBezTo>
                  <a:pt x="11621" y="8124"/>
                  <a:pt x="11622" y="8124"/>
                  <a:pt x="11622" y="8123"/>
                </a:cubicBezTo>
                <a:cubicBezTo>
                  <a:pt x="11624" y="8119"/>
                  <a:pt x="11626" y="8118"/>
                  <a:pt x="11628" y="8114"/>
                </a:cubicBezTo>
                <a:cubicBezTo>
                  <a:pt x="11625" y="8107"/>
                  <a:pt x="11621" y="8101"/>
                  <a:pt x="11618" y="8094"/>
                </a:cubicBezTo>
                <a:close/>
                <a:moveTo>
                  <a:pt x="8596" y="1264"/>
                </a:moveTo>
                <a:cubicBezTo>
                  <a:pt x="8599" y="1268"/>
                  <a:pt x="8601" y="1272"/>
                  <a:pt x="8604" y="1276"/>
                </a:cubicBezTo>
                <a:cubicBezTo>
                  <a:pt x="8603" y="1277"/>
                  <a:pt x="8601" y="1279"/>
                  <a:pt x="8599" y="1280"/>
                </a:cubicBezTo>
                <a:cubicBezTo>
                  <a:pt x="8591" y="1287"/>
                  <a:pt x="8581" y="1292"/>
                  <a:pt x="8570" y="1297"/>
                </a:cubicBezTo>
                <a:cubicBezTo>
                  <a:pt x="8570" y="1297"/>
                  <a:pt x="8570" y="1297"/>
                  <a:pt x="8570" y="1296"/>
                </a:cubicBezTo>
                <a:cubicBezTo>
                  <a:pt x="8584" y="1288"/>
                  <a:pt x="8588" y="1275"/>
                  <a:pt x="8596" y="1264"/>
                </a:cubicBezTo>
                <a:close/>
                <a:moveTo>
                  <a:pt x="4110" y="1499"/>
                </a:moveTo>
                <a:cubicBezTo>
                  <a:pt x="4086" y="1502"/>
                  <a:pt x="4062" y="1508"/>
                  <a:pt x="4043" y="1510"/>
                </a:cubicBezTo>
                <a:cubicBezTo>
                  <a:pt x="4042" y="1522"/>
                  <a:pt x="4041" y="1534"/>
                  <a:pt x="4040" y="1546"/>
                </a:cubicBezTo>
                <a:cubicBezTo>
                  <a:pt x="4040" y="1551"/>
                  <a:pt x="4040" y="1553"/>
                  <a:pt x="4040" y="1558"/>
                </a:cubicBezTo>
                <a:cubicBezTo>
                  <a:pt x="4094" y="1573"/>
                  <a:pt x="4172" y="1606"/>
                  <a:pt x="4175" y="1718"/>
                </a:cubicBezTo>
                <a:cubicBezTo>
                  <a:pt x="4135" y="1718"/>
                  <a:pt x="4120" y="1692"/>
                  <a:pt x="4081" y="1692"/>
                </a:cubicBezTo>
                <a:cubicBezTo>
                  <a:pt x="4077" y="1699"/>
                  <a:pt x="4073" y="1706"/>
                  <a:pt x="4070" y="1713"/>
                </a:cubicBezTo>
                <a:cubicBezTo>
                  <a:pt x="4096" y="1850"/>
                  <a:pt x="4205" y="1783"/>
                  <a:pt x="4284" y="1805"/>
                </a:cubicBezTo>
                <a:cubicBezTo>
                  <a:pt x="4295" y="1806"/>
                  <a:pt x="4306" y="1807"/>
                  <a:pt x="4317" y="1808"/>
                </a:cubicBezTo>
                <a:cubicBezTo>
                  <a:pt x="4345" y="1827"/>
                  <a:pt x="4348" y="1907"/>
                  <a:pt x="4378" y="1924"/>
                </a:cubicBezTo>
                <a:cubicBezTo>
                  <a:pt x="4409" y="1942"/>
                  <a:pt x="4434" y="1916"/>
                  <a:pt x="4451" y="1893"/>
                </a:cubicBezTo>
                <a:cubicBezTo>
                  <a:pt x="4448" y="1838"/>
                  <a:pt x="4433" y="1813"/>
                  <a:pt x="4421" y="1778"/>
                </a:cubicBezTo>
                <a:cubicBezTo>
                  <a:pt x="4382" y="1660"/>
                  <a:pt x="4365" y="1657"/>
                  <a:pt x="4280" y="1625"/>
                </a:cubicBezTo>
                <a:cubicBezTo>
                  <a:pt x="4263" y="1621"/>
                  <a:pt x="4245" y="1617"/>
                  <a:pt x="4228" y="1613"/>
                </a:cubicBezTo>
                <a:cubicBezTo>
                  <a:pt x="4205" y="1599"/>
                  <a:pt x="4196" y="1530"/>
                  <a:pt x="4175" y="1512"/>
                </a:cubicBezTo>
                <a:cubicBezTo>
                  <a:pt x="4157" y="1497"/>
                  <a:pt x="4133" y="1496"/>
                  <a:pt x="4110" y="1499"/>
                </a:cubicBezTo>
                <a:close/>
                <a:moveTo>
                  <a:pt x="14484" y="1511"/>
                </a:moveTo>
                <a:cubicBezTo>
                  <a:pt x="14471" y="1514"/>
                  <a:pt x="14458" y="1516"/>
                  <a:pt x="14445" y="1518"/>
                </a:cubicBezTo>
                <a:cubicBezTo>
                  <a:pt x="14380" y="1539"/>
                  <a:pt x="14363" y="1517"/>
                  <a:pt x="14335" y="1613"/>
                </a:cubicBezTo>
                <a:cubicBezTo>
                  <a:pt x="14293" y="1617"/>
                  <a:pt x="14258" y="1638"/>
                  <a:pt x="14224" y="1652"/>
                </a:cubicBezTo>
                <a:cubicBezTo>
                  <a:pt x="14214" y="1652"/>
                  <a:pt x="14204" y="1653"/>
                  <a:pt x="14193" y="1654"/>
                </a:cubicBezTo>
                <a:cubicBezTo>
                  <a:pt x="14171" y="1668"/>
                  <a:pt x="14149" y="1682"/>
                  <a:pt x="14127" y="1696"/>
                </a:cubicBezTo>
                <a:cubicBezTo>
                  <a:pt x="14110" y="1687"/>
                  <a:pt x="14092" y="1677"/>
                  <a:pt x="14075" y="1667"/>
                </a:cubicBezTo>
                <a:cubicBezTo>
                  <a:pt x="14062" y="1664"/>
                  <a:pt x="14053" y="1681"/>
                  <a:pt x="14039" y="1678"/>
                </a:cubicBezTo>
                <a:cubicBezTo>
                  <a:pt x="14005" y="1807"/>
                  <a:pt x="13971" y="1737"/>
                  <a:pt x="13900" y="1780"/>
                </a:cubicBezTo>
                <a:cubicBezTo>
                  <a:pt x="13865" y="1802"/>
                  <a:pt x="13834" y="1855"/>
                  <a:pt x="13813" y="1906"/>
                </a:cubicBezTo>
                <a:cubicBezTo>
                  <a:pt x="13803" y="1906"/>
                  <a:pt x="13785" y="1897"/>
                  <a:pt x="13780" y="1898"/>
                </a:cubicBezTo>
                <a:cubicBezTo>
                  <a:pt x="13762" y="1903"/>
                  <a:pt x="13736" y="1964"/>
                  <a:pt x="13730" y="1991"/>
                </a:cubicBezTo>
                <a:cubicBezTo>
                  <a:pt x="13727" y="1997"/>
                  <a:pt x="13724" y="2002"/>
                  <a:pt x="13722" y="2007"/>
                </a:cubicBezTo>
                <a:cubicBezTo>
                  <a:pt x="13730" y="2019"/>
                  <a:pt x="13738" y="2032"/>
                  <a:pt x="13744" y="2048"/>
                </a:cubicBezTo>
                <a:cubicBezTo>
                  <a:pt x="13723" y="2076"/>
                  <a:pt x="13692" y="2062"/>
                  <a:pt x="13681" y="2109"/>
                </a:cubicBezTo>
                <a:cubicBezTo>
                  <a:pt x="13680" y="2111"/>
                  <a:pt x="13678" y="2112"/>
                  <a:pt x="13677" y="2114"/>
                </a:cubicBezTo>
                <a:cubicBezTo>
                  <a:pt x="13685" y="2126"/>
                  <a:pt x="13691" y="2138"/>
                  <a:pt x="13698" y="2150"/>
                </a:cubicBezTo>
                <a:cubicBezTo>
                  <a:pt x="13697" y="2161"/>
                  <a:pt x="13697" y="2172"/>
                  <a:pt x="13696" y="2184"/>
                </a:cubicBezTo>
                <a:cubicBezTo>
                  <a:pt x="13612" y="2183"/>
                  <a:pt x="13625" y="2228"/>
                  <a:pt x="13576" y="2270"/>
                </a:cubicBezTo>
                <a:cubicBezTo>
                  <a:pt x="13576" y="2271"/>
                  <a:pt x="13576" y="2273"/>
                  <a:pt x="13576" y="2274"/>
                </a:cubicBezTo>
                <a:cubicBezTo>
                  <a:pt x="13622" y="2375"/>
                  <a:pt x="13628" y="2290"/>
                  <a:pt x="13690" y="2310"/>
                </a:cubicBezTo>
                <a:cubicBezTo>
                  <a:pt x="13718" y="2319"/>
                  <a:pt x="13739" y="2349"/>
                  <a:pt x="13764" y="2359"/>
                </a:cubicBezTo>
                <a:cubicBezTo>
                  <a:pt x="13788" y="2334"/>
                  <a:pt x="13800" y="2294"/>
                  <a:pt x="13819" y="2262"/>
                </a:cubicBezTo>
                <a:cubicBezTo>
                  <a:pt x="13818" y="2251"/>
                  <a:pt x="13818" y="2240"/>
                  <a:pt x="13817" y="2229"/>
                </a:cubicBezTo>
                <a:cubicBezTo>
                  <a:pt x="13810" y="2221"/>
                  <a:pt x="13803" y="2213"/>
                  <a:pt x="13795" y="2204"/>
                </a:cubicBezTo>
                <a:cubicBezTo>
                  <a:pt x="13794" y="2201"/>
                  <a:pt x="13793" y="2198"/>
                  <a:pt x="13792" y="2196"/>
                </a:cubicBezTo>
                <a:cubicBezTo>
                  <a:pt x="13797" y="2186"/>
                  <a:pt x="13803" y="2178"/>
                  <a:pt x="13808" y="2168"/>
                </a:cubicBezTo>
                <a:cubicBezTo>
                  <a:pt x="13824" y="2169"/>
                  <a:pt x="13832" y="2178"/>
                  <a:pt x="13843" y="2188"/>
                </a:cubicBezTo>
                <a:cubicBezTo>
                  <a:pt x="13855" y="2165"/>
                  <a:pt x="13872" y="2143"/>
                  <a:pt x="13886" y="2122"/>
                </a:cubicBezTo>
                <a:cubicBezTo>
                  <a:pt x="13886" y="2121"/>
                  <a:pt x="13886" y="2118"/>
                  <a:pt x="13886" y="2116"/>
                </a:cubicBezTo>
                <a:cubicBezTo>
                  <a:pt x="13881" y="2109"/>
                  <a:pt x="13876" y="2103"/>
                  <a:pt x="13871" y="2096"/>
                </a:cubicBezTo>
                <a:cubicBezTo>
                  <a:pt x="13868" y="2089"/>
                  <a:pt x="13871" y="2079"/>
                  <a:pt x="13873" y="2066"/>
                </a:cubicBezTo>
                <a:cubicBezTo>
                  <a:pt x="13876" y="2061"/>
                  <a:pt x="13880" y="2055"/>
                  <a:pt x="13883" y="2049"/>
                </a:cubicBezTo>
                <a:cubicBezTo>
                  <a:pt x="13906" y="2050"/>
                  <a:pt x="13941" y="2069"/>
                  <a:pt x="13960" y="2053"/>
                </a:cubicBezTo>
                <a:cubicBezTo>
                  <a:pt x="13968" y="2041"/>
                  <a:pt x="13976" y="2030"/>
                  <a:pt x="13984" y="2019"/>
                </a:cubicBezTo>
                <a:cubicBezTo>
                  <a:pt x="13989" y="2009"/>
                  <a:pt x="13993" y="2001"/>
                  <a:pt x="13998" y="1991"/>
                </a:cubicBezTo>
                <a:cubicBezTo>
                  <a:pt x="13992" y="1985"/>
                  <a:pt x="13985" y="1980"/>
                  <a:pt x="13980" y="1973"/>
                </a:cubicBezTo>
                <a:cubicBezTo>
                  <a:pt x="13987" y="1908"/>
                  <a:pt x="14079" y="1888"/>
                  <a:pt x="14116" y="1868"/>
                </a:cubicBezTo>
                <a:cubicBezTo>
                  <a:pt x="14208" y="1820"/>
                  <a:pt x="14301" y="1772"/>
                  <a:pt x="14393" y="1724"/>
                </a:cubicBezTo>
                <a:cubicBezTo>
                  <a:pt x="14446" y="1694"/>
                  <a:pt x="14503" y="1678"/>
                  <a:pt x="14525" y="1593"/>
                </a:cubicBezTo>
                <a:cubicBezTo>
                  <a:pt x="14537" y="1558"/>
                  <a:pt x="14506" y="1510"/>
                  <a:pt x="14484" y="1511"/>
                </a:cubicBezTo>
                <a:close/>
                <a:moveTo>
                  <a:pt x="8704" y="1667"/>
                </a:moveTo>
                <a:cubicBezTo>
                  <a:pt x="8704" y="1667"/>
                  <a:pt x="8704" y="1667"/>
                  <a:pt x="8705" y="1667"/>
                </a:cubicBezTo>
                <a:cubicBezTo>
                  <a:pt x="8705" y="1668"/>
                  <a:pt x="8706" y="1670"/>
                  <a:pt x="8706" y="1671"/>
                </a:cubicBezTo>
                <a:cubicBezTo>
                  <a:pt x="8706" y="1671"/>
                  <a:pt x="8705" y="1671"/>
                  <a:pt x="8705" y="1671"/>
                </a:cubicBezTo>
                <a:cubicBezTo>
                  <a:pt x="8705" y="1670"/>
                  <a:pt x="8704" y="1669"/>
                  <a:pt x="8704" y="1667"/>
                </a:cubicBezTo>
                <a:close/>
                <a:moveTo>
                  <a:pt x="5373" y="1763"/>
                </a:moveTo>
                <a:cubicBezTo>
                  <a:pt x="5380" y="1769"/>
                  <a:pt x="5387" y="1775"/>
                  <a:pt x="5395" y="1780"/>
                </a:cubicBezTo>
                <a:cubicBezTo>
                  <a:pt x="5372" y="1780"/>
                  <a:pt x="5356" y="1788"/>
                  <a:pt x="5342" y="1794"/>
                </a:cubicBezTo>
                <a:cubicBezTo>
                  <a:pt x="5352" y="1787"/>
                  <a:pt x="5363" y="1777"/>
                  <a:pt x="5373" y="1763"/>
                </a:cubicBezTo>
                <a:close/>
                <a:moveTo>
                  <a:pt x="4569" y="1797"/>
                </a:moveTo>
                <a:cubicBezTo>
                  <a:pt x="4556" y="1798"/>
                  <a:pt x="4544" y="1800"/>
                  <a:pt x="4531" y="1800"/>
                </a:cubicBezTo>
                <a:cubicBezTo>
                  <a:pt x="4529" y="1805"/>
                  <a:pt x="4527" y="1810"/>
                  <a:pt x="4525" y="1815"/>
                </a:cubicBezTo>
                <a:cubicBezTo>
                  <a:pt x="4525" y="1858"/>
                  <a:pt x="4540" y="1874"/>
                  <a:pt x="4549" y="1900"/>
                </a:cubicBezTo>
                <a:cubicBezTo>
                  <a:pt x="4596" y="2030"/>
                  <a:pt x="4636" y="2015"/>
                  <a:pt x="4727" y="1977"/>
                </a:cubicBezTo>
                <a:cubicBezTo>
                  <a:pt x="4735" y="1963"/>
                  <a:pt x="4736" y="1939"/>
                  <a:pt x="4738" y="1916"/>
                </a:cubicBezTo>
                <a:cubicBezTo>
                  <a:pt x="4738" y="1878"/>
                  <a:pt x="4718" y="1882"/>
                  <a:pt x="4703" y="1871"/>
                </a:cubicBezTo>
                <a:cubicBezTo>
                  <a:pt x="4663" y="1842"/>
                  <a:pt x="4623" y="1793"/>
                  <a:pt x="4569" y="1797"/>
                </a:cubicBezTo>
                <a:close/>
                <a:moveTo>
                  <a:pt x="3303" y="2096"/>
                </a:moveTo>
                <a:cubicBezTo>
                  <a:pt x="3296" y="2098"/>
                  <a:pt x="3290" y="2100"/>
                  <a:pt x="3283" y="2102"/>
                </a:cubicBezTo>
                <a:cubicBezTo>
                  <a:pt x="3275" y="2113"/>
                  <a:pt x="3268" y="2125"/>
                  <a:pt x="3260" y="2136"/>
                </a:cubicBezTo>
                <a:cubicBezTo>
                  <a:pt x="3241" y="2136"/>
                  <a:pt x="3222" y="2136"/>
                  <a:pt x="3203" y="2136"/>
                </a:cubicBezTo>
                <a:cubicBezTo>
                  <a:pt x="3169" y="2144"/>
                  <a:pt x="3135" y="2151"/>
                  <a:pt x="3102" y="2158"/>
                </a:cubicBezTo>
                <a:cubicBezTo>
                  <a:pt x="3078" y="2172"/>
                  <a:pt x="3071" y="2208"/>
                  <a:pt x="3053" y="2230"/>
                </a:cubicBezTo>
                <a:cubicBezTo>
                  <a:pt x="3038" y="2243"/>
                  <a:pt x="3024" y="2256"/>
                  <a:pt x="3009" y="2269"/>
                </a:cubicBezTo>
                <a:cubicBezTo>
                  <a:pt x="3000" y="2284"/>
                  <a:pt x="2991" y="2301"/>
                  <a:pt x="2981" y="2316"/>
                </a:cubicBezTo>
                <a:cubicBezTo>
                  <a:pt x="2962" y="2338"/>
                  <a:pt x="2937" y="2341"/>
                  <a:pt x="2912" y="2354"/>
                </a:cubicBezTo>
                <a:cubicBezTo>
                  <a:pt x="2908" y="2382"/>
                  <a:pt x="2908" y="2392"/>
                  <a:pt x="2912" y="2420"/>
                </a:cubicBezTo>
                <a:cubicBezTo>
                  <a:pt x="2959" y="2476"/>
                  <a:pt x="2959" y="2431"/>
                  <a:pt x="3000" y="2414"/>
                </a:cubicBezTo>
                <a:cubicBezTo>
                  <a:pt x="3030" y="2443"/>
                  <a:pt x="3032" y="2501"/>
                  <a:pt x="3077" y="2492"/>
                </a:cubicBezTo>
                <a:cubicBezTo>
                  <a:pt x="3083" y="2479"/>
                  <a:pt x="3090" y="2467"/>
                  <a:pt x="3097" y="2454"/>
                </a:cubicBezTo>
                <a:cubicBezTo>
                  <a:pt x="3099" y="2439"/>
                  <a:pt x="3101" y="2425"/>
                  <a:pt x="3103" y="2411"/>
                </a:cubicBezTo>
                <a:cubicBezTo>
                  <a:pt x="3110" y="2402"/>
                  <a:pt x="3117" y="2393"/>
                  <a:pt x="3124" y="2384"/>
                </a:cubicBezTo>
                <a:cubicBezTo>
                  <a:pt x="3139" y="2343"/>
                  <a:pt x="3147" y="2300"/>
                  <a:pt x="3163" y="2261"/>
                </a:cubicBezTo>
                <a:cubicBezTo>
                  <a:pt x="3166" y="2255"/>
                  <a:pt x="3163" y="2258"/>
                  <a:pt x="3168" y="2256"/>
                </a:cubicBezTo>
                <a:cubicBezTo>
                  <a:pt x="3196" y="2248"/>
                  <a:pt x="3212" y="2338"/>
                  <a:pt x="3218" y="2379"/>
                </a:cubicBezTo>
                <a:cubicBezTo>
                  <a:pt x="3228" y="2380"/>
                  <a:pt x="3238" y="2381"/>
                  <a:pt x="3248" y="2382"/>
                </a:cubicBezTo>
                <a:cubicBezTo>
                  <a:pt x="3256" y="2357"/>
                  <a:pt x="3265" y="2333"/>
                  <a:pt x="3272" y="2309"/>
                </a:cubicBezTo>
                <a:cubicBezTo>
                  <a:pt x="3287" y="2302"/>
                  <a:pt x="3301" y="2297"/>
                  <a:pt x="3321" y="2298"/>
                </a:cubicBezTo>
                <a:cubicBezTo>
                  <a:pt x="3315" y="2268"/>
                  <a:pt x="3297" y="2222"/>
                  <a:pt x="3311" y="2186"/>
                </a:cubicBezTo>
                <a:cubicBezTo>
                  <a:pt x="3318" y="2166"/>
                  <a:pt x="3340" y="2150"/>
                  <a:pt x="3357" y="2148"/>
                </a:cubicBezTo>
                <a:cubicBezTo>
                  <a:pt x="3347" y="2126"/>
                  <a:pt x="3323" y="2096"/>
                  <a:pt x="3303" y="2096"/>
                </a:cubicBezTo>
                <a:close/>
                <a:moveTo>
                  <a:pt x="3691" y="2096"/>
                </a:moveTo>
                <a:cubicBezTo>
                  <a:pt x="3664" y="2116"/>
                  <a:pt x="3629" y="2093"/>
                  <a:pt x="3600" y="2104"/>
                </a:cubicBezTo>
                <a:cubicBezTo>
                  <a:pt x="3588" y="2111"/>
                  <a:pt x="3575" y="2118"/>
                  <a:pt x="3563" y="2125"/>
                </a:cubicBezTo>
                <a:cubicBezTo>
                  <a:pt x="3561" y="2134"/>
                  <a:pt x="3558" y="2144"/>
                  <a:pt x="3555" y="2154"/>
                </a:cubicBezTo>
                <a:cubicBezTo>
                  <a:pt x="3558" y="2169"/>
                  <a:pt x="3561" y="2184"/>
                  <a:pt x="3563" y="2199"/>
                </a:cubicBezTo>
                <a:cubicBezTo>
                  <a:pt x="3579" y="2248"/>
                  <a:pt x="3677" y="2225"/>
                  <a:pt x="3716" y="2222"/>
                </a:cubicBezTo>
                <a:cubicBezTo>
                  <a:pt x="3736" y="2189"/>
                  <a:pt x="3755" y="2155"/>
                  <a:pt x="3775" y="2121"/>
                </a:cubicBezTo>
                <a:cubicBezTo>
                  <a:pt x="3776" y="2119"/>
                  <a:pt x="3778" y="2116"/>
                  <a:pt x="3779" y="2114"/>
                </a:cubicBezTo>
                <a:cubicBezTo>
                  <a:pt x="3749" y="2108"/>
                  <a:pt x="3724" y="2095"/>
                  <a:pt x="3691" y="2096"/>
                </a:cubicBezTo>
                <a:close/>
                <a:moveTo>
                  <a:pt x="3764" y="2396"/>
                </a:moveTo>
                <a:cubicBezTo>
                  <a:pt x="3750" y="2406"/>
                  <a:pt x="3737" y="2414"/>
                  <a:pt x="3723" y="2424"/>
                </a:cubicBezTo>
                <a:cubicBezTo>
                  <a:pt x="3706" y="2446"/>
                  <a:pt x="3701" y="2483"/>
                  <a:pt x="3680" y="2500"/>
                </a:cubicBezTo>
                <a:cubicBezTo>
                  <a:pt x="3679" y="2501"/>
                  <a:pt x="3679" y="2503"/>
                  <a:pt x="3678" y="2504"/>
                </a:cubicBezTo>
                <a:cubicBezTo>
                  <a:pt x="3714" y="2537"/>
                  <a:pt x="3761" y="2579"/>
                  <a:pt x="3757" y="2679"/>
                </a:cubicBezTo>
                <a:cubicBezTo>
                  <a:pt x="3742" y="2685"/>
                  <a:pt x="3727" y="2692"/>
                  <a:pt x="3712" y="2699"/>
                </a:cubicBezTo>
                <a:cubicBezTo>
                  <a:pt x="3694" y="2696"/>
                  <a:pt x="3677" y="2693"/>
                  <a:pt x="3659" y="2689"/>
                </a:cubicBezTo>
                <a:cubicBezTo>
                  <a:pt x="3648" y="2693"/>
                  <a:pt x="3627" y="2701"/>
                  <a:pt x="3615" y="2692"/>
                </a:cubicBezTo>
                <a:cubicBezTo>
                  <a:pt x="3583" y="2670"/>
                  <a:pt x="3555" y="2563"/>
                  <a:pt x="3522" y="2556"/>
                </a:cubicBezTo>
                <a:cubicBezTo>
                  <a:pt x="3506" y="2563"/>
                  <a:pt x="3491" y="2570"/>
                  <a:pt x="3476" y="2576"/>
                </a:cubicBezTo>
                <a:cubicBezTo>
                  <a:pt x="3459" y="2557"/>
                  <a:pt x="3444" y="2507"/>
                  <a:pt x="3426" y="2496"/>
                </a:cubicBezTo>
                <a:cubicBezTo>
                  <a:pt x="3393" y="2476"/>
                  <a:pt x="3328" y="2545"/>
                  <a:pt x="3303" y="2550"/>
                </a:cubicBezTo>
                <a:cubicBezTo>
                  <a:pt x="3305" y="2574"/>
                  <a:pt x="3307" y="2598"/>
                  <a:pt x="3309" y="2622"/>
                </a:cubicBezTo>
                <a:cubicBezTo>
                  <a:pt x="3331" y="2638"/>
                  <a:pt x="3352" y="2652"/>
                  <a:pt x="3373" y="2668"/>
                </a:cubicBezTo>
                <a:cubicBezTo>
                  <a:pt x="3347" y="2705"/>
                  <a:pt x="3290" y="2666"/>
                  <a:pt x="3257" y="2694"/>
                </a:cubicBezTo>
                <a:cubicBezTo>
                  <a:pt x="3248" y="2710"/>
                  <a:pt x="3241" y="2724"/>
                  <a:pt x="3232" y="2740"/>
                </a:cubicBezTo>
                <a:cubicBezTo>
                  <a:pt x="3232" y="2744"/>
                  <a:pt x="3232" y="2749"/>
                  <a:pt x="3232" y="2753"/>
                </a:cubicBezTo>
                <a:cubicBezTo>
                  <a:pt x="3254" y="2782"/>
                  <a:pt x="3294" y="2831"/>
                  <a:pt x="3324" y="2779"/>
                </a:cubicBezTo>
                <a:cubicBezTo>
                  <a:pt x="3340" y="2791"/>
                  <a:pt x="3356" y="2802"/>
                  <a:pt x="3372" y="2814"/>
                </a:cubicBezTo>
                <a:cubicBezTo>
                  <a:pt x="3380" y="2810"/>
                  <a:pt x="3388" y="2806"/>
                  <a:pt x="3396" y="2802"/>
                </a:cubicBezTo>
                <a:cubicBezTo>
                  <a:pt x="3426" y="2791"/>
                  <a:pt x="3450" y="2798"/>
                  <a:pt x="3476" y="2784"/>
                </a:cubicBezTo>
                <a:cubicBezTo>
                  <a:pt x="3491" y="2773"/>
                  <a:pt x="3506" y="2762"/>
                  <a:pt x="3522" y="2751"/>
                </a:cubicBezTo>
                <a:cubicBezTo>
                  <a:pt x="3558" y="2756"/>
                  <a:pt x="3593" y="2761"/>
                  <a:pt x="3629" y="2766"/>
                </a:cubicBezTo>
                <a:cubicBezTo>
                  <a:pt x="3629" y="2767"/>
                  <a:pt x="3629" y="2768"/>
                  <a:pt x="3629" y="2769"/>
                </a:cubicBezTo>
                <a:cubicBezTo>
                  <a:pt x="3625" y="2787"/>
                  <a:pt x="3621" y="2805"/>
                  <a:pt x="3617" y="2823"/>
                </a:cubicBezTo>
                <a:cubicBezTo>
                  <a:pt x="3586" y="2845"/>
                  <a:pt x="3546" y="2835"/>
                  <a:pt x="3510" y="2851"/>
                </a:cubicBezTo>
                <a:cubicBezTo>
                  <a:pt x="3503" y="2856"/>
                  <a:pt x="3496" y="2861"/>
                  <a:pt x="3489" y="2866"/>
                </a:cubicBezTo>
                <a:cubicBezTo>
                  <a:pt x="3470" y="2875"/>
                  <a:pt x="3452" y="2866"/>
                  <a:pt x="3438" y="2882"/>
                </a:cubicBezTo>
                <a:cubicBezTo>
                  <a:pt x="3437" y="2883"/>
                  <a:pt x="3436" y="2886"/>
                  <a:pt x="3434" y="2888"/>
                </a:cubicBezTo>
                <a:cubicBezTo>
                  <a:pt x="3437" y="2900"/>
                  <a:pt x="3439" y="2913"/>
                  <a:pt x="3441" y="2926"/>
                </a:cubicBezTo>
                <a:cubicBezTo>
                  <a:pt x="3462" y="2935"/>
                  <a:pt x="3479" y="2956"/>
                  <a:pt x="3502" y="2964"/>
                </a:cubicBezTo>
                <a:cubicBezTo>
                  <a:pt x="3611" y="3002"/>
                  <a:pt x="3684" y="2852"/>
                  <a:pt x="3760" y="2818"/>
                </a:cubicBezTo>
                <a:cubicBezTo>
                  <a:pt x="3793" y="2828"/>
                  <a:pt x="3825" y="2838"/>
                  <a:pt x="3858" y="2848"/>
                </a:cubicBezTo>
                <a:cubicBezTo>
                  <a:pt x="3874" y="2843"/>
                  <a:pt x="3890" y="2840"/>
                  <a:pt x="3907" y="2836"/>
                </a:cubicBezTo>
                <a:cubicBezTo>
                  <a:pt x="3926" y="2830"/>
                  <a:pt x="3943" y="2839"/>
                  <a:pt x="3957" y="2825"/>
                </a:cubicBezTo>
                <a:cubicBezTo>
                  <a:pt x="3980" y="2802"/>
                  <a:pt x="3986" y="2699"/>
                  <a:pt x="3990" y="2642"/>
                </a:cubicBezTo>
                <a:cubicBezTo>
                  <a:pt x="3967" y="2616"/>
                  <a:pt x="3944" y="2578"/>
                  <a:pt x="3907" y="2584"/>
                </a:cubicBezTo>
                <a:cubicBezTo>
                  <a:pt x="3905" y="2620"/>
                  <a:pt x="3908" y="2637"/>
                  <a:pt x="3913" y="2668"/>
                </a:cubicBezTo>
                <a:cubicBezTo>
                  <a:pt x="3884" y="2645"/>
                  <a:pt x="3853" y="2625"/>
                  <a:pt x="3819" y="2606"/>
                </a:cubicBezTo>
                <a:cubicBezTo>
                  <a:pt x="3807" y="2550"/>
                  <a:pt x="3806" y="2440"/>
                  <a:pt x="3779" y="2412"/>
                </a:cubicBezTo>
                <a:cubicBezTo>
                  <a:pt x="3775" y="2402"/>
                  <a:pt x="3773" y="2398"/>
                  <a:pt x="3764" y="2396"/>
                </a:cubicBezTo>
                <a:close/>
                <a:moveTo>
                  <a:pt x="4586" y="2396"/>
                </a:moveTo>
                <a:cubicBezTo>
                  <a:pt x="4562" y="2412"/>
                  <a:pt x="4535" y="2383"/>
                  <a:pt x="4525" y="2426"/>
                </a:cubicBezTo>
                <a:cubicBezTo>
                  <a:pt x="4528" y="2432"/>
                  <a:pt x="4591" y="2536"/>
                  <a:pt x="4592" y="2537"/>
                </a:cubicBezTo>
                <a:cubicBezTo>
                  <a:pt x="4592" y="2538"/>
                  <a:pt x="4592" y="2540"/>
                  <a:pt x="4593" y="2540"/>
                </a:cubicBezTo>
                <a:cubicBezTo>
                  <a:pt x="4600" y="2540"/>
                  <a:pt x="4609" y="2538"/>
                  <a:pt x="4617" y="2537"/>
                </a:cubicBezTo>
                <a:cubicBezTo>
                  <a:pt x="4647" y="2544"/>
                  <a:pt x="4677" y="2551"/>
                  <a:pt x="4708" y="2558"/>
                </a:cubicBezTo>
                <a:cubicBezTo>
                  <a:pt x="4716" y="2534"/>
                  <a:pt x="4711" y="2501"/>
                  <a:pt x="4718" y="2473"/>
                </a:cubicBezTo>
                <a:cubicBezTo>
                  <a:pt x="4709" y="2459"/>
                  <a:pt x="4700" y="2446"/>
                  <a:pt x="4691" y="2432"/>
                </a:cubicBezTo>
                <a:cubicBezTo>
                  <a:pt x="4676" y="2432"/>
                  <a:pt x="4661" y="2431"/>
                  <a:pt x="4646" y="2430"/>
                </a:cubicBezTo>
                <a:cubicBezTo>
                  <a:pt x="4625" y="2422"/>
                  <a:pt x="4613" y="2396"/>
                  <a:pt x="4586" y="2396"/>
                </a:cubicBezTo>
                <a:close/>
                <a:moveTo>
                  <a:pt x="4901" y="2396"/>
                </a:moveTo>
                <a:cubicBezTo>
                  <a:pt x="4886" y="2409"/>
                  <a:pt x="4866" y="2405"/>
                  <a:pt x="4853" y="2419"/>
                </a:cubicBezTo>
                <a:cubicBezTo>
                  <a:pt x="4838" y="2442"/>
                  <a:pt x="4861" y="2481"/>
                  <a:pt x="4867" y="2494"/>
                </a:cubicBezTo>
                <a:cubicBezTo>
                  <a:pt x="4890" y="2542"/>
                  <a:pt x="4938" y="2604"/>
                  <a:pt x="4895" y="2686"/>
                </a:cubicBezTo>
                <a:cubicBezTo>
                  <a:pt x="4900" y="2744"/>
                  <a:pt x="4918" y="2788"/>
                  <a:pt x="4924" y="2838"/>
                </a:cubicBezTo>
                <a:cubicBezTo>
                  <a:pt x="4935" y="2842"/>
                  <a:pt x="4946" y="2845"/>
                  <a:pt x="4957" y="2848"/>
                </a:cubicBezTo>
                <a:cubicBezTo>
                  <a:pt x="4964" y="2832"/>
                  <a:pt x="4970" y="2815"/>
                  <a:pt x="4976" y="2799"/>
                </a:cubicBezTo>
                <a:cubicBezTo>
                  <a:pt x="4976" y="2797"/>
                  <a:pt x="4976" y="2796"/>
                  <a:pt x="4976" y="2794"/>
                </a:cubicBezTo>
                <a:cubicBezTo>
                  <a:pt x="5001" y="2830"/>
                  <a:pt x="5038" y="2927"/>
                  <a:pt x="5090" y="2863"/>
                </a:cubicBezTo>
                <a:cubicBezTo>
                  <a:pt x="5094" y="2851"/>
                  <a:pt x="5097" y="2841"/>
                  <a:pt x="5100" y="2829"/>
                </a:cubicBezTo>
                <a:cubicBezTo>
                  <a:pt x="5108" y="2806"/>
                  <a:pt x="5130" y="2799"/>
                  <a:pt x="5147" y="2794"/>
                </a:cubicBezTo>
                <a:cubicBezTo>
                  <a:pt x="5148" y="2836"/>
                  <a:pt x="5150" y="2870"/>
                  <a:pt x="5162" y="2890"/>
                </a:cubicBezTo>
                <a:cubicBezTo>
                  <a:pt x="5202" y="2904"/>
                  <a:pt x="5242" y="2889"/>
                  <a:pt x="5280" y="2879"/>
                </a:cubicBezTo>
                <a:cubicBezTo>
                  <a:pt x="5282" y="2864"/>
                  <a:pt x="5284" y="2848"/>
                  <a:pt x="5286" y="2832"/>
                </a:cubicBezTo>
                <a:cubicBezTo>
                  <a:pt x="5312" y="2839"/>
                  <a:pt x="5328" y="2869"/>
                  <a:pt x="5352" y="2879"/>
                </a:cubicBezTo>
                <a:cubicBezTo>
                  <a:pt x="5379" y="2891"/>
                  <a:pt x="5443" y="2872"/>
                  <a:pt x="5454" y="2861"/>
                </a:cubicBezTo>
                <a:cubicBezTo>
                  <a:pt x="5453" y="2835"/>
                  <a:pt x="5452" y="2807"/>
                  <a:pt x="5452" y="2781"/>
                </a:cubicBezTo>
                <a:cubicBezTo>
                  <a:pt x="5454" y="2778"/>
                  <a:pt x="5457" y="2776"/>
                  <a:pt x="5459" y="2773"/>
                </a:cubicBezTo>
                <a:cubicBezTo>
                  <a:pt x="5467" y="2779"/>
                  <a:pt x="5474" y="2785"/>
                  <a:pt x="5482" y="2791"/>
                </a:cubicBezTo>
                <a:cubicBezTo>
                  <a:pt x="5490" y="2801"/>
                  <a:pt x="5493" y="2845"/>
                  <a:pt x="5495" y="2866"/>
                </a:cubicBezTo>
                <a:cubicBezTo>
                  <a:pt x="5506" y="2876"/>
                  <a:pt x="5517" y="2887"/>
                  <a:pt x="5528" y="2897"/>
                </a:cubicBezTo>
                <a:cubicBezTo>
                  <a:pt x="5548" y="2908"/>
                  <a:pt x="5631" y="2884"/>
                  <a:pt x="5659" y="2879"/>
                </a:cubicBezTo>
                <a:cubicBezTo>
                  <a:pt x="5654" y="2858"/>
                  <a:pt x="5650" y="2836"/>
                  <a:pt x="5646" y="2814"/>
                </a:cubicBezTo>
                <a:cubicBezTo>
                  <a:pt x="5643" y="2778"/>
                  <a:pt x="5699" y="2738"/>
                  <a:pt x="5713" y="2728"/>
                </a:cubicBezTo>
                <a:cubicBezTo>
                  <a:pt x="5714" y="2725"/>
                  <a:pt x="5714" y="2722"/>
                  <a:pt x="5715" y="2719"/>
                </a:cubicBezTo>
                <a:cubicBezTo>
                  <a:pt x="5695" y="2659"/>
                  <a:pt x="5672" y="2676"/>
                  <a:pt x="5632" y="2648"/>
                </a:cubicBezTo>
                <a:cubicBezTo>
                  <a:pt x="5613" y="2625"/>
                  <a:pt x="5593" y="2600"/>
                  <a:pt x="5574" y="2578"/>
                </a:cubicBezTo>
                <a:cubicBezTo>
                  <a:pt x="5509" y="2549"/>
                  <a:pt x="5346" y="2601"/>
                  <a:pt x="5312" y="2640"/>
                </a:cubicBezTo>
                <a:cubicBezTo>
                  <a:pt x="5304" y="2657"/>
                  <a:pt x="5296" y="2674"/>
                  <a:pt x="5289" y="2692"/>
                </a:cubicBezTo>
                <a:cubicBezTo>
                  <a:pt x="5244" y="2689"/>
                  <a:pt x="5238" y="2631"/>
                  <a:pt x="5200" y="2622"/>
                </a:cubicBezTo>
                <a:cubicBezTo>
                  <a:pt x="5188" y="2619"/>
                  <a:pt x="5180" y="2638"/>
                  <a:pt x="5172" y="2642"/>
                </a:cubicBezTo>
                <a:cubicBezTo>
                  <a:pt x="5159" y="2644"/>
                  <a:pt x="5145" y="2644"/>
                  <a:pt x="5132" y="2645"/>
                </a:cubicBezTo>
                <a:cubicBezTo>
                  <a:pt x="5130" y="2688"/>
                  <a:pt x="5127" y="2688"/>
                  <a:pt x="5105" y="2683"/>
                </a:cubicBezTo>
                <a:cubicBezTo>
                  <a:pt x="5093" y="2652"/>
                  <a:pt x="5079" y="2623"/>
                  <a:pt x="5072" y="2581"/>
                </a:cubicBezTo>
                <a:cubicBezTo>
                  <a:pt x="5040" y="2568"/>
                  <a:pt x="5014" y="2558"/>
                  <a:pt x="4971" y="2558"/>
                </a:cubicBezTo>
                <a:cubicBezTo>
                  <a:pt x="4974" y="2543"/>
                  <a:pt x="4978" y="2527"/>
                  <a:pt x="4981" y="2512"/>
                </a:cubicBezTo>
                <a:cubicBezTo>
                  <a:pt x="4993" y="2475"/>
                  <a:pt x="5038" y="2492"/>
                  <a:pt x="5055" y="2464"/>
                </a:cubicBezTo>
                <a:cubicBezTo>
                  <a:pt x="5056" y="2463"/>
                  <a:pt x="5056" y="2462"/>
                  <a:pt x="5057" y="2461"/>
                </a:cubicBezTo>
                <a:cubicBezTo>
                  <a:pt x="5029" y="2443"/>
                  <a:pt x="5006" y="2409"/>
                  <a:pt x="4976" y="2396"/>
                </a:cubicBezTo>
                <a:cubicBezTo>
                  <a:pt x="4951" y="2396"/>
                  <a:pt x="4926" y="2396"/>
                  <a:pt x="4901" y="2396"/>
                </a:cubicBezTo>
                <a:close/>
                <a:moveTo>
                  <a:pt x="6968" y="2396"/>
                </a:moveTo>
                <a:cubicBezTo>
                  <a:pt x="6968" y="2397"/>
                  <a:pt x="6966" y="2397"/>
                  <a:pt x="6966" y="2397"/>
                </a:cubicBezTo>
                <a:cubicBezTo>
                  <a:pt x="6958" y="2408"/>
                  <a:pt x="6952" y="2423"/>
                  <a:pt x="6950" y="2437"/>
                </a:cubicBezTo>
                <a:cubicBezTo>
                  <a:pt x="6953" y="2454"/>
                  <a:pt x="6966" y="2456"/>
                  <a:pt x="6977" y="2458"/>
                </a:cubicBezTo>
                <a:cubicBezTo>
                  <a:pt x="6979" y="2433"/>
                  <a:pt x="6978" y="2419"/>
                  <a:pt x="6968" y="2396"/>
                </a:cubicBezTo>
                <a:close/>
                <a:moveTo>
                  <a:pt x="4353" y="2397"/>
                </a:moveTo>
                <a:cubicBezTo>
                  <a:pt x="4344" y="2396"/>
                  <a:pt x="4333" y="2399"/>
                  <a:pt x="4322" y="2412"/>
                </a:cubicBezTo>
                <a:cubicBezTo>
                  <a:pt x="4321" y="2413"/>
                  <a:pt x="4319" y="2415"/>
                  <a:pt x="4318" y="2417"/>
                </a:cubicBezTo>
                <a:cubicBezTo>
                  <a:pt x="4332" y="2460"/>
                  <a:pt x="4367" y="2493"/>
                  <a:pt x="4371" y="2551"/>
                </a:cubicBezTo>
                <a:cubicBezTo>
                  <a:pt x="4369" y="2553"/>
                  <a:pt x="4367" y="2555"/>
                  <a:pt x="4364" y="2556"/>
                </a:cubicBezTo>
                <a:cubicBezTo>
                  <a:pt x="4322" y="2545"/>
                  <a:pt x="4307" y="2430"/>
                  <a:pt x="4252" y="2430"/>
                </a:cubicBezTo>
                <a:cubicBezTo>
                  <a:pt x="4245" y="2474"/>
                  <a:pt x="4241" y="2501"/>
                  <a:pt x="4256" y="2543"/>
                </a:cubicBezTo>
                <a:cubicBezTo>
                  <a:pt x="4256" y="2544"/>
                  <a:pt x="4256" y="2545"/>
                  <a:pt x="4256" y="2545"/>
                </a:cubicBezTo>
                <a:cubicBezTo>
                  <a:pt x="4232" y="2558"/>
                  <a:pt x="4230" y="2580"/>
                  <a:pt x="4202" y="2579"/>
                </a:cubicBezTo>
                <a:cubicBezTo>
                  <a:pt x="4202" y="2593"/>
                  <a:pt x="4202" y="2606"/>
                  <a:pt x="4202" y="2620"/>
                </a:cubicBezTo>
                <a:cubicBezTo>
                  <a:pt x="4209" y="2629"/>
                  <a:pt x="4217" y="2639"/>
                  <a:pt x="4225" y="2648"/>
                </a:cubicBezTo>
                <a:cubicBezTo>
                  <a:pt x="4251" y="2633"/>
                  <a:pt x="4327" y="2598"/>
                  <a:pt x="4354" y="2620"/>
                </a:cubicBezTo>
                <a:cubicBezTo>
                  <a:pt x="4360" y="2626"/>
                  <a:pt x="4366" y="2640"/>
                  <a:pt x="4368" y="2653"/>
                </a:cubicBezTo>
                <a:cubicBezTo>
                  <a:pt x="4368" y="2660"/>
                  <a:pt x="4368" y="2668"/>
                  <a:pt x="4368" y="2675"/>
                </a:cubicBezTo>
                <a:cubicBezTo>
                  <a:pt x="4351" y="2688"/>
                  <a:pt x="4346" y="2706"/>
                  <a:pt x="4333" y="2725"/>
                </a:cubicBezTo>
                <a:cubicBezTo>
                  <a:pt x="4339" y="2807"/>
                  <a:pt x="4397" y="2779"/>
                  <a:pt x="4430" y="2769"/>
                </a:cubicBezTo>
                <a:cubicBezTo>
                  <a:pt x="4446" y="2772"/>
                  <a:pt x="4463" y="2776"/>
                  <a:pt x="4480" y="2779"/>
                </a:cubicBezTo>
                <a:cubicBezTo>
                  <a:pt x="4483" y="2775"/>
                  <a:pt x="4486" y="2771"/>
                  <a:pt x="4488" y="2766"/>
                </a:cubicBezTo>
                <a:cubicBezTo>
                  <a:pt x="4487" y="2738"/>
                  <a:pt x="4472" y="2687"/>
                  <a:pt x="4482" y="2656"/>
                </a:cubicBezTo>
                <a:cubicBezTo>
                  <a:pt x="4489" y="2632"/>
                  <a:pt x="4507" y="2629"/>
                  <a:pt x="4512" y="2597"/>
                </a:cubicBezTo>
                <a:cubicBezTo>
                  <a:pt x="4516" y="2572"/>
                  <a:pt x="4511" y="2528"/>
                  <a:pt x="4509" y="2510"/>
                </a:cubicBezTo>
                <a:cubicBezTo>
                  <a:pt x="4498" y="2428"/>
                  <a:pt x="4492" y="2422"/>
                  <a:pt x="4451" y="2397"/>
                </a:cubicBezTo>
                <a:cubicBezTo>
                  <a:pt x="4447" y="2401"/>
                  <a:pt x="4442" y="2405"/>
                  <a:pt x="4438" y="2409"/>
                </a:cubicBezTo>
                <a:cubicBezTo>
                  <a:pt x="4436" y="2427"/>
                  <a:pt x="4435" y="2444"/>
                  <a:pt x="4433" y="2461"/>
                </a:cubicBezTo>
                <a:cubicBezTo>
                  <a:pt x="4405" y="2456"/>
                  <a:pt x="4382" y="2402"/>
                  <a:pt x="4353" y="2397"/>
                </a:cubicBezTo>
                <a:close/>
                <a:moveTo>
                  <a:pt x="13691" y="2411"/>
                </a:moveTo>
                <a:cubicBezTo>
                  <a:pt x="13654" y="2402"/>
                  <a:pt x="13614" y="2434"/>
                  <a:pt x="13587" y="2447"/>
                </a:cubicBezTo>
                <a:cubicBezTo>
                  <a:pt x="13572" y="2449"/>
                  <a:pt x="13556" y="2450"/>
                  <a:pt x="13540" y="2452"/>
                </a:cubicBezTo>
                <a:cubicBezTo>
                  <a:pt x="13521" y="2469"/>
                  <a:pt x="13511" y="2515"/>
                  <a:pt x="13489" y="2533"/>
                </a:cubicBezTo>
                <a:cubicBezTo>
                  <a:pt x="13488" y="2536"/>
                  <a:pt x="13487" y="2539"/>
                  <a:pt x="13486" y="2542"/>
                </a:cubicBezTo>
                <a:cubicBezTo>
                  <a:pt x="13497" y="2552"/>
                  <a:pt x="13507" y="2567"/>
                  <a:pt x="13523" y="2568"/>
                </a:cubicBezTo>
                <a:cubicBezTo>
                  <a:pt x="13515" y="2612"/>
                  <a:pt x="13493" y="2679"/>
                  <a:pt x="13469" y="2693"/>
                </a:cubicBezTo>
                <a:cubicBezTo>
                  <a:pt x="13454" y="2702"/>
                  <a:pt x="13445" y="2685"/>
                  <a:pt x="13433" y="2686"/>
                </a:cubicBezTo>
                <a:cubicBezTo>
                  <a:pt x="13422" y="2710"/>
                  <a:pt x="13409" y="2731"/>
                  <a:pt x="13417" y="2777"/>
                </a:cubicBezTo>
                <a:cubicBezTo>
                  <a:pt x="13421" y="2787"/>
                  <a:pt x="13425" y="2798"/>
                  <a:pt x="13429" y="2808"/>
                </a:cubicBezTo>
                <a:cubicBezTo>
                  <a:pt x="13460" y="2847"/>
                  <a:pt x="13466" y="2790"/>
                  <a:pt x="13489" y="2796"/>
                </a:cubicBezTo>
                <a:cubicBezTo>
                  <a:pt x="13533" y="2809"/>
                  <a:pt x="13560" y="2856"/>
                  <a:pt x="13597" y="2878"/>
                </a:cubicBezTo>
                <a:cubicBezTo>
                  <a:pt x="13596" y="2887"/>
                  <a:pt x="13596" y="2896"/>
                  <a:pt x="13595" y="2904"/>
                </a:cubicBezTo>
                <a:cubicBezTo>
                  <a:pt x="13576" y="2920"/>
                  <a:pt x="13555" y="2924"/>
                  <a:pt x="13557" y="2973"/>
                </a:cubicBezTo>
                <a:cubicBezTo>
                  <a:pt x="13578" y="2980"/>
                  <a:pt x="13593" y="2977"/>
                  <a:pt x="13618" y="2975"/>
                </a:cubicBezTo>
                <a:cubicBezTo>
                  <a:pt x="13623" y="2989"/>
                  <a:pt x="13629" y="3004"/>
                  <a:pt x="13635" y="3017"/>
                </a:cubicBezTo>
                <a:cubicBezTo>
                  <a:pt x="13655" y="3033"/>
                  <a:pt x="13666" y="2993"/>
                  <a:pt x="13681" y="2984"/>
                </a:cubicBezTo>
                <a:cubicBezTo>
                  <a:pt x="13714" y="2984"/>
                  <a:pt x="13748" y="2985"/>
                  <a:pt x="13782" y="2986"/>
                </a:cubicBezTo>
                <a:cubicBezTo>
                  <a:pt x="13780" y="2935"/>
                  <a:pt x="13743" y="2920"/>
                  <a:pt x="13726" y="2896"/>
                </a:cubicBezTo>
                <a:cubicBezTo>
                  <a:pt x="13696" y="2853"/>
                  <a:pt x="13680" y="2761"/>
                  <a:pt x="13671" y="2680"/>
                </a:cubicBezTo>
                <a:cubicBezTo>
                  <a:pt x="13653" y="2506"/>
                  <a:pt x="13726" y="2566"/>
                  <a:pt x="13735" y="2438"/>
                </a:cubicBezTo>
                <a:cubicBezTo>
                  <a:pt x="13720" y="2429"/>
                  <a:pt x="13705" y="2420"/>
                  <a:pt x="13691" y="2411"/>
                </a:cubicBezTo>
                <a:close/>
                <a:moveTo>
                  <a:pt x="3038" y="2996"/>
                </a:moveTo>
                <a:cubicBezTo>
                  <a:pt x="3026" y="2999"/>
                  <a:pt x="3013" y="3002"/>
                  <a:pt x="3000" y="3005"/>
                </a:cubicBezTo>
                <a:cubicBezTo>
                  <a:pt x="2944" y="3026"/>
                  <a:pt x="2875" y="3026"/>
                  <a:pt x="2810" y="3026"/>
                </a:cubicBezTo>
                <a:cubicBezTo>
                  <a:pt x="2809" y="3027"/>
                  <a:pt x="2808" y="3027"/>
                  <a:pt x="2808" y="3028"/>
                </a:cubicBezTo>
                <a:cubicBezTo>
                  <a:pt x="2823" y="3086"/>
                  <a:pt x="2845" y="3115"/>
                  <a:pt x="2864" y="3163"/>
                </a:cubicBezTo>
                <a:cubicBezTo>
                  <a:pt x="2873" y="3243"/>
                  <a:pt x="2836" y="3263"/>
                  <a:pt x="2819" y="3309"/>
                </a:cubicBezTo>
                <a:cubicBezTo>
                  <a:pt x="2808" y="3342"/>
                  <a:pt x="2812" y="3363"/>
                  <a:pt x="2782" y="3362"/>
                </a:cubicBezTo>
                <a:cubicBezTo>
                  <a:pt x="2786" y="3405"/>
                  <a:pt x="2795" y="3432"/>
                  <a:pt x="2793" y="3482"/>
                </a:cubicBezTo>
                <a:cubicBezTo>
                  <a:pt x="2779" y="3510"/>
                  <a:pt x="2763" y="3523"/>
                  <a:pt x="2747" y="3547"/>
                </a:cubicBezTo>
                <a:cubicBezTo>
                  <a:pt x="2761" y="3608"/>
                  <a:pt x="2796" y="3577"/>
                  <a:pt x="2832" y="3601"/>
                </a:cubicBezTo>
                <a:cubicBezTo>
                  <a:pt x="2868" y="3626"/>
                  <a:pt x="2885" y="3690"/>
                  <a:pt x="2901" y="3755"/>
                </a:cubicBezTo>
                <a:cubicBezTo>
                  <a:pt x="2949" y="3774"/>
                  <a:pt x="2985" y="3761"/>
                  <a:pt x="2998" y="3689"/>
                </a:cubicBezTo>
                <a:cubicBezTo>
                  <a:pt x="3083" y="3696"/>
                  <a:pt x="3096" y="3685"/>
                  <a:pt x="3093" y="3515"/>
                </a:cubicBezTo>
                <a:cubicBezTo>
                  <a:pt x="3109" y="3507"/>
                  <a:pt x="3124" y="3499"/>
                  <a:pt x="3140" y="3490"/>
                </a:cubicBezTo>
                <a:cubicBezTo>
                  <a:pt x="3164" y="3458"/>
                  <a:pt x="3184" y="3403"/>
                  <a:pt x="3209" y="3368"/>
                </a:cubicBezTo>
                <a:cubicBezTo>
                  <a:pt x="3215" y="3360"/>
                  <a:pt x="3232" y="3347"/>
                  <a:pt x="3242" y="3337"/>
                </a:cubicBezTo>
                <a:cubicBezTo>
                  <a:pt x="3246" y="3341"/>
                  <a:pt x="3249" y="3346"/>
                  <a:pt x="3253" y="3350"/>
                </a:cubicBezTo>
                <a:cubicBezTo>
                  <a:pt x="3270" y="3357"/>
                  <a:pt x="3277" y="3345"/>
                  <a:pt x="3291" y="3363"/>
                </a:cubicBezTo>
                <a:cubicBezTo>
                  <a:pt x="3303" y="3379"/>
                  <a:pt x="3314" y="3411"/>
                  <a:pt x="3329" y="3420"/>
                </a:cubicBezTo>
                <a:cubicBezTo>
                  <a:pt x="3366" y="3413"/>
                  <a:pt x="3402" y="3406"/>
                  <a:pt x="3439" y="3399"/>
                </a:cubicBezTo>
                <a:cubicBezTo>
                  <a:pt x="3443" y="3409"/>
                  <a:pt x="3447" y="3419"/>
                  <a:pt x="3451" y="3429"/>
                </a:cubicBezTo>
                <a:cubicBezTo>
                  <a:pt x="3449" y="3434"/>
                  <a:pt x="3447" y="3440"/>
                  <a:pt x="3445" y="3445"/>
                </a:cubicBezTo>
                <a:cubicBezTo>
                  <a:pt x="3409" y="3494"/>
                  <a:pt x="3285" y="3462"/>
                  <a:pt x="3263" y="3516"/>
                </a:cubicBezTo>
                <a:cubicBezTo>
                  <a:pt x="3256" y="3566"/>
                  <a:pt x="3330" y="3581"/>
                  <a:pt x="3365" y="3581"/>
                </a:cubicBezTo>
                <a:cubicBezTo>
                  <a:pt x="3484" y="3581"/>
                  <a:pt x="3646" y="3560"/>
                  <a:pt x="3705" y="3668"/>
                </a:cubicBezTo>
                <a:cubicBezTo>
                  <a:pt x="3681" y="3683"/>
                  <a:pt x="3571" y="3689"/>
                  <a:pt x="3533" y="3678"/>
                </a:cubicBezTo>
                <a:cubicBezTo>
                  <a:pt x="3513" y="3677"/>
                  <a:pt x="3492" y="3678"/>
                  <a:pt x="3471" y="3677"/>
                </a:cubicBezTo>
                <a:cubicBezTo>
                  <a:pt x="3456" y="3683"/>
                  <a:pt x="3424" y="3676"/>
                  <a:pt x="3407" y="3686"/>
                </a:cubicBezTo>
                <a:cubicBezTo>
                  <a:pt x="3398" y="3691"/>
                  <a:pt x="3393" y="3703"/>
                  <a:pt x="3382" y="3707"/>
                </a:cubicBezTo>
                <a:cubicBezTo>
                  <a:pt x="3371" y="3707"/>
                  <a:pt x="3360" y="3707"/>
                  <a:pt x="3349" y="3707"/>
                </a:cubicBezTo>
                <a:cubicBezTo>
                  <a:pt x="3340" y="3716"/>
                  <a:pt x="3331" y="3725"/>
                  <a:pt x="3321" y="3734"/>
                </a:cubicBezTo>
                <a:cubicBezTo>
                  <a:pt x="3321" y="3735"/>
                  <a:pt x="3321" y="3737"/>
                  <a:pt x="3321" y="3738"/>
                </a:cubicBezTo>
                <a:cubicBezTo>
                  <a:pt x="3346" y="3789"/>
                  <a:pt x="3389" y="3858"/>
                  <a:pt x="3431" y="3876"/>
                </a:cubicBezTo>
                <a:cubicBezTo>
                  <a:pt x="3465" y="3892"/>
                  <a:pt x="3550" y="3875"/>
                  <a:pt x="3573" y="3910"/>
                </a:cubicBezTo>
                <a:cubicBezTo>
                  <a:pt x="3587" y="3930"/>
                  <a:pt x="3570" y="3964"/>
                  <a:pt x="3574" y="3995"/>
                </a:cubicBezTo>
                <a:cubicBezTo>
                  <a:pt x="3588" y="4056"/>
                  <a:pt x="3658" y="4016"/>
                  <a:pt x="3696" y="4026"/>
                </a:cubicBezTo>
                <a:cubicBezTo>
                  <a:pt x="3737" y="4037"/>
                  <a:pt x="3822" y="4009"/>
                  <a:pt x="3854" y="3984"/>
                </a:cubicBezTo>
                <a:cubicBezTo>
                  <a:pt x="3865" y="3971"/>
                  <a:pt x="3876" y="3959"/>
                  <a:pt x="3886" y="3946"/>
                </a:cubicBezTo>
                <a:cubicBezTo>
                  <a:pt x="3899" y="3944"/>
                  <a:pt x="3913" y="3943"/>
                  <a:pt x="3926" y="3941"/>
                </a:cubicBezTo>
                <a:cubicBezTo>
                  <a:pt x="3965" y="3930"/>
                  <a:pt x="3992" y="3912"/>
                  <a:pt x="4003" y="3853"/>
                </a:cubicBezTo>
                <a:cubicBezTo>
                  <a:pt x="4011" y="3847"/>
                  <a:pt x="4021" y="3840"/>
                  <a:pt x="4032" y="3846"/>
                </a:cubicBezTo>
                <a:cubicBezTo>
                  <a:pt x="4044" y="3858"/>
                  <a:pt x="4048" y="3886"/>
                  <a:pt x="4060" y="3899"/>
                </a:cubicBezTo>
                <a:cubicBezTo>
                  <a:pt x="4114" y="3951"/>
                  <a:pt x="4200" y="3995"/>
                  <a:pt x="4279" y="3964"/>
                </a:cubicBezTo>
                <a:cubicBezTo>
                  <a:pt x="4300" y="3955"/>
                  <a:pt x="4307" y="3930"/>
                  <a:pt x="4326" y="3918"/>
                </a:cubicBezTo>
                <a:cubicBezTo>
                  <a:pt x="4325" y="3877"/>
                  <a:pt x="4312" y="3877"/>
                  <a:pt x="4305" y="3851"/>
                </a:cubicBezTo>
                <a:cubicBezTo>
                  <a:pt x="4290" y="3840"/>
                  <a:pt x="4255" y="3870"/>
                  <a:pt x="4232" y="3876"/>
                </a:cubicBezTo>
                <a:cubicBezTo>
                  <a:pt x="4230" y="3856"/>
                  <a:pt x="4228" y="3835"/>
                  <a:pt x="4226" y="3815"/>
                </a:cubicBezTo>
                <a:cubicBezTo>
                  <a:pt x="4228" y="3811"/>
                  <a:pt x="4229" y="3809"/>
                  <a:pt x="4230" y="3805"/>
                </a:cubicBezTo>
                <a:cubicBezTo>
                  <a:pt x="4261" y="3795"/>
                  <a:pt x="4275" y="3784"/>
                  <a:pt x="4297" y="3763"/>
                </a:cubicBezTo>
                <a:cubicBezTo>
                  <a:pt x="4322" y="3786"/>
                  <a:pt x="4343" y="3813"/>
                  <a:pt x="4380" y="3812"/>
                </a:cubicBezTo>
                <a:cubicBezTo>
                  <a:pt x="4381" y="3811"/>
                  <a:pt x="4382" y="3809"/>
                  <a:pt x="4383" y="3808"/>
                </a:cubicBezTo>
                <a:cubicBezTo>
                  <a:pt x="4377" y="3644"/>
                  <a:pt x="4275" y="3659"/>
                  <a:pt x="4210" y="3605"/>
                </a:cubicBezTo>
                <a:cubicBezTo>
                  <a:pt x="4184" y="3584"/>
                  <a:pt x="4170" y="3539"/>
                  <a:pt x="4147" y="3515"/>
                </a:cubicBezTo>
                <a:cubicBezTo>
                  <a:pt x="4141" y="3463"/>
                  <a:pt x="4156" y="3435"/>
                  <a:pt x="4157" y="3381"/>
                </a:cubicBezTo>
                <a:cubicBezTo>
                  <a:pt x="4138" y="3341"/>
                  <a:pt x="4117" y="3291"/>
                  <a:pt x="4106" y="3237"/>
                </a:cubicBezTo>
                <a:cubicBezTo>
                  <a:pt x="4098" y="3197"/>
                  <a:pt x="4105" y="3156"/>
                  <a:pt x="4093" y="3127"/>
                </a:cubicBezTo>
                <a:cubicBezTo>
                  <a:pt x="4061" y="3046"/>
                  <a:pt x="3984" y="3013"/>
                  <a:pt x="3919" y="2996"/>
                </a:cubicBezTo>
                <a:cubicBezTo>
                  <a:pt x="3913" y="3045"/>
                  <a:pt x="3913" y="3116"/>
                  <a:pt x="3925" y="3172"/>
                </a:cubicBezTo>
                <a:cubicBezTo>
                  <a:pt x="3935" y="3220"/>
                  <a:pt x="3962" y="3274"/>
                  <a:pt x="3955" y="3327"/>
                </a:cubicBezTo>
                <a:cubicBezTo>
                  <a:pt x="3946" y="3338"/>
                  <a:pt x="3936" y="3348"/>
                  <a:pt x="3926" y="3358"/>
                </a:cubicBezTo>
                <a:cubicBezTo>
                  <a:pt x="3906" y="3329"/>
                  <a:pt x="3890" y="3267"/>
                  <a:pt x="3880" y="3219"/>
                </a:cubicBezTo>
                <a:cubicBezTo>
                  <a:pt x="3875" y="3191"/>
                  <a:pt x="3877" y="3161"/>
                  <a:pt x="3868" y="3141"/>
                </a:cubicBezTo>
                <a:cubicBezTo>
                  <a:pt x="3851" y="3105"/>
                  <a:pt x="3805" y="3083"/>
                  <a:pt x="3774" y="3077"/>
                </a:cubicBezTo>
                <a:cubicBezTo>
                  <a:pt x="3774" y="3077"/>
                  <a:pt x="3773" y="3077"/>
                  <a:pt x="3773" y="3077"/>
                </a:cubicBezTo>
                <a:cubicBezTo>
                  <a:pt x="3766" y="3104"/>
                  <a:pt x="3792" y="3149"/>
                  <a:pt x="3797" y="3183"/>
                </a:cubicBezTo>
                <a:cubicBezTo>
                  <a:pt x="3787" y="3187"/>
                  <a:pt x="3776" y="3179"/>
                  <a:pt x="3764" y="3185"/>
                </a:cubicBezTo>
                <a:cubicBezTo>
                  <a:pt x="3741" y="3198"/>
                  <a:pt x="3729" y="3229"/>
                  <a:pt x="3694" y="3230"/>
                </a:cubicBezTo>
                <a:cubicBezTo>
                  <a:pt x="3695" y="3203"/>
                  <a:pt x="3696" y="3174"/>
                  <a:pt x="3698" y="3147"/>
                </a:cubicBezTo>
                <a:cubicBezTo>
                  <a:pt x="3686" y="3126"/>
                  <a:pt x="3619" y="3076"/>
                  <a:pt x="3596" y="3095"/>
                </a:cubicBezTo>
                <a:cubicBezTo>
                  <a:pt x="3567" y="3121"/>
                  <a:pt x="3571" y="3162"/>
                  <a:pt x="3519" y="3164"/>
                </a:cubicBezTo>
                <a:cubicBezTo>
                  <a:pt x="3519" y="3086"/>
                  <a:pt x="3525" y="3085"/>
                  <a:pt x="3535" y="3039"/>
                </a:cubicBezTo>
                <a:cubicBezTo>
                  <a:pt x="3527" y="2964"/>
                  <a:pt x="3445" y="3040"/>
                  <a:pt x="3422" y="3052"/>
                </a:cubicBezTo>
                <a:cubicBezTo>
                  <a:pt x="3399" y="3064"/>
                  <a:pt x="3364" y="3092"/>
                  <a:pt x="3330" y="3127"/>
                </a:cubicBezTo>
                <a:cubicBezTo>
                  <a:pt x="3309" y="3106"/>
                  <a:pt x="3287" y="3086"/>
                  <a:pt x="3271" y="3080"/>
                </a:cubicBezTo>
                <a:cubicBezTo>
                  <a:pt x="3226" y="3062"/>
                  <a:pt x="3192" y="3115"/>
                  <a:pt x="3152" y="3092"/>
                </a:cubicBezTo>
                <a:cubicBezTo>
                  <a:pt x="3115" y="3070"/>
                  <a:pt x="3080" y="3003"/>
                  <a:pt x="3038" y="2996"/>
                </a:cubicBezTo>
                <a:close/>
                <a:moveTo>
                  <a:pt x="4500" y="2996"/>
                </a:moveTo>
                <a:cubicBezTo>
                  <a:pt x="4489" y="3007"/>
                  <a:pt x="4434" y="3050"/>
                  <a:pt x="4419" y="3039"/>
                </a:cubicBezTo>
                <a:cubicBezTo>
                  <a:pt x="4411" y="3027"/>
                  <a:pt x="4402" y="3015"/>
                  <a:pt x="4393" y="3003"/>
                </a:cubicBezTo>
                <a:cubicBezTo>
                  <a:pt x="4377" y="2992"/>
                  <a:pt x="4371" y="3016"/>
                  <a:pt x="4361" y="3021"/>
                </a:cubicBezTo>
                <a:cubicBezTo>
                  <a:pt x="4345" y="3018"/>
                  <a:pt x="4329" y="3016"/>
                  <a:pt x="4313" y="3014"/>
                </a:cubicBezTo>
                <a:cubicBezTo>
                  <a:pt x="4311" y="3017"/>
                  <a:pt x="4310" y="3020"/>
                  <a:pt x="4308" y="3023"/>
                </a:cubicBezTo>
                <a:cubicBezTo>
                  <a:pt x="4310" y="3031"/>
                  <a:pt x="4311" y="3038"/>
                  <a:pt x="4313" y="3046"/>
                </a:cubicBezTo>
                <a:cubicBezTo>
                  <a:pt x="4315" y="3053"/>
                  <a:pt x="4367" y="3138"/>
                  <a:pt x="4373" y="3147"/>
                </a:cubicBezTo>
                <a:cubicBezTo>
                  <a:pt x="4373" y="3155"/>
                  <a:pt x="4373" y="3162"/>
                  <a:pt x="4373" y="3170"/>
                </a:cubicBezTo>
                <a:cubicBezTo>
                  <a:pt x="4351" y="3182"/>
                  <a:pt x="4333" y="3232"/>
                  <a:pt x="4320" y="3262"/>
                </a:cubicBezTo>
                <a:cubicBezTo>
                  <a:pt x="4276" y="3259"/>
                  <a:pt x="4261" y="3200"/>
                  <a:pt x="4227" y="3175"/>
                </a:cubicBezTo>
                <a:cubicBezTo>
                  <a:pt x="4219" y="3196"/>
                  <a:pt x="4210" y="3218"/>
                  <a:pt x="4202" y="3239"/>
                </a:cubicBezTo>
                <a:cubicBezTo>
                  <a:pt x="4214" y="3270"/>
                  <a:pt x="4261" y="3353"/>
                  <a:pt x="4281" y="3366"/>
                </a:cubicBezTo>
                <a:cubicBezTo>
                  <a:pt x="4307" y="3382"/>
                  <a:pt x="4332" y="3376"/>
                  <a:pt x="4353" y="3400"/>
                </a:cubicBezTo>
                <a:cubicBezTo>
                  <a:pt x="4394" y="3451"/>
                  <a:pt x="4406" y="3575"/>
                  <a:pt x="4474" y="3567"/>
                </a:cubicBezTo>
                <a:cubicBezTo>
                  <a:pt x="4482" y="3554"/>
                  <a:pt x="4489" y="3540"/>
                  <a:pt x="4497" y="3527"/>
                </a:cubicBezTo>
                <a:cubicBezTo>
                  <a:pt x="4487" y="3509"/>
                  <a:pt x="4479" y="3492"/>
                  <a:pt x="4469" y="3474"/>
                </a:cubicBezTo>
                <a:cubicBezTo>
                  <a:pt x="4469" y="3468"/>
                  <a:pt x="4469" y="3462"/>
                  <a:pt x="4469" y="3456"/>
                </a:cubicBezTo>
                <a:cubicBezTo>
                  <a:pt x="4494" y="3465"/>
                  <a:pt x="4501" y="3504"/>
                  <a:pt x="4523" y="3512"/>
                </a:cubicBezTo>
                <a:cubicBezTo>
                  <a:pt x="4581" y="3533"/>
                  <a:pt x="4567" y="3407"/>
                  <a:pt x="4584" y="3352"/>
                </a:cubicBezTo>
                <a:cubicBezTo>
                  <a:pt x="4591" y="3341"/>
                  <a:pt x="4597" y="3330"/>
                  <a:pt x="4604" y="3319"/>
                </a:cubicBezTo>
                <a:cubicBezTo>
                  <a:pt x="4602" y="3304"/>
                  <a:pt x="4600" y="3290"/>
                  <a:pt x="4598" y="3275"/>
                </a:cubicBezTo>
                <a:cubicBezTo>
                  <a:pt x="4591" y="3255"/>
                  <a:pt x="4534" y="3209"/>
                  <a:pt x="4518" y="3203"/>
                </a:cubicBezTo>
                <a:cubicBezTo>
                  <a:pt x="4503" y="3199"/>
                  <a:pt x="4501" y="3214"/>
                  <a:pt x="4480" y="3203"/>
                </a:cubicBezTo>
                <a:cubicBezTo>
                  <a:pt x="4476" y="3187"/>
                  <a:pt x="4475" y="3179"/>
                  <a:pt x="4476" y="3157"/>
                </a:cubicBezTo>
                <a:cubicBezTo>
                  <a:pt x="4491" y="3137"/>
                  <a:pt x="4516" y="3129"/>
                  <a:pt x="4530" y="3106"/>
                </a:cubicBezTo>
                <a:cubicBezTo>
                  <a:pt x="4534" y="3093"/>
                  <a:pt x="4537" y="3079"/>
                  <a:pt x="4540" y="3066"/>
                </a:cubicBezTo>
                <a:cubicBezTo>
                  <a:pt x="4550" y="3051"/>
                  <a:pt x="4557" y="3063"/>
                  <a:pt x="4563" y="3039"/>
                </a:cubicBezTo>
                <a:cubicBezTo>
                  <a:pt x="4564" y="3037"/>
                  <a:pt x="4566" y="3036"/>
                  <a:pt x="4567" y="3034"/>
                </a:cubicBezTo>
                <a:cubicBezTo>
                  <a:pt x="4553" y="3005"/>
                  <a:pt x="4527" y="2998"/>
                  <a:pt x="4500" y="2996"/>
                </a:cubicBezTo>
                <a:close/>
                <a:moveTo>
                  <a:pt x="4795" y="2996"/>
                </a:moveTo>
                <a:cubicBezTo>
                  <a:pt x="4777" y="3010"/>
                  <a:pt x="4739" y="3006"/>
                  <a:pt x="4722" y="3016"/>
                </a:cubicBezTo>
                <a:cubicBezTo>
                  <a:pt x="4725" y="3052"/>
                  <a:pt x="4736" y="3064"/>
                  <a:pt x="4742" y="3093"/>
                </a:cubicBezTo>
                <a:cubicBezTo>
                  <a:pt x="4730" y="3092"/>
                  <a:pt x="4718" y="3091"/>
                  <a:pt x="4705" y="3091"/>
                </a:cubicBezTo>
                <a:cubicBezTo>
                  <a:pt x="4694" y="3140"/>
                  <a:pt x="4678" y="3220"/>
                  <a:pt x="4693" y="3291"/>
                </a:cubicBezTo>
                <a:cubicBezTo>
                  <a:pt x="4703" y="3338"/>
                  <a:pt x="4721" y="3357"/>
                  <a:pt x="4723" y="3424"/>
                </a:cubicBezTo>
                <a:cubicBezTo>
                  <a:pt x="4764" y="3456"/>
                  <a:pt x="4801" y="3438"/>
                  <a:pt x="4815" y="3368"/>
                </a:cubicBezTo>
                <a:cubicBezTo>
                  <a:pt x="4805" y="3352"/>
                  <a:pt x="4796" y="3337"/>
                  <a:pt x="4787" y="3321"/>
                </a:cubicBezTo>
                <a:cubicBezTo>
                  <a:pt x="4783" y="3314"/>
                  <a:pt x="4780" y="3306"/>
                  <a:pt x="4776" y="3298"/>
                </a:cubicBezTo>
                <a:cubicBezTo>
                  <a:pt x="4806" y="3275"/>
                  <a:pt x="4878" y="3302"/>
                  <a:pt x="4917" y="3302"/>
                </a:cubicBezTo>
                <a:cubicBezTo>
                  <a:pt x="4958" y="3241"/>
                  <a:pt x="4977" y="3134"/>
                  <a:pt x="5017" y="3070"/>
                </a:cubicBezTo>
                <a:cubicBezTo>
                  <a:pt x="5017" y="3067"/>
                  <a:pt x="5017" y="3063"/>
                  <a:pt x="5017" y="3059"/>
                </a:cubicBezTo>
                <a:cubicBezTo>
                  <a:pt x="4983" y="2985"/>
                  <a:pt x="4948" y="3043"/>
                  <a:pt x="4906" y="3036"/>
                </a:cubicBezTo>
                <a:cubicBezTo>
                  <a:pt x="4862" y="3029"/>
                  <a:pt x="4838" y="3009"/>
                  <a:pt x="4795" y="2996"/>
                </a:cubicBezTo>
                <a:close/>
                <a:moveTo>
                  <a:pt x="5266" y="2997"/>
                </a:moveTo>
                <a:cubicBezTo>
                  <a:pt x="5153" y="2980"/>
                  <a:pt x="5016" y="3163"/>
                  <a:pt x="5021" y="3338"/>
                </a:cubicBezTo>
                <a:cubicBezTo>
                  <a:pt x="5031" y="3350"/>
                  <a:pt x="5040" y="3362"/>
                  <a:pt x="5050" y="3374"/>
                </a:cubicBezTo>
                <a:cubicBezTo>
                  <a:pt x="5052" y="3382"/>
                  <a:pt x="5052" y="3384"/>
                  <a:pt x="5051" y="3399"/>
                </a:cubicBezTo>
                <a:cubicBezTo>
                  <a:pt x="5016" y="3421"/>
                  <a:pt x="5012" y="3439"/>
                  <a:pt x="5010" y="3517"/>
                </a:cubicBezTo>
                <a:cubicBezTo>
                  <a:pt x="5084" y="3553"/>
                  <a:pt x="5146" y="3527"/>
                  <a:pt x="5190" y="3630"/>
                </a:cubicBezTo>
                <a:cubicBezTo>
                  <a:pt x="5177" y="3661"/>
                  <a:pt x="5090" y="3638"/>
                  <a:pt x="5064" y="3641"/>
                </a:cubicBezTo>
                <a:cubicBezTo>
                  <a:pt x="5054" y="3739"/>
                  <a:pt x="5143" y="3778"/>
                  <a:pt x="5195" y="3764"/>
                </a:cubicBezTo>
                <a:cubicBezTo>
                  <a:pt x="5198" y="3752"/>
                  <a:pt x="5201" y="3740"/>
                  <a:pt x="5204" y="3728"/>
                </a:cubicBezTo>
                <a:cubicBezTo>
                  <a:pt x="5215" y="3733"/>
                  <a:pt x="5226" y="3737"/>
                  <a:pt x="5237" y="3742"/>
                </a:cubicBezTo>
                <a:cubicBezTo>
                  <a:pt x="5242" y="3756"/>
                  <a:pt x="5242" y="3783"/>
                  <a:pt x="5241" y="3808"/>
                </a:cubicBezTo>
                <a:cubicBezTo>
                  <a:pt x="5250" y="3814"/>
                  <a:pt x="5258" y="3820"/>
                  <a:pt x="5266" y="3826"/>
                </a:cubicBezTo>
                <a:cubicBezTo>
                  <a:pt x="5292" y="3826"/>
                  <a:pt x="5319" y="3826"/>
                  <a:pt x="5345" y="3826"/>
                </a:cubicBezTo>
                <a:cubicBezTo>
                  <a:pt x="5374" y="3836"/>
                  <a:pt x="5404" y="3846"/>
                  <a:pt x="5433" y="3857"/>
                </a:cubicBezTo>
                <a:cubicBezTo>
                  <a:pt x="5441" y="3853"/>
                  <a:pt x="5448" y="3849"/>
                  <a:pt x="5456" y="3846"/>
                </a:cubicBezTo>
                <a:cubicBezTo>
                  <a:pt x="5471" y="3842"/>
                  <a:pt x="5492" y="3865"/>
                  <a:pt x="5501" y="3877"/>
                </a:cubicBezTo>
                <a:cubicBezTo>
                  <a:pt x="5510" y="3870"/>
                  <a:pt x="5520" y="3862"/>
                  <a:pt x="5530" y="3854"/>
                </a:cubicBezTo>
                <a:cubicBezTo>
                  <a:pt x="5552" y="3844"/>
                  <a:pt x="5578" y="3893"/>
                  <a:pt x="5592" y="3907"/>
                </a:cubicBezTo>
                <a:cubicBezTo>
                  <a:pt x="5597" y="3870"/>
                  <a:pt x="5576" y="3862"/>
                  <a:pt x="5575" y="3823"/>
                </a:cubicBezTo>
                <a:cubicBezTo>
                  <a:pt x="5575" y="3822"/>
                  <a:pt x="5575" y="3822"/>
                  <a:pt x="5575" y="3821"/>
                </a:cubicBezTo>
                <a:cubicBezTo>
                  <a:pt x="5606" y="3784"/>
                  <a:pt x="5653" y="3886"/>
                  <a:pt x="5699" y="3874"/>
                </a:cubicBezTo>
                <a:cubicBezTo>
                  <a:pt x="5711" y="3871"/>
                  <a:pt x="5718" y="3859"/>
                  <a:pt x="5727" y="3851"/>
                </a:cubicBezTo>
                <a:cubicBezTo>
                  <a:pt x="5729" y="3842"/>
                  <a:pt x="5729" y="3830"/>
                  <a:pt x="5727" y="3817"/>
                </a:cubicBezTo>
                <a:cubicBezTo>
                  <a:pt x="5709" y="3745"/>
                  <a:pt x="5625" y="3750"/>
                  <a:pt x="5609" y="3692"/>
                </a:cubicBezTo>
                <a:cubicBezTo>
                  <a:pt x="5608" y="3691"/>
                  <a:pt x="5607" y="3688"/>
                  <a:pt x="5606" y="3686"/>
                </a:cubicBezTo>
                <a:cubicBezTo>
                  <a:pt x="5609" y="3684"/>
                  <a:pt x="5611" y="3682"/>
                  <a:pt x="5614" y="3679"/>
                </a:cubicBezTo>
                <a:cubicBezTo>
                  <a:pt x="5627" y="3665"/>
                  <a:pt x="5666" y="3717"/>
                  <a:pt x="5682" y="3724"/>
                </a:cubicBezTo>
                <a:cubicBezTo>
                  <a:pt x="5690" y="3718"/>
                  <a:pt x="5698" y="3713"/>
                  <a:pt x="5706" y="3708"/>
                </a:cubicBezTo>
                <a:cubicBezTo>
                  <a:pt x="5715" y="3724"/>
                  <a:pt x="5724" y="3738"/>
                  <a:pt x="5733" y="3754"/>
                </a:cubicBezTo>
                <a:cubicBezTo>
                  <a:pt x="5762" y="3791"/>
                  <a:pt x="5793" y="3783"/>
                  <a:pt x="5797" y="3870"/>
                </a:cubicBezTo>
                <a:cubicBezTo>
                  <a:pt x="5803" y="3877"/>
                  <a:pt x="5810" y="3882"/>
                  <a:pt x="5815" y="3889"/>
                </a:cubicBezTo>
                <a:cubicBezTo>
                  <a:pt x="5825" y="3890"/>
                  <a:pt x="5835" y="3891"/>
                  <a:pt x="5845" y="3892"/>
                </a:cubicBezTo>
                <a:cubicBezTo>
                  <a:pt x="5873" y="3929"/>
                  <a:pt x="5901" y="3968"/>
                  <a:pt x="5929" y="4006"/>
                </a:cubicBezTo>
                <a:cubicBezTo>
                  <a:pt x="5928" y="4015"/>
                  <a:pt x="5928" y="4025"/>
                  <a:pt x="5928" y="4035"/>
                </a:cubicBezTo>
                <a:cubicBezTo>
                  <a:pt x="5905" y="4039"/>
                  <a:pt x="5882" y="4042"/>
                  <a:pt x="5860" y="4047"/>
                </a:cubicBezTo>
                <a:cubicBezTo>
                  <a:pt x="5862" y="4069"/>
                  <a:pt x="5864" y="4091"/>
                  <a:pt x="5867" y="4113"/>
                </a:cubicBezTo>
                <a:cubicBezTo>
                  <a:pt x="5867" y="4113"/>
                  <a:pt x="5868" y="4113"/>
                  <a:pt x="5868" y="4113"/>
                </a:cubicBezTo>
                <a:cubicBezTo>
                  <a:pt x="5885" y="4102"/>
                  <a:pt x="5911" y="4096"/>
                  <a:pt x="5928" y="4085"/>
                </a:cubicBezTo>
                <a:cubicBezTo>
                  <a:pt x="5937" y="4085"/>
                  <a:pt x="5946" y="4085"/>
                  <a:pt x="5955" y="4085"/>
                </a:cubicBezTo>
                <a:cubicBezTo>
                  <a:pt x="5964" y="4073"/>
                  <a:pt x="5973" y="4061"/>
                  <a:pt x="5982" y="4049"/>
                </a:cubicBezTo>
                <a:cubicBezTo>
                  <a:pt x="5985" y="4058"/>
                  <a:pt x="6003" y="4129"/>
                  <a:pt x="6005" y="4132"/>
                </a:cubicBezTo>
                <a:cubicBezTo>
                  <a:pt x="6026" y="4173"/>
                  <a:pt x="6050" y="4178"/>
                  <a:pt x="6081" y="4204"/>
                </a:cubicBezTo>
                <a:cubicBezTo>
                  <a:pt x="6099" y="4218"/>
                  <a:pt x="6133" y="4357"/>
                  <a:pt x="6137" y="4409"/>
                </a:cubicBezTo>
                <a:cubicBezTo>
                  <a:pt x="6125" y="4434"/>
                  <a:pt x="6113" y="4456"/>
                  <a:pt x="6102" y="4480"/>
                </a:cubicBezTo>
                <a:cubicBezTo>
                  <a:pt x="6097" y="4499"/>
                  <a:pt x="6093" y="4519"/>
                  <a:pt x="6088" y="4538"/>
                </a:cubicBezTo>
                <a:cubicBezTo>
                  <a:pt x="6074" y="4560"/>
                  <a:pt x="6016" y="4602"/>
                  <a:pt x="6009" y="4624"/>
                </a:cubicBezTo>
                <a:cubicBezTo>
                  <a:pt x="6008" y="4634"/>
                  <a:pt x="6057" y="4736"/>
                  <a:pt x="6065" y="4748"/>
                </a:cubicBezTo>
                <a:cubicBezTo>
                  <a:pt x="6064" y="4754"/>
                  <a:pt x="6063" y="4760"/>
                  <a:pt x="6062" y="4766"/>
                </a:cubicBezTo>
                <a:cubicBezTo>
                  <a:pt x="6062" y="4768"/>
                  <a:pt x="6062" y="4769"/>
                  <a:pt x="6062" y="4771"/>
                </a:cubicBezTo>
                <a:cubicBezTo>
                  <a:pt x="6048" y="4769"/>
                  <a:pt x="6036" y="4768"/>
                  <a:pt x="6022" y="4766"/>
                </a:cubicBezTo>
                <a:cubicBezTo>
                  <a:pt x="5997" y="4774"/>
                  <a:pt x="5976" y="4799"/>
                  <a:pt x="5943" y="4800"/>
                </a:cubicBezTo>
                <a:cubicBezTo>
                  <a:pt x="5940" y="4823"/>
                  <a:pt x="5943" y="4837"/>
                  <a:pt x="5943" y="4867"/>
                </a:cubicBezTo>
                <a:cubicBezTo>
                  <a:pt x="5943" y="4867"/>
                  <a:pt x="5942" y="4867"/>
                  <a:pt x="5941" y="4867"/>
                </a:cubicBezTo>
                <a:cubicBezTo>
                  <a:pt x="5933" y="4850"/>
                  <a:pt x="5925" y="4831"/>
                  <a:pt x="5917" y="4814"/>
                </a:cubicBezTo>
                <a:cubicBezTo>
                  <a:pt x="5909" y="4802"/>
                  <a:pt x="5830" y="4770"/>
                  <a:pt x="5818" y="4778"/>
                </a:cubicBezTo>
                <a:cubicBezTo>
                  <a:pt x="5814" y="4786"/>
                  <a:pt x="5816" y="4827"/>
                  <a:pt x="5814" y="4841"/>
                </a:cubicBezTo>
                <a:cubicBezTo>
                  <a:pt x="5779" y="4849"/>
                  <a:pt x="5766" y="4879"/>
                  <a:pt x="5768" y="4949"/>
                </a:cubicBezTo>
                <a:cubicBezTo>
                  <a:pt x="5809" y="4974"/>
                  <a:pt x="5849" y="4997"/>
                  <a:pt x="5904" y="4992"/>
                </a:cubicBezTo>
                <a:cubicBezTo>
                  <a:pt x="5913" y="4974"/>
                  <a:pt x="5924" y="4956"/>
                  <a:pt x="5933" y="4938"/>
                </a:cubicBezTo>
                <a:cubicBezTo>
                  <a:pt x="5953" y="4948"/>
                  <a:pt x="5973" y="4959"/>
                  <a:pt x="5992" y="4969"/>
                </a:cubicBezTo>
                <a:cubicBezTo>
                  <a:pt x="5998" y="4967"/>
                  <a:pt x="5997" y="4970"/>
                  <a:pt x="6000" y="4964"/>
                </a:cubicBezTo>
                <a:cubicBezTo>
                  <a:pt x="6004" y="4953"/>
                  <a:pt x="5999" y="4920"/>
                  <a:pt x="5996" y="4904"/>
                </a:cubicBezTo>
                <a:cubicBezTo>
                  <a:pt x="5996" y="4901"/>
                  <a:pt x="5996" y="4898"/>
                  <a:pt x="5996" y="4895"/>
                </a:cubicBezTo>
                <a:cubicBezTo>
                  <a:pt x="6030" y="4904"/>
                  <a:pt x="6042" y="4934"/>
                  <a:pt x="6083" y="4933"/>
                </a:cubicBezTo>
                <a:cubicBezTo>
                  <a:pt x="6082" y="5002"/>
                  <a:pt x="6107" y="5048"/>
                  <a:pt x="6132" y="5069"/>
                </a:cubicBezTo>
                <a:cubicBezTo>
                  <a:pt x="6143" y="5073"/>
                  <a:pt x="6154" y="5076"/>
                  <a:pt x="6165" y="5080"/>
                </a:cubicBezTo>
                <a:cubicBezTo>
                  <a:pt x="6178" y="5093"/>
                  <a:pt x="6190" y="5107"/>
                  <a:pt x="6203" y="5120"/>
                </a:cubicBezTo>
                <a:cubicBezTo>
                  <a:pt x="6197" y="5145"/>
                  <a:pt x="6187" y="5154"/>
                  <a:pt x="6177" y="5171"/>
                </a:cubicBezTo>
                <a:cubicBezTo>
                  <a:pt x="6189" y="5224"/>
                  <a:pt x="6218" y="5216"/>
                  <a:pt x="6239" y="5249"/>
                </a:cubicBezTo>
                <a:cubicBezTo>
                  <a:pt x="6241" y="5250"/>
                  <a:pt x="6253" y="5247"/>
                  <a:pt x="6261" y="5254"/>
                </a:cubicBezTo>
                <a:cubicBezTo>
                  <a:pt x="6267" y="5261"/>
                  <a:pt x="6274" y="5269"/>
                  <a:pt x="6280" y="5275"/>
                </a:cubicBezTo>
                <a:cubicBezTo>
                  <a:pt x="6290" y="5278"/>
                  <a:pt x="6301" y="5280"/>
                  <a:pt x="6312" y="5283"/>
                </a:cubicBezTo>
                <a:cubicBezTo>
                  <a:pt x="6321" y="5301"/>
                  <a:pt x="6329" y="5320"/>
                  <a:pt x="6338" y="5339"/>
                </a:cubicBezTo>
                <a:cubicBezTo>
                  <a:pt x="6358" y="5362"/>
                  <a:pt x="6382" y="5352"/>
                  <a:pt x="6410" y="5365"/>
                </a:cubicBezTo>
                <a:cubicBezTo>
                  <a:pt x="6454" y="5395"/>
                  <a:pt x="6499" y="5423"/>
                  <a:pt x="6543" y="5452"/>
                </a:cubicBezTo>
                <a:cubicBezTo>
                  <a:pt x="6529" y="5364"/>
                  <a:pt x="6497" y="5300"/>
                  <a:pt x="6460" y="5254"/>
                </a:cubicBezTo>
                <a:cubicBezTo>
                  <a:pt x="6426" y="5212"/>
                  <a:pt x="6363" y="5182"/>
                  <a:pt x="6357" y="5093"/>
                </a:cubicBezTo>
                <a:cubicBezTo>
                  <a:pt x="6398" y="5093"/>
                  <a:pt x="6405" y="5127"/>
                  <a:pt x="6432" y="5144"/>
                </a:cubicBezTo>
                <a:cubicBezTo>
                  <a:pt x="6430" y="5125"/>
                  <a:pt x="6428" y="5104"/>
                  <a:pt x="6427" y="5084"/>
                </a:cubicBezTo>
                <a:cubicBezTo>
                  <a:pt x="6468" y="5143"/>
                  <a:pt x="6487" y="5236"/>
                  <a:pt x="6559" y="5226"/>
                </a:cubicBezTo>
                <a:cubicBezTo>
                  <a:pt x="6574" y="5270"/>
                  <a:pt x="6590" y="5305"/>
                  <a:pt x="6618" y="5326"/>
                </a:cubicBezTo>
                <a:cubicBezTo>
                  <a:pt x="6610" y="5294"/>
                  <a:pt x="6602" y="5262"/>
                  <a:pt x="6593" y="5231"/>
                </a:cubicBezTo>
                <a:cubicBezTo>
                  <a:pt x="6602" y="5234"/>
                  <a:pt x="6610" y="5239"/>
                  <a:pt x="6619" y="5242"/>
                </a:cubicBezTo>
                <a:cubicBezTo>
                  <a:pt x="6620" y="5242"/>
                  <a:pt x="6620" y="5242"/>
                  <a:pt x="6620" y="5242"/>
                </a:cubicBezTo>
                <a:cubicBezTo>
                  <a:pt x="6619" y="5167"/>
                  <a:pt x="6582" y="5140"/>
                  <a:pt x="6587" y="5066"/>
                </a:cubicBezTo>
                <a:cubicBezTo>
                  <a:pt x="6606" y="5089"/>
                  <a:pt x="6625" y="5135"/>
                  <a:pt x="6634" y="5174"/>
                </a:cubicBezTo>
                <a:cubicBezTo>
                  <a:pt x="6636" y="5177"/>
                  <a:pt x="6638" y="5179"/>
                  <a:pt x="6640" y="5182"/>
                </a:cubicBezTo>
                <a:cubicBezTo>
                  <a:pt x="6648" y="5046"/>
                  <a:pt x="6601" y="5065"/>
                  <a:pt x="6576" y="4990"/>
                </a:cubicBezTo>
                <a:cubicBezTo>
                  <a:pt x="6578" y="4984"/>
                  <a:pt x="6580" y="4979"/>
                  <a:pt x="6581" y="4974"/>
                </a:cubicBezTo>
                <a:cubicBezTo>
                  <a:pt x="6587" y="4971"/>
                  <a:pt x="6591" y="4968"/>
                  <a:pt x="6597" y="4965"/>
                </a:cubicBezTo>
                <a:cubicBezTo>
                  <a:pt x="6598" y="4965"/>
                  <a:pt x="6599" y="4965"/>
                  <a:pt x="6600" y="4965"/>
                </a:cubicBezTo>
                <a:cubicBezTo>
                  <a:pt x="6586" y="4954"/>
                  <a:pt x="6573" y="4942"/>
                  <a:pt x="6559" y="4931"/>
                </a:cubicBezTo>
                <a:cubicBezTo>
                  <a:pt x="6544" y="4914"/>
                  <a:pt x="6536" y="4877"/>
                  <a:pt x="6518" y="4868"/>
                </a:cubicBezTo>
                <a:cubicBezTo>
                  <a:pt x="6514" y="4874"/>
                  <a:pt x="6510" y="4880"/>
                  <a:pt x="6506" y="4886"/>
                </a:cubicBezTo>
                <a:cubicBezTo>
                  <a:pt x="6504" y="4890"/>
                  <a:pt x="6502" y="4894"/>
                  <a:pt x="6500" y="4897"/>
                </a:cubicBezTo>
                <a:cubicBezTo>
                  <a:pt x="6484" y="4848"/>
                  <a:pt x="6468" y="4794"/>
                  <a:pt x="6454" y="4740"/>
                </a:cubicBezTo>
                <a:cubicBezTo>
                  <a:pt x="6442" y="4736"/>
                  <a:pt x="6431" y="4732"/>
                  <a:pt x="6420" y="4729"/>
                </a:cubicBezTo>
                <a:cubicBezTo>
                  <a:pt x="6410" y="4685"/>
                  <a:pt x="6394" y="4654"/>
                  <a:pt x="6388" y="4604"/>
                </a:cubicBezTo>
                <a:cubicBezTo>
                  <a:pt x="6405" y="4619"/>
                  <a:pt x="6426" y="4643"/>
                  <a:pt x="6434" y="4676"/>
                </a:cubicBezTo>
                <a:cubicBezTo>
                  <a:pt x="6442" y="4674"/>
                  <a:pt x="6451" y="4673"/>
                  <a:pt x="6460" y="4671"/>
                </a:cubicBezTo>
                <a:cubicBezTo>
                  <a:pt x="6461" y="4668"/>
                  <a:pt x="6462" y="4664"/>
                  <a:pt x="6464" y="4660"/>
                </a:cubicBezTo>
                <a:cubicBezTo>
                  <a:pt x="6452" y="4635"/>
                  <a:pt x="6440" y="4611"/>
                  <a:pt x="6428" y="4586"/>
                </a:cubicBezTo>
                <a:cubicBezTo>
                  <a:pt x="6429" y="4557"/>
                  <a:pt x="6450" y="4556"/>
                  <a:pt x="6458" y="4538"/>
                </a:cubicBezTo>
                <a:cubicBezTo>
                  <a:pt x="6508" y="4550"/>
                  <a:pt x="6518" y="4617"/>
                  <a:pt x="6554" y="4648"/>
                </a:cubicBezTo>
                <a:cubicBezTo>
                  <a:pt x="6570" y="4662"/>
                  <a:pt x="6588" y="4654"/>
                  <a:pt x="6600" y="4669"/>
                </a:cubicBezTo>
                <a:cubicBezTo>
                  <a:pt x="6597" y="4683"/>
                  <a:pt x="6594" y="4698"/>
                  <a:pt x="6591" y="4712"/>
                </a:cubicBezTo>
                <a:cubicBezTo>
                  <a:pt x="6592" y="4746"/>
                  <a:pt x="6604" y="4756"/>
                  <a:pt x="6611" y="4778"/>
                </a:cubicBezTo>
                <a:cubicBezTo>
                  <a:pt x="6621" y="4771"/>
                  <a:pt x="6629" y="4763"/>
                  <a:pt x="6639" y="4755"/>
                </a:cubicBezTo>
                <a:cubicBezTo>
                  <a:pt x="6646" y="4771"/>
                  <a:pt x="6643" y="4787"/>
                  <a:pt x="6650" y="4807"/>
                </a:cubicBezTo>
                <a:cubicBezTo>
                  <a:pt x="6654" y="4822"/>
                  <a:pt x="6694" y="4855"/>
                  <a:pt x="6704" y="4848"/>
                </a:cubicBezTo>
                <a:cubicBezTo>
                  <a:pt x="6705" y="4848"/>
                  <a:pt x="6706" y="4848"/>
                  <a:pt x="6707" y="4848"/>
                </a:cubicBezTo>
                <a:cubicBezTo>
                  <a:pt x="6703" y="4822"/>
                  <a:pt x="6700" y="4797"/>
                  <a:pt x="6697" y="4771"/>
                </a:cubicBezTo>
                <a:cubicBezTo>
                  <a:pt x="6699" y="4740"/>
                  <a:pt x="6702" y="4709"/>
                  <a:pt x="6704" y="4678"/>
                </a:cubicBezTo>
                <a:cubicBezTo>
                  <a:pt x="6705" y="4678"/>
                  <a:pt x="6706" y="4677"/>
                  <a:pt x="6707" y="4676"/>
                </a:cubicBezTo>
                <a:cubicBezTo>
                  <a:pt x="6715" y="4696"/>
                  <a:pt x="6726" y="4726"/>
                  <a:pt x="6741" y="4732"/>
                </a:cubicBezTo>
                <a:cubicBezTo>
                  <a:pt x="6749" y="4696"/>
                  <a:pt x="6766" y="4678"/>
                  <a:pt x="6790" y="4671"/>
                </a:cubicBezTo>
                <a:cubicBezTo>
                  <a:pt x="6788" y="4636"/>
                  <a:pt x="6768" y="4609"/>
                  <a:pt x="6753" y="4597"/>
                </a:cubicBezTo>
                <a:cubicBezTo>
                  <a:pt x="6753" y="4595"/>
                  <a:pt x="6753" y="4592"/>
                  <a:pt x="6753" y="4591"/>
                </a:cubicBezTo>
                <a:cubicBezTo>
                  <a:pt x="6785" y="4552"/>
                  <a:pt x="6792" y="4616"/>
                  <a:pt x="6823" y="4591"/>
                </a:cubicBezTo>
                <a:cubicBezTo>
                  <a:pt x="6829" y="4583"/>
                  <a:pt x="6836" y="4552"/>
                  <a:pt x="6843" y="4540"/>
                </a:cubicBezTo>
                <a:cubicBezTo>
                  <a:pt x="6843" y="4538"/>
                  <a:pt x="6844" y="4536"/>
                  <a:pt x="6844" y="4533"/>
                </a:cubicBezTo>
                <a:cubicBezTo>
                  <a:pt x="6825" y="4508"/>
                  <a:pt x="6807" y="4482"/>
                  <a:pt x="6788" y="4457"/>
                </a:cubicBezTo>
                <a:cubicBezTo>
                  <a:pt x="6767" y="4491"/>
                  <a:pt x="6751" y="4489"/>
                  <a:pt x="6722" y="4478"/>
                </a:cubicBezTo>
                <a:cubicBezTo>
                  <a:pt x="6724" y="4461"/>
                  <a:pt x="6728" y="4445"/>
                  <a:pt x="6731" y="4427"/>
                </a:cubicBezTo>
                <a:cubicBezTo>
                  <a:pt x="6698" y="4422"/>
                  <a:pt x="6667" y="4437"/>
                  <a:pt x="6628" y="4437"/>
                </a:cubicBezTo>
                <a:cubicBezTo>
                  <a:pt x="6628" y="4424"/>
                  <a:pt x="6628" y="4411"/>
                  <a:pt x="6628" y="4399"/>
                </a:cubicBezTo>
                <a:cubicBezTo>
                  <a:pt x="6641" y="4393"/>
                  <a:pt x="6654" y="4386"/>
                  <a:pt x="6668" y="4381"/>
                </a:cubicBezTo>
                <a:cubicBezTo>
                  <a:pt x="6669" y="4381"/>
                  <a:pt x="6669" y="4381"/>
                  <a:pt x="6670" y="4381"/>
                </a:cubicBezTo>
                <a:cubicBezTo>
                  <a:pt x="6659" y="4341"/>
                  <a:pt x="6634" y="4287"/>
                  <a:pt x="6612" y="4270"/>
                </a:cubicBezTo>
                <a:cubicBezTo>
                  <a:pt x="6590" y="4254"/>
                  <a:pt x="6583" y="4293"/>
                  <a:pt x="6563" y="4286"/>
                </a:cubicBezTo>
                <a:cubicBezTo>
                  <a:pt x="6530" y="4274"/>
                  <a:pt x="6528" y="4240"/>
                  <a:pt x="6492" y="4275"/>
                </a:cubicBezTo>
                <a:cubicBezTo>
                  <a:pt x="6484" y="4256"/>
                  <a:pt x="6482" y="4209"/>
                  <a:pt x="6472" y="4196"/>
                </a:cubicBezTo>
                <a:cubicBezTo>
                  <a:pt x="6440" y="4153"/>
                  <a:pt x="6382" y="4155"/>
                  <a:pt x="6363" y="4087"/>
                </a:cubicBezTo>
                <a:cubicBezTo>
                  <a:pt x="6378" y="4084"/>
                  <a:pt x="6392" y="4081"/>
                  <a:pt x="6407" y="4078"/>
                </a:cubicBezTo>
                <a:cubicBezTo>
                  <a:pt x="6409" y="4072"/>
                  <a:pt x="6410" y="4066"/>
                  <a:pt x="6411" y="4060"/>
                </a:cubicBezTo>
                <a:cubicBezTo>
                  <a:pt x="6400" y="4043"/>
                  <a:pt x="6389" y="4025"/>
                  <a:pt x="6378" y="4008"/>
                </a:cubicBezTo>
                <a:cubicBezTo>
                  <a:pt x="6378" y="4007"/>
                  <a:pt x="6378" y="4007"/>
                  <a:pt x="6378" y="4006"/>
                </a:cubicBezTo>
                <a:cubicBezTo>
                  <a:pt x="6381" y="4000"/>
                  <a:pt x="6384" y="3994"/>
                  <a:pt x="6386" y="3988"/>
                </a:cubicBezTo>
                <a:cubicBezTo>
                  <a:pt x="6406" y="3977"/>
                  <a:pt x="6425" y="4010"/>
                  <a:pt x="6439" y="4015"/>
                </a:cubicBezTo>
                <a:cubicBezTo>
                  <a:pt x="6457" y="4023"/>
                  <a:pt x="6477" y="4020"/>
                  <a:pt x="6496" y="4019"/>
                </a:cubicBezTo>
                <a:cubicBezTo>
                  <a:pt x="6496" y="4017"/>
                  <a:pt x="6497" y="4015"/>
                  <a:pt x="6497" y="4013"/>
                </a:cubicBezTo>
                <a:cubicBezTo>
                  <a:pt x="6489" y="3994"/>
                  <a:pt x="6485" y="3978"/>
                  <a:pt x="6472" y="3967"/>
                </a:cubicBezTo>
                <a:cubicBezTo>
                  <a:pt x="6452" y="3951"/>
                  <a:pt x="6407" y="3959"/>
                  <a:pt x="6397" y="3921"/>
                </a:cubicBezTo>
                <a:cubicBezTo>
                  <a:pt x="6398" y="3915"/>
                  <a:pt x="6398" y="3908"/>
                  <a:pt x="6399" y="3902"/>
                </a:cubicBezTo>
                <a:cubicBezTo>
                  <a:pt x="6418" y="3892"/>
                  <a:pt x="6447" y="3888"/>
                  <a:pt x="6471" y="3889"/>
                </a:cubicBezTo>
                <a:cubicBezTo>
                  <a:pt x="6465" y="3844"/>
                  <a:pt x="6437" y="3792"/>
                  <a:pt x="6410" y="3784"/>
                </a:cubicBezTo>
                <a:cubicBezTo>
                  <a:pt x="6401" y="3792"/>
                  <a:pt x="6396" y="3814"/>
                  <a:pt x="6389" y="3821"/>
                </a:cubicBezTo>
                <a:cubicBezTo>
                  <a:pt x="6378" y="3823"/>
                  <a:pt x="6367" y="3825"/>
                  <a:pt x="6356" y="3828"/>
                </a:cubicBezTo>
                <a:cubicBezTo>
                  <a:pt x="6342" y="3835"/>
                  <a:pt x="6334" y="3852"/>
                  <a:pt x="6317" y="3854"/>
                </a:cubicBezTo>
                <a:cubicBezTo>
                  <a:pt x="6313" y="3847"/>
                  <a:pt x="6308" y="3840"/>
                  <a:pt x="6304" y="3832"/>
                </a:cubicBezTo>
                <a:cubicBezTo>
                  <a:pt x="6306" y="3825"/>
                  <a:pt x="6308" y="3817"/>
                  <a:pt x="6310" y="3810"/>
                </a:cubicBezTo>
                <a:cubicBezTo>
                  <a:pt x="6327" y="3769"/>
                  <a:pt x="6369" y="3783"/>
                  <a:pt x="6381" y="3728"/>
                </a:cubicBezTo>
                <a:cubicBezTo>
                  <a:pt x="6346" y="3642"/>
                  <a:pt x="6310" y="3704"/>
                  <a:pt x="6266" y="3715"/>
                </a:cubicBezTo>
                <a:cubicBezTo>
                  <a:pt x="6258" y="3704"/>
                  <a:pt x="6251" y="3693"/>
                  <a:pt x="6243" y="3681"/>
                </a:cubicBezTo>
                <a:cubicBezTo>
                  <a:pt x="6242" y="3660"/>
                  <a:pt x="6242" y="3639"/>
                  <a:pt x="6241" y="3618"/>
                </a:cubicBezTo>
                <a:cubicBezTo>
                  <a:pt x="6211" y="3622"/>
                  <a:pt x="6196" y="3643"/>
                  <a:pt x="6165" y="3648"/>
                </a:cubicBezTo>
                <a:cubicBezTo>
                  <a:pt x="6178" y="3618"/>
                  <a:pt x="6191" y="3588"/>
                  <a:pt x="6205" y="3558"/>
                </a:cubicBezTo>
                <a:cubicBezTo>
                  <a:pt x="6205" y="3557"/>
                  <a:pt x="6205" y="3557"/>
                  <a:pt x="6205" y="3555"/>
                </a:cubicBezTo>
                <a:cubicBezTo>
                  <a:pt x="6181" y="3527"/>
                  <a:pt x="6155" y="3513"/>
                  <a:pt x="6123" y="3494"/>
                </a:cubicBezTo>
                <a:cubicBezTo>
                  <a:pt x="6110" y="3526"/>
                  <a:pt x="6087" y="3553"/>
                  <a:pt x="6079" y="3591"/>
                </a:cubicBezTo>
                <a:cubicBezTo>
                  <a:pt x="6077" y="3593"/>
                  <a:pt x="6076" y="3595"/>
                  <a:pt x="6075" y="3596"/>
                </a:cubicBezTo>
                <a:cubicBezTo>
                  <a:pt x="6063" y="3558"/>
                  <a:pt x="6050" y="3520"/>
                  <a:pt x="6037" y="3487"/>
                </a:cubicBezTo>
                <a:cubicBezTo>
                  <a:pt x="6012" y="3485"/>
                  <a:pt x="5991" y="3510"/>
                  <a:pt x="5979" y="3540"/>
                </a:cubicBezTo>
                <a:cubicBezTo>
                  <a:pt x="5974" y="3538"/>
                  <a:pt x="5970" y="3538"/>
                  <a:pt x="5965" y="3536"/>
                </a:cubicBezTo>
                <a:cubicBezTo>
                  <a:pt x="5961" y="3528"/>
                  <a:pt x="5956" y="3518"/>
                  <a:pt x="5952" y="3510"/>
                </a:cubicBezTo>
                <a:cubicBezTo>
                  <a:pt x="5960" y="3478"/>
                  <a:pt x="5990" y="3436"/>
                  <a:pt x="6011" y="3428"/>
                </a:cubicBezTo>
                <a:cubicBezTo>
                  <a:pt x="6011" y="3422"/>
                  <a:pt x="6011" y="3415"/>
                  <a:pt x="6011" y="3409"/>
                </a:cubicBezTo>
                <a:cubicBezTo>
                  <a:pt x="6000" y="3384"/>
                  <a:pt x="5985" y="3375"/>
                  <a:pt x="5972" y="3356"/>
                </a:cubicBezTo>
                <a:cubicBezTo>
                  <a:pt x="5961" y="3341"/>
                  <a:pt x="5956" y="3309"/>
                  <a:pt x="5946" y="3295"/>
                </a:cubicBezTo>
                <a:cubicBezTo>
                  <a:pt x="5929" y="3273"/>
                  <a:pt x="5911" y="3294"/>
                  <a:pt x="5891" y="3289"/>
                </a:cubicBezTo>
                <a:cubicBezTo>
                  <a:pt x="5830" y="3273"/>
                  <a:pt x="5760" y="3198"/>
                  <a:pt x="5732" y="3345"/>
                </a:cubicBezTo>
                <a:cubicBezTo>
                  <a:pt x="5734" y="3374"/>
                  <a:pt x="5736" y="3404"/>
                  <a:pt x="5738" y="3433"/>
                </a:cubicBezTo>
                <a:cubicBezTo>
                  <a:pt x="5736" y="3435"/>
                  <a:pt x="5735" y="3439"/>
                  <a:pt x="5733" y="3441"/>
                </a:cubicBezTo>
                <a:cubicBezTo>
                  <a:pt x="5725" y="3436"/>
                  <a:pt x="5717" y="3431"/>
                  <a:pt x="5709" y="3426"/>
                </a:cubicBezTo>
                <a:cubicBezTo>
                  <a:pt x="5707" y="3401"/>
                  <a:pt x="5706" y="3376"/>
                  <a:pt x="5705" y="3352"/>
                </a:cubicBezTo>
                <a:cubicBezTo>
                  <a:pt x="5688" y="3331"/>
                  <a:pt x="5673" y="3332"/>
                  <a:pt x="5649" y="3338"/>
                </a:cubicBezTo>
                <a:cubicBezTo>
                  <a:pt x="5644" y="3402"/>
                  <a:pt x="5614" y="3425"/>
                  <a:pt x="5581" y="3408"/>
                </a:cubicBezTo>
                <a:cubicBezTo>
                  <a:pt x="5581" y="3381"/>
                  <a:pt x="5581" y="3354"/>
                  <a:pt x="5581" y="3327"/>
                </a:cubicBezTo>
                <a:cubicBezTo>
                  <a:pt x="5585" y="3300"/>
                  <a:pt x="5623" y="3218"/>
                  <a:pt x="5618" y="3189"/>
                </a:cubicBezTo>
                <a:cubicBezTo>
                  <a:pt x="5608" y="3166"/>
                  <a:pt x="5597" y="3142"/>
                  <a:pt x="5587" y="3119"/>
                </a:cubicBezTo>
                <a:cubicBezTo>
                  <a:pt x="5575" y="3091"/>
                  <a:pt x="5562" y="3062"/>
                  <a:pt x="5550" y="3034"/>
                </a:cubicBezTo>
                <a:cubicBezTo>
                  <a:pt x="5497" y="2969"/>
                  <a:pt x="5379" y="3071"/>
                  <a:pt x="5342" y="3104"/>
                </a:cubicBezTo>
                <a:cubicBezTo>
                  <a:pt x="5341" y="3107"/>
                  <a:pt x="5340" y="3111"/>
                  <a:pt x="5338" y="3115"/>
                </a:cubicBezTo>
                <a:cubicBezTo>
                  <a:pt x="5357" y="3134"/>
                  <a:pt x="5376" y="3152"/>
                  <a:pt x="5396" y="3172"/>
                </a:cubicBezTo>
                <a:cubicBezTo>
                  <a:pt x="5396" y="3174"/>
                  <a:pt x="5396" y="3177"/>
                  <a:pt x="5397" y="3178"/>
                </a:cubicBezTo>
                <a:cubicBezTo>
                  <a:pt x="5371" y="3179"/>
                  <a:pt x="5344" y="3184"/>
                  <a:pt x="5322" y="3172"/>
                </a:cubicBezTo>
                <a:cubicBezTo>
                  <a:pt x="5315" y="3181"/>
                  <a:pt x="5308" y="3190"/>
                  <a:pt x="5301" y="3199"/>
                </a:cubicBezTo>
                <a:cubicBezTo>
                  <a:pt x="5295" y="3218"/>
                  <a:pt x="5295" y="3254"/>
                  <a:pt x="5296" y="3281"/>
                </a:cubicBezTo>
                <a:cubicBezTo>
                  <a:pt x="5304" y="3292"/>
                  <a:pt x="5312" y="3301"/>
                  <a:pt x="5320" y="3312"/>
                </a:cubicBezTo>
                <a:cubicBezTo>
                  <a:pt x="5327" y="3312"/>
                  <a:pt x="5334" y="3313"/>
                  <a:pt x="5341" y="3314"/>
                </a:cubicBezTo>
                <a:cubicBezTo>
                  <a:pt x="5351" y="3327"/>
                  <a:pt x="5361" y="3339"/>
                  <a:pt x="5370" y="3352"/>
                </a:cubicBezTo>
                <a:cubicBezTo>
                  <a:pt x="5371" y="3355"/>
                  <a:pt x="5372" y="3358"/>
                  <a:pt x="5373" y="3361"/>
                </a:cubicBezTo>
                <a:cubicBezTo>
                  <a:pt x="5354" y="3363"/>
                  <a:pt x="5339" y="3366"/>
                  <a:pt x="5322" y="3356"/>
                </a:cubicBezTo>
                <a:cubicBezTo>
                  <a:pt x="5310" y="3368"/>
                  <a:pt x="5296" y="3388"/>
                  <a:pt x="5291" y="3412"/>
                </a:cubicBezTo>
                <a:cubicBezTo>
                  <a:pt x="5299" y="3431"/>
                  <a:pt x="5308" y="3450"/>
                  <a:pt x="5316" y="3469"/>
                </a:cubicBezTo>
                <a:cubicBezTo>
                  <a:pt x="5330" y="3490"/>
                  <a:pt x="5350" y="3483"/>
                  <a:pt x="5358" y="3517"/>
                </a:cubicBezTo>
                <a:cubicBezTo>
                  <a:pt x="5368" y="3561"/>
                  <a:pt x="5350" y="3589"/>
                  <a:pt x="5344" y="3620"/>
                </a:cubicBezTo>
                <a:cubicBezTo>
                  <a:pt x="5321" y="3616"/>
                  <a:pt x="5298" y="3611"/>
                  <a:pt x="5274" y="3607"/>
                </a:cubicBezTo>
                <a:cubicBezTo>
                  <a:pt x="5274" y="3597"/>
                  <a:pt x="5274" y="3587"/>
                  <a:pt x="5274" y="3577"/>
                </a:cubicBezTo>
                <a:cubicBezTo>
                  <a:pt x="5286" y="3568"/>
                  <a:pt x="5298" y="3558"/>
                  <a:pt x="5309" y="3548"/>
                </a:cubicBezTo>
                <a:cubicBezTo>
                  <a:pt x="5310" y="3544"/>
                  <a:pt x="5311" y="3540"/>
                  <a:pt x="5312" y="3536"/>
                </a:cubicBezTo>
                <a:cubicBezTo>
                  <a:pt x="5285" y="3476"/>
                  <a:pt x="5210" y="3431"/>
                  <a:pt x="5251" y="3318"/>
                </a:cubicBezTo>
                <a:cubicBezTo>
                  <a:pt x="5239" y="3300"/>
                  <a:pt x="5227" y="3283"/>
                  <a:pt x="5215" y="3266"/>
                </a:cubicBezTo>
                <a:cubicBezTo>
                  <a:pt x="5213" y="3251"/>
                  <a:pt x="5212" y="3236"/>
                  <a:pt x="5211" y="3221"/>
                </a:cubicBezTo>
                <a:cubicBezTo>
                  <a:pt x="5215" y="3181"/>
                  <a:pt x="5287" y="3045"/>
                  <a:pt x="5306" y="3029"/>
                </a:cubicBezTo>
                <a:cubicBezTo>
                  <a:pt x="5308" y="3025"/>
                  <a:pt x="5310" y="3021"/>
                  <a:pt x="5312" y="3017"/>
                </a:cubicBezTo>
                <a:cubicBezTo>
                  <a:pt x="5297" y="3006"/>
                  <a:pt x="5282" y="2999"/>
                  <a:pt x="5266" y="2997"/>
                </a:cubicBezTo>
                <a:close/>
                <a:moveTo>
                  <a:pt x="7297" y="3295"/>
                </a:moveTo>
                <a:cubicBezTo>
                  <a:pt x="7284" y="3320"/>
                  <a:pt x="7259" y="3328"/>
                  <a:pt x="7281" y="3364"/>
                </a:cubicBezTo>
                <a:cubicBezTo>
                  <a:pt x="7283" y="3365"/>
                  <a:pt x="7285" y="3365"/>
                  <a:pt x="7287" y="3366"/>
                </a:cubicBezTo>
                <a:cubicBezTo>
                  <a:pt x="7294" y="3355"/>
                  <a:pt x="7309" y="3315"/>
                  <a:pt x="7297" y="3295"/>
                </a:cubicBezTo>
                <a:close/>
                <a:moveTo>
                  <a:pt x="13552" y="3308"/>
                </a:moveTo>
                <a:cubicBezTo>
                  <a:pt x="13558" y="3308"/>
                  <a:pt x="13564" y="3309"/>
                  <a:pt x="13570" y="3308"/>
                </a:cubicBezTo>
                <a:cubicBezTo>
                  <a:pt x="13569" y="3316"/>
                  <a:pt x="13569" y="3325"/>
                  <a:pt x="13568" y="3333"/>
                </a:cubicBezTo>
                <a:cubicBezTo>
                  <a:pt x="13562" y="3333"/>
                  <a:pt x="13555" y="3331"/>
                  <a:pt x="13549" y="3330"/>
                </a:cubicBezTo>
                <a:cubicBezTo>
                  <a:pt x="13549" y="3321"/>
                  <a:pt x="13550" y="3315"/>
                  <a:pt x="13552" y="3308"/>
                </a:cubicBezTo>
                <a:close/>
                <a:moveTo>
                  <a:pt x="7338" y="3423"/>
                </a:moveTo>
                <a:cubicBezTo>
                  <a:pt x="7351" y="3432"/>
                  <a:pt x="7343" y="3457"/>
                  <a:pt x="7333" y="3465"/>
                </a:cubicBezTo>
                <a:cubicBezTo>
                  <a:pt x="7327" y="3471"/>
                  <a:pt x="7318" y="3468"/>
                  <a:pt x="7311" y="3470"/>
                </a:cubicBezTo>
                <a:cubicBezTo>
                  <a:pt x="7297" y="3474"/>
                  <a:pt x="7288" y="3488"/>
                  <a:pt x="7271" y="3490"/>
                </a:cubicBezTo>
                <a:cubicBezTo>
                  <a:pt x="7270" y="3491"/>
                  <a:pt x="7269" y="3490"/>
                  <a:pt x="7268" y="3490"/>
                </a:cubicBezTo>
                <a:cubicBezTo>
                  <a:pt x="7283" y="3478"/>
                  <a:pt x="7297" y="3461"/>
                  <a:pt x="7304" y="3444"/>
                </a:cubicBezTo>
                <a:cubicBezTo>
                  <a:pt x="7304" y="3445"/>
                  <a:pt x="7303" y="3447"/>
                  <a:pt x="7303" y="3448"/>
                </a:cubicBezTo>
                <a:cubicBezTo>
                  <a:pt x="7319" y="3442"/>
                  <a:pt x="7322" y="3429"/>
                  <a:pt x="7338" y="3423"/>
                </a:cubicBezTo>
                <a:close/>
                <a:moveTo>
                  <a:pt x="4680" y="3596"/>
                </a:moveTo>
                <a:cubicBezTo>
                  <a:pt x="4665" y="3593"/>
                  <a:pt x="4649" y="3595"/>
                  <a:pt x="4635" y="3603"/>
                </a:cubicBezTo>
                <a:cubicBezTo>
                  <a:pt x="4624" y="3610"/>
                  <a:pt x="4624" y="3635"/>
                  <a:pt x="4611" y="3642"/>
                </a:cubicBezTo>
                <a:cubicBezTo>
                  <a:pt x="4614" y="3671"/>
                  <a:pt x="4624" y="3689"/>
                  <a:pt x="4635" y="3703"/>
                </a:cubicBezTo>
                <a:cubicBezTo>
                  <a:pt x="4634" y="3716"/>
                  <a:pt x="4634" y="3729"/>
                  <a:pt x="4633" y="3742"/>
                </a:cubicBezTo>
                <a:cubicBezTo>
                  <a:pt x="4613" y="3737"/>
                  <a:pt x="4606" y="3716"/>
                  <a:pt x="4585" y="3719"/>
                </a:cubicBezTo>
                <a:cubicBezTo>
                  <a:pt x="4571" y="3752"/>
                  <a:pt x="4558" y="3778"/>
                  <a:pt x="4550" y="3826"/>
                </a:cubicBezTo>
                <a:cubicBezTo>
                  <a:pt x="4566" y="3843"/>
                  <a:pt x="4586" y="3862"/>
                  <a:pt x="4596" y="3888"/>
                </a:cubicBezTo>
                <a:cubicBezTo>
                  <a:pt x="4589" y="3907"/>
                  <a:pt x="4576" y="3932"/>
                  <a:pt x="4564" y="3942"/>
                </a:cubicBezTo>
                <a:cubicBezTo>
                  <a:pt x="4563" y="4023"/>
                  <a:pt x="4635" y="4070"/>
                  <a:pt x="4672" y="4080"/>
                </a:cubicBezTo>
                <a:cubicBezTo>
                  <a:pt x="4680" y="4078"/>
                  <a:pt x="4688" y="4076"/>
                  <a:pt x="4696" y="4073"/>
                </a:cubicBezTo>
                <a:cubicBezTo>
                  <a:pt x="4723" y="4085"/>
                  <a:pt x="4738" y="4137"/>
                  <a:pt x="4785" y="4109"/>
                </a:cubicBezTo>
                <a:cubicBezTo>
                  <a:pt x="4785" y="4109"/>
                  <a:pt x="4786" y="4109"/>
                  <a:pt x="4786" y="4109"/>
                </a:cubicBezTo>
                <a:cubicBezTo>
                  <a:pt x="4786" y="4147"/>
                  <a:pt x="4786" y="4185"/>
                  <a:pt x="4786" y="4223"/>
                </a:cubicBezTo>
                <a:cubicBezTo>
                  <a:pt x="4772" y="4210"/>
                  <a:pt x="4760" y="4190"/>
                  <a:pt x="4751" y="4168"/>
                </a:cubicBezTo>
                <a:cubicBezTo>
                  <a:pt x="4728" y="4169"/>
                  <a:pt x="4723" y="4189"/>
                  <a:pt x="4700" y="4193"/>
                </a:cubicBezTo>
                <a:cubicBezTo>
                  <a:pt x="4695" y="4209"/>
                  <a:pt x="4690" y="4225"/>
                  <a:pt x="4686" y="4240"/>
                </a:cubicBezTo>
                <a:cubicBezTo>
                  <a:pt x="4686" y="4241"/>
                  <a:pt x="4686" y="4241"/>
                  <a:pt x="4686" y="4242"/>
                </a:cubicBezTo>
                <a:cubicBezTo>
                  <a:pt x="4709" y="4244"/>
                  <a:pt x="4720" y="4246"/>
                  <a:pt x="4736" y="4230"/>
                </a:cubicBezTo>
                <a:cubicBezTo>
                  <a:pt x="4754" y="4232"/>
                  <a:pt x="4757" y="4274"/>
                  <a:pt x="4761" y="4299"/>
                </a:cubicBezTo>
                <a:cubicBezTo>
                  <a:pt x="4747" y="4332"/>
                  <a:pt x="4731" y="4309"/>
                  <a:pt x="4716" y="4330"/>
                </a:cubicBezTo>
                <a:cubicBezTo>
                  <a:pt x="4705" y="4354"/>
                  <a:pt x="4694" y="4378"/>
                  <a:pt x="4684" y="4402"/>
                </a:cubicBezTo>
                <a:cubicBezTo>
                  <a:pt x="4677" y="4413"/>
                  <a:pt x="4651" y="4408"/>
                  <a:pt x="4639" y="4407"/>
                </a:cubicBezTo>
                <a:cubicBezTo>
                  <a:pt x="4611" y="4457"/>
                  <a:pt x="4640" y="4537"/>
                  <a:pt x="4640" y="4612"/>
                </a:cubicBezTo>
                <a:cubicBezTo>
                  <a:pt x="4616" y="4595"/>
                  <a:pt x="4567" y="4577"/>
                  <a:pt x="4572" y="4504"/>
                </a:cubicBezTo>
                <a:cubicBezTo>
                  <a:pt x="4575" y="4471"/>
                  <a:pt x="4584" y="4441"/>
                  <a:pt x="4582" y="4405"/>
                </a:cubicBezTo>
                <a:cubicBezTo>
                  <a:pt x="4569" y="4391"/>
                  <a:pt x="4557" y="4394"/>
                  <a:pt x="4539" y="4382"/>
                </a:cubicBezTo>
                <a:cubicBezTo>
                  <a:pt x="4508" y="4360"/>
                  <a:pt x="4488" y="4336"/>
                  <a:pt x="4443" y="4348"/>
                </a:cubicBezTo>
                <a:cubicBezTo>
                  <a:pt x="4442" y="4361"/>
                  <a:pt x="4441" y="4374"/>
                  <a:pt x="4441" y="4387"/>
                </a:cubicBezTo>
                <a:cubicBezTo>
                  <a:pt x="4471" y="4401"/>
                  <a:pt x="4499" y="4391"/>
                  <a:pt x="4517" y="4425"/>
                </a:cubicBezTo>
                <a:cubicBezTo>
                  <a:pt x="4528" y="4445"/>
                  <a:pt x="4518" y="4485"/>
                  <a:pt x="4514" y="4502"/>
                </a:cubicBezTo>
                <a:cubicBezTo>
                  <a:pt x="4480" y="4503"/>
                  <a:pt x="4466" y="4463"/>
                  <a:pt x="4445" y="4433"/>
                </a:cubicBezTo>
                <a:cubicBezTo>
                  <a:pt x="4404" y="4465"/>
                  <a:pt x="4345" y="4458"/>
                  <a:pt x="4285" y="4461"/>
                </a:cubicBezTo>
                <a:cubicBezTo>
                  <a:pt x="4270" y="4462"/>
                  <a:pt x="4263" y="4474"/>
                  <a:pt x="4252" y="4479"/>
                </a:cubicBezTo>
                <a:cubicBezTo>
                  <a:pt x="4199" y="4502"/>
                  <a:pt x="4131" y="4443"/>
                  <a:pt x="4112" y="4396"/>
                </a:cubicBezTo>
                <a:cubicBezTo>
                  <a:pt x="4040" y="4414"/>
                  <a:pt x="4020" y="4345"/>
                  <a:pt x="3963" y="4351"/>
                </a:cubicBezTo>
                <a:cubicBezTo>
                  <a:pt x="3956" y="4366"/>
                  <a:pt x="3949" y="4371"/>
                  <a:pt x="3946" y="4395"/>
                </a:cubicBezTo>
                <a:cubicBezTo>
                  <a:pt x="3924" y="4417"/>
                  <a:pt x="3883" y="4425"/>
                  <a:pt x="3853" y="4427"/>
                </a:cubicBezTo>
                <a:cubicBezTo>
                  <a:pt x="3831" y="4559"/>
                  <a:pt x="3879" y="4558"/>
                  <a:pt x="3886" y="4630"/>
                </a:cubicBezTo>
                <a:cubicBezTo>
                  <a:pt x="3876" y="4635"/>
                  <a:pt x="3866" y="4639"/>
                  <a:pt x="3856" y="4644"/>
                </a:cubicBezTo>
                <a:cubicBezTo>
                  <a:pt x="3857" y="4664"/>
                  <a:pt x="3857" y="4684"/>
                  <a:pt x="3858" y="4705"/>
                </a:cubicBezTo>
                <a:cubicBezTo>
                  <a:pt x="3840" y="4675"/>
                  <a:pt x="3822" y="4645"/>
                  <a:pt x="3803" y="4615"/>
                </a:cubicBezTo>
                <a:cubicBezTo>
                  <a:pt x="3800" y="4599"/>
                  <a:pt x="3810" y="4584"/>
                  <a:pt x="3823" y="4582"/>
                </a:cubicBezTo>
                <a:cubicBezTo>
                  <a:pt x="3824" y="4573"/>
                  <a:pt x="3824" y="4563"/>
                  <a:pt x="3825" y="4554"/>
                </a:cubicBezTo>
                <a:cubicBezTo>
                  <a:pt x="3803" y="4507"/>
                  <a:pt x="3771" y="4510"/>
                  <a:pt x="3736" y="4485"/>
                </a:cubicBezTo>
                <a:cubicBezTo>
                  <a:pt x="3716" y="4471"/>
                  <a:pt x="3701" y="4430"/>
                  <a:pt x="3669" y="4436"/>
                </a:cubicBezTo>
                <a:cubicBezTo>
                  <a:pt x="3633" y="4443"/>
                  <a:pt x="3595" y="4469"/>
                  <a:pt x="3555" y="4481"/>
                </a:cubicBezTo>
                <a:cubicBezTo>
                  <a:pt x="3479" y="4504"/>
                  <a:pt x="3409" y="4456"/>
                  <a:pt x="3350" y="4441"/>
                </a:cubicBezTo>
                <a:cubicBezTo>
                  <a:pt x="3353" y="4420"/>
                  <a:pt x="3355" y="4400"/>
                  <a:pt x="3358" y="4379"/>
                </a:cubicBezTo>
                <a:cubicBezTo>
                  <a:pt x="3383" y="4361"/>
                  <a:pt x="3415" y="4366"/>
                  <a:pt x="3442" y="4354"/>
                </a:cubicBezTo>
                <a:cubicBezTo>
                  <a:pt x="3438" y="4301"/>
                  <a:pt x="3371" y="4219"/>
                  <a:pt x="3333" y="4230"/>
                </a:cubicBezTo>
                <a:cubicBezTo>
                  <a:pt x="3222" y="4264"/>
                  <a:pt x="3077" y="4141"/>
                  <a:pt x="2995" y="4080"/>
                </a:cubicBezTo>
                <a:cubicBezTo>
                  <a:pt x="2972" y="4064"/>
                  <a:pt x="2904" y="4004"/>
                  <a:pt x="2874" y="4037"/>
                </a:cubicBezTo>
                <a:cubicBezTo>
                  <a:pt x="2857" y="4057"/>
                  <a:pt x="2818" y="4190"/>
                  <a:pt x="2773" y="4117"/>
                </a:cubicBezTo>
                <a:cubicBezTo>
                  <a:pt x="2784" y="4083"/>
                  <a:pt x="2776" y="4056"/>
                  <a:pt x="2769" y="4025"/>
                </a:cubicBezTo>
                <a:cubicBezTo>
                  <a:pt x="2760" y="4018"/>
                  <a:pt x="2738" y="4035"/>
                  <a:pt x="2726" y="4044"/>
                </a:cubicBezTo>
                <a:cubicBezTo>
                  <a:pt x="2714" y="4066"/>
                  <a:pt x="2732" y="4110"/>
                  <a:pt x="2734" y="4133"/>
                </a:cubicBezTo>
                <a:cubicBezTo>
                  <a:pt x="2715" y="4167"/>
                  <a:pt x="2680" y="4121"/>
                  <a:pt x="2664" y="4099"/>
                </a:cubicBezTo>
                <a:cubicBezTo>
                  <a:pt x="2612" y="4033"/>
                  <a:pt x="2611" y="3878"/>
                  <a:pt x="2532" y="3863"/>
                </a:cubicBezTo>
                <a:cubicBezTo>
                  <a:pt x="2544" y="3902"/>
                  <a:pt x="2564" y="3919"/>
                  <a:pt x="2574" y="3965"/>
                </a:cubicBezTo>
                <a:cubicBezTo>
                  <a:pt x="2558" y="4004"/>
                  <a:pt x="2531" y="4005"/>
                  <a:pt x="2510" y="4032"/>
                </a:cubicBezTo>
                <a:cubicBezTo>
                  <a:pt x="2503" y="4044"/>
                  <a:pt x="2496" y="4056"/>
                  <a:pt x="2489" y="4068"/>
                </a:cubicBezTo>
                <a:cubicBezTo>
                  <a:pt x="2470" y="4073"/>
                  <a:pt x="2451" y="4079"/>
                  <a:pt x="2432" y="4084"/>
                </a:cubicBezTo>
                <a:cubicBezTo>
                  <a:pt x="2392" y="4115"/>
                  <a:pt x="2390" y="4161"/>
                  <a:pt x="2324" y="4158"/>
                </a:cubicBezTo>
                <a:cubicBezTo>
                  <a:pt x="2302" y="4190"/>
                  <a:pt x="2290" y="4230"/>
                  <a:pt x="2257" y="4242"/>
                </a:cubicBezTo>
                <a:cubicBezTo>
                  <a:pt x="2253" y="4271"/>
                  <a:pt x="2252" y="4292"/>
                  <a:pt x="2257" y="4322"/>
                </a:cubicBezTo>
                <a:cubicBezTo>
                  <a:pt x="2234" y="4300"/>
                  <a:pt x="2223" y="4254"/>
                  <a:pt x="2195" y="4238"/>
                </a:cubicBezTo>
                <a:cubicBezTo>
                  <a:pt x="2195" y="4236"/>
                  <a:pt x="2194" y="4233"/>
                  <a:pt x="2194" y="4232"/>
                </a:cubicBezTo>
                <a:cubicBezTo>
                  <a:pt x="2220" y="4156"/>
                  <a:pt x="2232" y="4202"/>
                  <a:pt x="2265" y="4163"/>
                </a:cubicBezTo>
                <a:cubicBezTo>
                  <a:pt x="2271" y="4147"/>
                  <a:pt x="2277" y="4130"/>
                  <a:pt x="2283" y="4114"/>
                </a:cubicBezTo>
                <a:cubicBezTo>
                  <a:pt x="2307" y="4100"/>
                  <a:pt x="2332" y="4087"/>
                  <a:pt x="2356" y="4073"/>
                </a:cubicBezTo>
                <a:cubicBezTo>
                  <a:pt x="2366" y="4061"/>
                  <a:pt x="2375" y="4049"/>
                  <a:pt x="2385" y="4037"/>
                </a:cubicBezTo>
                <a:cubicBezTo>
                  <a:pt x="2416" y="4016"/>
                  <a:pt x="2424" y="4024"/>
                  <a:pt x="2439" y="3976"/>
                </a:cubicBezTo>
                <a:cubicBezTo>
                  <a:pt x="2417" y="3968"/>
                  <a:pt x="2380" y="3950"/>
                  <a:pt x="2359" y="3976"/>
                </a:cubicBezTo>
                <a:cubicBezTo>
                  <a:pt x="2351" y="3989"/>
                  <a:pt x="2344" y="4003"/>
                  <a:pt x="2337" y="4017"/>
                </a:cubicBezTo>
                <a:cubicBezTo>
                  <a:pt x="2315" y="4023"/>
                  <a:pt x="2294" y="4029"/>
                  <a:pt x="2273" y="4035"/>
                </a:cubicBezTo>
                <a:cubicBezTo>
                  <a:pt x="2267" y="4043"/>
                  <a:pt x="2259" y="4050"/>
                  <a:pt x="2253" y="4057"/>
                </a:cubicBezTo>
                <a:cubicBezTo>
                  <a:pt x="2248" y="4057"/>
                  <a:pt x="2243" y="4057"/>
                  <a:pt x="2238" y="4057"/>
                </a:cubicBezTo>
                <a:cubicBezTo>
                  <a:pt x="2225" y="4068"/>
                  <a:pt x="2214" y="4103"/>
                  <a:pt x="2200" y="4111"/>
                </a:cubicBezTo>
                <a:cubicBezTo>
                  <a:pt x="2172" y="4128"/>
                  <a:pt x="2147" y="4085"/>
                  <a:pt x="2123" y="4099"/>
                </a:cubicBezTo>
                <a:cubicBezTo>
                  <a:pt x="2117" y="4103"/>
                  <a:pt x="2110" y="4115"/>
                  <a:pt x="2099" y="4111"/>
                </a:cubicBezTo>
                <a:cubicBezTo>
                  <a:pt x="2093" y="4109"/>
                  <a:pt x="2087" y="4107"/>
                  <a:pt x="2081" y="4104"/>
                </a:cubicBezTo>
                <a:cubicBezTo>
                  <a:pt x="2070" y="4117"/>
                  <a:pt x="2058" y="4130"/>
                  <a:pt x="2047" y="4143"/>
                </a:cubicBezTo>
                <a:cubicBezTo>
                  <a:pt x="2044" y="4156"/>
                  <a:pt x="2045" y="4170"/>
                  <a:pt x="2046" y="4190"/>
                </a:cubicBezTo>
                <a:cubicBezTo>
                  <a:pt x="2065" y="4202"/>
                  <a:pt x="2072" y="4238"/>
                  <a:pt x="2080" y="4271"/>
                </a:cubicBezTo>
                <a:cubicBezTo>
                  <a:pt x="2080" y="4272"/>
                  <a:pt x="2080" y="4272"/>
                  <a:pt x="2080" y="4272"/>
                </a:cubicBezTo>
                <a:cubicBezTo>
                  <a:pt x="2062" y="4275"/>
                  <a:pt x="2048" y="4246"/>
                  <a:pt x="2030" y="4238"/>
                </a:cubicBezTo>
                <a:cubicBezTo>
                  <a:pt x="2000" y="4230"/>
                  <a:pt x="1971" y="4223"/>
                  <a:pt x="1941" y="4215"/>
                </a:cubicBezTo>
                <a:cubicBezTo>
                  <a:pt x="1909" y="4198"/>
                  <a:pt x="1884" y="4160"/>
                  <a:pt x="1856" y="4138"/>
                </a:cubicBezTo>
                <a:cubicBezTo>
                  <a:pt x="1831" y="4118"/>
                  <a:pt x="1802" y="4089"/>
                  <a:pt x="1773" y="4085"/>
                </a:cubicBezTo>
                <a:cubicBezTo>
                  <a:pt x="1757" y="4083"/>
                  <a:pt x="1738" y="4101"/>
                  <a:pt x="1718" y="4091"/>
                </a:cubicBezTo>
                <a:cubicBezTo>
                  <a:pt x="1669" y="4066"/>
                  <a:pt x="1636" y="3987"/>
                  <a:pt x="1584" y="3965"/>
                </a:cubicBezTo>
                <a:cubicBezTo>
                  <a:pt x="1541" y="3971"/>
                  <a:pt x="1498" y="3977"/>
                  <a:pt x="1455" y="3983"/>
                </a:cubicBezTo>
                <a:cubicBezTo>
                  <a:pt x="1439" y="3975"/>
                  <a:pt x="1418" y="3956"/>
                  <a:pt x="1398" y="3949"/>
                </a:cubicBezTo>
                <a:cubicBezTo>
                  <a:pt x="1365" y="3945"/>
                  <a:pt x="1332" y="3942"/>
                  <a:pt x="1298" y="3937"/>
                </a:cubicBezTo>
                <a:cubicBezTo>
                  <a:pt x="1268" y="3924"/>
                  <a:pt x="1239" y="3901"/>
                  <a:pt x="1206" y="3890"/>
                </a:cubicBezTo>
                <a:cubicBezTo>
                  <a:pt x="1181" y="3895"/>
                  <a:pt x="1156" y="3900"/>
                  <a:pt x="1130" y="3904"/>
                </a:cubicBezTo>
                <a:cubicBezTo>
                  <a:pt x="1101" y="3912"/>
                  <a:pt x="1071" y="3894"/>
                  <a:pt x="1049" y="3893"/>
                </a:cubicBezTo>
                <a:cubicBezTo>
                  <a:pt x="1043" y="3895"/>
                  <a:pt x="1037" y="3899"/>
                  <a:pt x="1032" y="3901"/>
                </a:cubicBezTo>
                <a:cubicBezTo>
                  <a:pt x="1002" y="3894"/>
                  <a:pt x="994" y="3826"/>
                  <a:pt x="968" y="3809"/>
                </a:cubicBezTo>
                <a:cubicBezTo>
                  <a:pt x="937" y="3804"/>
                  <a:pt x="904" y="3800"/>
                  <a:pt x="872" y="3796"/>
                </a:cubicBezTo>
                <a:cubicBezTo>
                  <a:pt x="859" y="3790"/>
                  <a:pt x="845" y="3784"/>
                  <a:pt x="831" y="3778"/>
                </a:cubicBezTo>
                <a:cubicBezTo>
                  <a:pt x="824" y="3794"/>
                  <a:pt x="816" y="3810"/>
                  <a:pt x="809" y="3826"/>
                </a:cubicBezTo>
                <a:cubicBezTo>
                  <a:pt x="796" y="3820"/>
                  <a:pt x="782" y="3815"/>
                  <a:pt x="769" y="3809"/>
                </a:cubicBezTo>
                <a:cubicBezTo>
                  <a:pt x="768" y="3809"/>
                  <a:pt x="767" y="3809"/>
                  <a:pt x="766" y="3809"/>
                </a:cubicBezTo>
                <a:cubicBezTo>
                  <a:pt x="765" y="3779"/>
                  <a:pt x="768" y="3775"/>
                  <a:pt x="775" y="3762"/>
                </a:cubicBezTo>
                <a:cubicBezTo>
                  <a:pt x="768" y="3732"/>
                  <a:pt x="745" y="3702"/>
                  <a:pt x="718" y="3719"/>
                </a:cubicBezTo>
                <a:cubicBezTo>
                  <a:pt x="699" y="3745"/>
                  <a:pt x="680" y="3772"/>
                  <a:pt x="661" y="3799"/>
                </a:cubicBezTo>
                <a:cubicBezTo>
                  <a:pt x="626" y="3828"/>
                  <a:pt x="550" y="3822"/>
                  <a:pt x="504" y="3822"/>
                </a:cubicBezTo>
                <a:cubicBezTo>
                  <a:pt x="504" y="3830"/>
                  <a:pt x="504" y="3837"/>
                  <a:pt x="504" y="3845"/>
                </a:cubicBezTo>
                <a:cubicBezTo>
                  <a:pt x="512" y="3864"/>
                  <a:pt x="522" y="3873"/>
                  <a:pt x="528" y="3898"/>
                </a:cubicBezTo>
                <a:cubicBezTo>
                  <a:pt x="527" y="3903"/>
                  <a:pt x="527" y="3909"/>
                  <a:pt x="526" y="3914"/>
                </a:cubicBezTo>
                <a:cubicBezTo>
                  <a:pt x="504" y="3913"/>
                  <a:pt x="482" y="3910"/>
                  <a:pt x="460" y="3908"/>
                </a:cubicBezTo>
                <a:cubicBezTo>
                  <a:pt x="433" y="3916"/>
                  <a:pt x="379" y="3943"/>
                  <a:pt x="360" y="3967"/>
                </a:cubicBezTo>
                <a:cubicBezTo>
                  <a:pt x="335" y="4000"/>
                  <a:pt x="311" y="4062"/>
                  <a:pt x="296" y="4109"/>
                </a:cubicBezTo>
                <a:cubicBezTo>
                  <a:pt x="291" y="4130"/>
                  <a:pt x="287" y="4150"/>
                  <a:pt x="282" y="4170"/>
                </a:cubicBezTo>
                <a:cubicBezTo>
                  <a:pt x="256" y="4233"/>
                  <a:pt x="176" y="4239"/>
                  <a:pt x="119" y="4240"/>
                </a:cubicBezTo>
                <a:cubicBezTo>
                  <a:pt x="116" y="4287"/>
                  <a:pt x="105" y="4314"/>
                  <a:pt x="86" y="4330"/>
                </a:cubicBezTo>
                <a:cubicBezTo>
                  <a:pt x="85" y="4333"/>
                  <a:pt x="85" y="4336"/>
                  <a:pt x="84" y="4339"/>
                </a:cubicBezTo>
                <a:cubicBezTo>
                  <a:pt x="135" y="4377"/>
                  <a:pt x="277" y="4464"/>
                  <a:pt x="279" y="4576"/>
                </a:cubicBezTo>
                <a:cubicBezTo>
                  <a:pt x="318" y="4586"/>
                  <a:pt x="357" y="4596"/>
                  <a:pt x="396" y="4605"/>
                </a:cubicBezTo>
                <a:cubicBezTo>
                  <a:pt x="399" y="4626"/>
                  <a:pt x="402" y="4647"/>
                  <a:pt x="405" y="4669"/>
                </a:cubicBezTo>
                <a:cubicBezTo>
                  <a:pt x="407" y="4673"/>
                  <a:pt x="508" y="4706"/>
                  <a:pt x="516" y="4707"/>
                </a:cubicBezTo>
                <a:cubicBezTo>
                  <a:pt x="516" y="4724"/>
                  <a:pt x="515" y="4734"/>
                  <a:pt x="512" y="4743"/>
                </a:cubicBezTo>
                <a:cubicBezTo>
                  <a:pt x="499" y="4776"/>
                  <a:pt x="455" y="4743"/>
                  <a:pt x="436" y="4741"/>
                </a:cubicBezTo>
                <a:cubicBezTo>
                  <a:pt x="392" y="4831"/>
                  <a:pt x="344" y="4801"/>
                  <a:pt x="277" y="4785"/>
                </a:cubicBezTo>
                <a:cubicBezTo>
                  <a:pt x="273" y="4764"/>
                  <a:pt x="276" y="4732"/>
                  <a:pt x="279" y="4713"/>
                </a:cubicBezTo>
                <a:cubicBezTo>
                  <a:pt x="219" y="4681"/>
                  <a:pt x="176" y="4751"/>
                  <a:pt x="132" y="4785"/>
                </a:cubicBezTo>
                <a:cubicBezTo>
                  <a:pt x="94" y="4815"/>
                  <a:pt x="44" y="4842"/>
                  <a:pt x="5" y="4867"/>
                </a:cubicBezTo>
                <a:cubicBezTo>
                  <a:pt x="3" y="4871"/>
                  <a:pt x="1" y="4876"/>
                  <a:pt x="0" y="4880"/>
                </a:cubicBezTo>
                <a:cubicBezTo>
                  <a:pt x="52" y="4909"/>
                  <a:pt x="105" y="4937"/>
                  <a:pt x="158" y="4965"/>
                </a:cubicBezTo>
                <a:cubicBezTo>
                  <a:pt x="146" y="4987"/>
                  <a:pt x="123" y="4974"/>
                  <a:pt x="103" y="4982"/>
                </a:cubicBezTo>
                <a:cubicBezTo>
                  <a:pt x="98" y="4985"/>
                  <a:pt x="100" y="4986"/>
                  <a:pt x="97" y="4991"/>
                </a:cubicBezTo>
                <a:cubicBezTo>
                  <a:pt x="98" y="5016"/>
                  <a:pt x="98" y="5039"/>
                  <a:pt x="99" y="5064"/>
                </a:cubicBezTo>
                <a:cubicBezTo>
                  <a:pt x="118" y="5087"/>
                  <a:pt x="160" y="5114"/>
                  <a:pt x="195" y="5101"/>
                </a:cubicBezTo>
                <a:cubicBezTo>
                  <a:pt x="216" y="5094"/>
                  <a:pt x="246" y="5079"/>
                  <a:pt x="274" y="5090"/>
                </a:cubicBezTo>
                <a:cubicBezTo>
                  <a:pt x="291" y="5097"/>
                  <a:pt x="316" y="5126"/>
                  <a:pt x="335" y="5116"/>
                </a:cubicBezTo>
                <a:cubicBezTo>
                  <a:pt x="350" y="5095"/>
                  <a:pt x="366" y="5075"/>
                  <a:pt x="382" y="5054"/>
                </a:cubicBezTo>
                <a:cubicBezTo>
                  <a:pt x="400" y="5042"/>
                  <a:pt x="418" y="5030"/>
                  <a:pt x="437" y="5018"/>
                </a:cubicBezTo>
                <a:cubicBezTo>
                  <a:pt x="454" y="5037"/>
                  <a:pt x="461" y="5045"/>
                  <a:pt x="469" y="5080"/>
                </a:cubicBezTo>
                <a:cubicBezTo>
                  <a:pt x="468" y="5085"/>
                  <a:pt x="465" y="5091"/>
                  <a:pt x="464" y="5096"/>
                </a:cubicBezTo>
                <a:cubicBezTo>
                  <a:pt x="457" y="5104"/>
                  <a:pt x="446" y="5105"/>
                  <a:pt x="433" y="5104"/>
                </a:cubicBezTo>
                <a:cubicBezTo>
                  <a:pt x="433" y="5107"/>
                  <a:pt x="432" y="5110"/>
                  <a:pt x="432" y="5113"/>
                </a:cubicBezTo>
                <a:cubicBezTo>
                  <a:pt x="450" y="5160"/>
                  <a:pt x="464" y="5192"/>
                  <a:pt x="458" y="5267"/>
                </a:cubicBezTo>
                <a:cubicBezTo>
                  <a:pt x="454" y="5272"/>
                  <a:pt x="452" y="5279"/>
                  <a:pt x="449" y="5284"/>
                </a:cubicBezTo>
                <a:cubicBezTo>
                  <a:pt x="419" y="5284"/>
                  <a:pt x="378" y="5286"/>
                  <a:pt x="360" y="5311"/>
                </a:cubicBezTo>
                <a:cubicBezTo>
                  <a:pt x="344" y="5335"/>
                  <a:pt x="337" y="5371"/>
                  <a:pt x="314" y="5381"/>
                </a:cubicBezTo>
                <a:cubicBezTo>
                  <a:pt x="302" y="5386"/>
                  <a:pt x="261" y="5350"/>
                  <a:pt x="246" y="5341"/>
                </a:cubicBezTo>
                <a:cubicBezTo>
                  <a:pt x="225" y="5367"/>
                  <a:pt x="215" y="5415"/>
                  <a:pt x="200" y="5453"/>
                </a:cubicBezTo>
                <a:cubicBezTo>
                  <a:pt x="191" y="5468"/>
                  <a:pt x="182" y="5482"/>
                  <a:pt x="173" y="5496"/>
                </a:cubicBezTo>
                <a:cubicBezTo>
                  <a:pt x="170" y="5514"/>
                  <a:pt x="167" y="5531"/>
                  <a:pt x="164" y="5548"/>
                </a:cubicBezTo>
                <a:cubicBezTo>
                  <a:pt x="160" y="5553"/>
                  <a:pt x="156" y="5557"/>
                  <a:pt x="152" y="5562"/>
                </a:cubicBezTo>
                <a:cubicBezTo>
                  <a:pt x="148" y="5570"/>
                  <a:pt x="148" y="5589"/>
                  <a:pt x="148" y="5605"/>
                </a:cubicBezTo>
                <a:cubicBezTo>
                  <a:pt x="140" y="5609"/>
                  <a:pt x="132" y="5613"/>
                  <a:pt x="124" y="5618"/>
                </a:cubicBezTo>
                <a:cubicBezTo>
                  <a:pt x="130" y="5647"/>
                  <a:pt x="137" y="5675"/>
                  <a:pt x="143" y="5704"/>
                </a:cubicBezTo>
                <a:cubicBezTo>
                  <a:pt x="189" y="5706"/>
                  <a:pt x="201" y="5751"/>
                  <a:pt x="233" y="5764"/>
                </a:cubicBezTo>
                <a:cubicBezTo>
                  <a:pt x="251" y="5771"/>
                  <a:pt x="253" y="5750"/>
                  <a:pt x="271" y="5749"/>
                </a:cubicBezTo>
                <a:cubicBezTo>
                  <a:pt x="282" y="5764"/>
                  <a:pt x="287" y="5782"/>
                  <a:pt x="295" y="5803"/>
                </a:cubicBezTo>
                <a:cubicBezTo>
                  <a:pt x="295" y="5806"/>
                  <a:pt x="295" y="5810"/>
                  <a:pt x="295" y="5814"/>
                </a:cubicBezTo>
                <a:cubicBezTo>
                  <a:pt x="272" y="5843"/>
                  <a:pt x="237" y="5794"/>
                  <a:pt x="210" y="5787"/>
                </a:cubicBezTo>
                <a:cubicBezTo>
                  <a:pt x="207" y="5807"/>
                  <a:pt x="202" y="5824"/>
                  <a:pt x="194" y="5835"/>
                </a:cubicBezTo>
                <a:cubicBezTo>
                  <a:pt x="194" y="5836"/>
                  <a:pt x="194" y="5838"/>
                  <a:pt x="194" y="5839"/>
                </a:cubicBezTo>
                <a:cubicBezTo>
                  <a:pt x="199" y="5853"/>
                  <a:pt x="254" y="5956"/>
                  <a:pt x="260" y="5961"/>
                </a:cubicBezTo>
                <a:cubicBezTo>
                  <a:pt x="273" y="5982"/>
                  <a:pt x="352" y="5918"/>
                  <a:pt x="368" y="5905"/>
                </a:cubicBezTo>
                <a:cubicBezTo>
                  <a:pt x="378" y="5922"/>
                  <a:pt x="399" y="5983"/>
                  <a:pt x="396" y="6018"/>
                </a:cubicBezTo>
                <a:cubicBezTo>
                  <a:pt x="393" y="6051"/>
                  <a:pt x="382" y="6105"/>
                  <a:pt x="394" y="6147"/>
                </a:cubicBezTo>
                <a:cubicBezTo>
                  <a:pt x="401" y="6168"/>
                  <a:pt x="434" y="6162"/>
                  <a:pt x="449" y="6151"/>
                </a:cubicBezTo>
                <a:cubicBezTo>
                  <a:pt x="476" y="6130"/>
                  <a:pt x="473" y="6088"/>
                  <a:pt x="526" y="6115"/>
                </a:cubicBezTo>
                <a:cubicBezTo>
                  <a:pt x="548" y="6126"/>
                  <a:pt x="565" y="6215"/>
                  <a:pt x="590" y="6200"/>
                </a:cubicBezTo>
                <a:cubicBezTo>
                  <a:pt x="600" y="6179"/>
                  <a:pt x="583" y="6155"/>
                  <a:pt x="589" y="6133"/>
                </a:cubicBezTo>
                <a:cubicBezTo>
                  <a:pt x="593" y="6119"/>
                  <a:pt x="603" y="6113"/>
                  <a:pt x="612" y="6108"/>
                </a:cubicBezTo>
                <a:cubicBezTo>
                  <a:pt x="617" y="6123"/>
                  <a:pt x="623" y="6139"/>
                  <a:pt x="629" y="6155"/>
                </a:cubicBezTo>
                <a:cubicBezTo>
                  <a:pt x="658" y="6157"/>
                  <a:pt x="676" y="6138"/>
                  <a:pt x="702" y="6133"/>
                </a:cubicBezTo>
                <a:cubicBezTo>
                  <a:pt x="702" y="6134"/>
                  <a:pt x="702" y="6136"/>
                  <a:pt x="702" y="6137"/>
                </a:cubicBezTo>
                <a:cubicBezTo>
                  <a:pt x="699" y="6156"/>
                  <a:pt x="696" y="6176"/>
                  <a:pt x="694" y="6195"/>
                </a:cubicBezTo>
                <a:cubicBezTo>
                  <a:pt x="687" y="6207"/>
                  <a:pt x="681" y="6218"/>
                  <a:pt x="674" y="6230"/>
                </a:cubicBezTo>
                <a:cubicBezTo>
                  <a:pt x="665" y="6264"/>
                  <a:pt x="676" y="6306"/>
                  <a:pt x="668" y="6347"/>
                </a:cubicBezTo>
                <a:cubicBezTo>
                  <a:pt x="662" y="6373"/>
                  <a:pt x="623" y="6412"/>
                  <a:pt x="609" y="6424"/>
                </a:cubicBezTo>
                <a:cubicBezTo>
                  <a:pt x="604" y="6439"/>
                  <a:pt x="602" y="6467"/>
                  <a:pt x="607" y="6489"/>
                </a:cubicBezTo>
                <a:cubicBezTo>
                  <a:pt x="607" y="6489"/>
                  <a:pt x="607" y="6490"/>
                  <a:pt x="607" y="6491"/>
                </a:cubicBezTo>
                <a:cubicBezTo>
                  <a:pt x="593" y="6489"/>
                  <a:pt x="578" y="6487"/>
                  <a:pt x="565" y="6485"/>
                </a:cubicBezTo>
                <a:cubicBezTo>
                  <a:pt x="541" y="6498"/>
                  <a:pt x="495" y="6575"/>
                  <a:pt x="480" y="6609"/>
                </a:cubicBezTo>
                <a:cubicBezTo>
                  <a:pt x="480" y="6612"/>
                  <a:pt x="480" y="6616"/>
                  <a:pt x="480" y="6619"/>
                </a:cubicBezTo>
                <a:cubicBezTo>
                  <a:pt x="507" y="6670"/>
                  <a:pt x="573" y="6633"/>
                  <a:pt x="598" y="6591"/>
                </a:cubicBezTo>
                <a:cubicBezTo>
                  <a:pt x="603" y="6574"/>
                  <a:pt x="608" y="6556"/>
                  <a:pt x="613" y="6539"/>
                </a:cubicBezTo>
                <a:cubicBezTo>
                  <a:pt x="626" y="6521"/>
                  <a:pt x="650" y="6500"/>
                  <a:pt x="663" y="6489"/>
                </a:cubicBezTo>
                <a:cubicBezTo>
                  <a:pt x="693" y="6464"/>
                  <a:pt x="732" y="6469"/>
                  <a:pt x="747" y="6419"/>
                </a:cubicBezTo>
                <a:cubicBezTo>
                  <a:pt x="742" y="6406"/>
                  <a:pt x="736" y="6393"/>
                  <a:pt x="731" y="6380"/>
                </a:cubicBezTo>
                <a:cubicBezTo>
                  <a:pt x="755" y="6360"/>
                  <a:pt x="779" y="6318"/>
                  <a:pt x="801" y="6295"/>
                </a:cubicBezTo>
                <a:cubicBezTo>
                  <a:pt x="820" y="6285"/>
                  <a:pt x="840" y="6274"/>
                  <a:pt x="860" y="6264"/>
                </a:cubicBezTo>
                <a:cubicBezTo>
                  <a:pt x="871" y="6243"/>
                  <a:pt x="881" y="6222"/>
                  <a:pt x="892" y="6200"/>
                </a:cubicBezTo>
                <a:cubicBezTo>
                  <a:pt x="908" y="6177"/>
                  <a:pt x="929" y="6168"/>
                  <a:pt x="937" y="6128"/>
                </a:cubicBezTo>
                <a:cubicBezTo>
                  <a:pt x="928" y="6109"/>
                  <a:pt x="912" y="6098"/>
                  <a:pt x="892" y="6099"/>
                </a:cubicBezTo>
                <a:cubicBezTo>
                  <a:pt x="889" y="6095"/>
                  <a:pt x="887" y="6092"/>
                  <a:pt x="884" y="6087"/>
                </a:cubicBezTo>
                <a:cubicBezTo>
                  <a:pt x="886" y="5961"/>
                  <a:pt x="998" y="6008"/>
                  <a:pt x="974" y="5884"/>
                </a:cubicBezTo>
                <a:cubicBezTo>
                  <a:pt x="979" y="5872"/>
                  <a:pt x="987" y="5873"/>
                  <a:pt x="994" y="5863"/>
                </a:cubicBezTo>
                <a:cubicBezTo>
                  <a:pt x="1001" y="5847"/>
                  <a:pt x="1009" y="5831"/>
                  <a:pt x="1016" y="5815"/>
                </a:cubicBezTo>
                <a:cubicBezTo>
                  <a:pt x="1028" y="5806"/>
                  <a:pt x="1040" y="5798"/>
                  <a:pt x="1052" y="5789"/>
                </a:cubicBezTo>
                <a:cubicBezTo>
                  <a:pt x="1072" y="5764"/>
                  <a:pt x="1087" y="5727"/>
                  <a:pt x="1108" y="5702"/>
                </a:cubicBezTo>
                <a:cubicBezTo>
                  <a:pt x="1146" y="5674"/>
                  <a:pt x="1171" y="5744"/>
                  <a:pt x="1197" y="5761"/>
                </a:cubicBezTo>
                <a:cubicBezTo>
                  <a:pt x="1198" y="5762"/>
                  <a:pt x="1198" y="5764"/>
                  <a:pt x="1198" y="5765"/>
                </a:cubicBezTo>
                <a:cubicBezTo>
                  <a:pt x="1197" y="5768"/>
                  <a:pt x="1197" y="5771"/>
                  <a:pt x="1196" y="5774"/>
                </a:cubicBezTo>
                <a:cubicBezTo>
                  <a:pt x="1182" y="5784"/>
                  <a:pt x="1149" y="5759"/>
                  <a:pt x="1125" y="5771"/>
                </a:cubicBezTo>
                <a:cubicBezTo>
                  <a:pt x="1087" y="5791"/>
                  <a:pt x="1086" y="5832"/>
                  <a:pt x="1067" y="5884"/>
                </a:cubicBezTo>
                <a:cubicBezTo>
                  <a:pt x="1060" y="5904"/>
                  <a:pt x="1047" y="5913"/>
                  <a:pt x="1043" y="5938"/>
                </a:cubicBezTo>
                <a:cubicBezTo>
                  <a:pt x="1051" y="5963"/>
                  <a:pt x="1061" y="5972"/>
                  <a:pt x="1064" y="6008"/>
                </a:cubicBezTo>
                <a:cubicBezTo>
                  <a:pt x="1054" y="6033"/>
                  <a:pt x="1040" y="6038"/>
                  <a:pt x="1038" y="6080"/>
                </a:cubicBezTo>
                <a:cubicBezTo>
                  <a:pt x="1081" y="6055"/>
                  <a:pt x="1088" y="6037"/>
                  <a:pt x="1121" y="6002"/>
                </a:cubicBezTo>
                <a:cubicBezTo>
                  <a:pt x="1132" y="5996"/>
                  <a:pt x="1143" y="5991"/>
                  <a:pt x="1154" y="5985"/>
                </a:cubicBezTo>
                <a:cubicBezTo>
                  <a:pt x="1169" y="5971"/>
                  <a:pt x="1175" y="5931"/>
                  <a:pt x="1196" y="5925"/>
                </a:cubicBezTo>
                <a:cubicBezTo>
                  <a:pt x="1216" y="5920"/>
                  <a:pt x="1231" y="5945"/>
                  <a:pt x="1254" y="5946"/>
                </a:cubicBezTo>
                <a:cubicBezTo>
                  <a:pt x="1280" y="5837"/>
                  <a:pt x="1264" y="5881"/>
                  <a:pt x="1230" y="5833"/>
                </a:cubicBezTo>
                <a:cubicBezTo>
                  <a:pt x="1235" y="5806"/>
                  <a:pt x="1240" y="5789"/>
                  <a:pt x="1255" y="5780"/>
                </a:cubicBezTo>
                <a:cubicBezTo>
                  <a:pt x="1254" y="5768"/>
                  <a:pt x="1255" y="5755"/>
                  <a:pt x="1254" y="5743"/>
                </a:cubicBezTo>
                <a:cubicBezTo>
                  <a:pt x="1270" y="5738"/>
                  <a:pt x="1276" y="5727"/>
                  <a:pt x="1289" y="5720"/>
                </a:cubicBezTo>
                <a:cubicBezTo>
                  <a:pt x="1318" y="5758"/>
                  <a:pt x="1336" y="5757"/>
                  <a:pt x="1375" y="5781"/>
                </a:cubicBezTo>
                <a:cubicBezTo>
                  <a:pt x="1401" y="5797"/>
                  <a:pt x="1420" y="5834"/>
                  <a:pt x="1441" y="5863"/>
                </a:cubicBezTo>
                <a:cubicBezTo>
                  <a:pt x="1456" y="5859"/>
                  <a:pt x="1465" y="5849"/>
                  <a:pt x="1474" y="5835"/>
                </a:cubicBezTo>
                <a:cubicBezTo>
                  <a:pt x="1486" y="5864"/>
                  <a:pt x="1492" y="5902"/>
                  <a:pt x="1511" y="5916"/>
                </a:cubicBezTo>
                <a:cubicBezTo>
                  <a:pt x="1537" y="5932"/>
                  <a:pt x="1570" y="5910"/>
                  <a:pt x="1599" y="5918"/>
                </a:cubicBezTo>
                <a:cubicBezTo>
                  <a:pt x="1616" y="5923"/>
                  <a:pt x="1637" y="5934"/>
                  <a:pt x="1659" y="5928"/>
                </a:cubicBezTo>
                <a:cubicBezTo>
                  <a:pt x="1677" y="5922"/>
                  <a:pt x="1680" y="5905"/>
                  <a:pt x="1700" y="5912"/>
                </a:cubicBezTo>
                <a:cubicBezTo>
                  <a:pt x="1703" y="5921"/>
                  <a:pt x="1704" y="5938"/>
                  <a:pt x="1706" y="5952"/>
                </a:cubicBezTo>
                <a:cubicBezTo>
                  <a:pt x="1726" y="5962"/>
                  <a:pt x="1751" y="5985"/>
                  <a:pt x="1779" y="5974"/>
                </a:cubicBezTo>
                <a:cubicBezTo>
                  <a:pt x="1793" y="5967"/>
                  <a:pt x="1807" y="5959"/>
                  <a:pt x="1821" y="5952"/>
                </a:cubicBezTo>
                <a:cubicBezTo>
                  <a:pt x="1829" y="5959"/>
                  <a:pt x="1833" y="5967"/>
                  <a:pt x="1837" y="5982"/>
                </a:cubicBezTo>
                <a:cubicBezTo>
                  <a:pt x="1831" y="5999"/>
                  <a:pt x="1820" y="6008"/>
                  <a:pt x="1807" y="6013"/>
                </a:cubicBezTo>
                <a:cubicBezTo>
                  <a:pt x="1821" y="6039"/>
                  <a:pt x="1847" y="6063"/>
                  <a:pt x="1868" y="6074"/>
                </a:cubicBezTo>
                <a:cubicBezTo>
                  <a:pt x="1877" y="6077"/>
                  <a:pt x="1887" y="6080"/>
                  <a:pt x="1896" y="6083"/>
                </a:cubicBezTo>
                <a:cubicBezTo>
                  <a:pt x="1925" y="6114"/>
                  <a:pt x="1939" y="6185"/>
                  <a:pt x="1976" y="6203"/>
                </a:cubicBezTo>
                <a:cubicBezTo>
                  <a:pt x="1992" y="6198"/>
                  <a:pt x="2008" y="6194"/>
                  <a:pt x="2024" y="6189"/>
                </a:cubicBezTo>
                <a:cubicBezTo>
                  <a:pt x="2023" y="6151"/>
                  <a:pt x="2004" y="6145"/>
                  <a:pt x="1994" y="6123"/>
                </a:cubicBezTo>
                <a:cubicBezTo>
                  <a:pt x="1993" y="6123"/>
                  <a:pt x="1992" y="6123"/>
                  <a:pt x="1991" y="6123"/>
                </a:cubicBezTo>
                <a:cubicBezTo>
                  <a:pt x="1991" y="6122"/>
                  <a:pt x="1991" y="6122"/>
                  <a:pt x="1991" y="6121"/>
                </a:cubicBezTo>
                <a:cubicBezTo>
                  <a:pt x="2011" y="6128"/>
                  <a:pt x="2021" y="6139"/>
                  <a:pt x="2037" y="6123"/>
                </a:cubicBezTo>
                <a:cubicBezTo>
                  <a:pt x="2057" y="6160"/>
                  <a:pt x="2056" y="6203"/>
                  <a:pt x="2091" y="6213"/>
                </a:cubicBezTo>
                <a:cubicBezTo>
                  <a:pt x="2091" y="6213"/>
                  <a:pt x="2092" y="6213"/>
                  <a:pt x="2093" y="6213"/>
                </a:cubicBezTo>
                <a:cubicBezTo>
                  <a:pt x="2099" y="6161"/>
                  <a:pt x="2072" y="6120"/>
                  <a:pt x="2081" y="6054"/>
                </a:cubicBezTo>
                <a:cubicBezTo>
                  <a:pt x="2081" y="6051"/>
                  <a:pt x="2081" y="6049"/>
                  <a:pt x="2081" y="6047"/>
                </a:cubicBezTo>
                <a:cubicBezTo>
                  <a:pt x="2085" y="6047"/>
                  <a:pt x="2089" y="6047"/>
                  <a:pt x="2093" y="6047"/>
                </a:cubicBezTo>
                <a:cubicBezTo>
                  <a:pt x="2100" y="6084"/>
                  <a:pt x="2111" y="6166"/>
                  <a:pt x="2127" y="6189"/>
                </a:cubicBezTo>
                <a:cubicBezTo>
                  <a:pt x="2140" y="6205"/>
                  <a:pt x="2153" y="6221"/>
                  <a:pt x="2166" y="6236"/>
                </a:cubicBezTo>
                <a:cubicBezTo>
                  <a:pt x="2182" y="6262"/>
                  <a:pt x="2182" y="6277"/>
                  <a:pt x="2206" y="6295"/>
                </a:cubicBezTo>
                <a:cubicBezTo>
                  <a:pt x="2207" y="6299"/>
                  <a:pt x="2207" y="6302"/>
                  <a:pt x="2208" y="6306"/>
                </a:cubicBezTo>
                <a:cubicBezTo>
                  <a:pt x="2204" y="6313"/>
                  <a:pt x="2201" y="6319"/>
                  <a:pt x="2198" y="6326"/>
                </a:cubicBezTo>
                <a:cubicBezTo>
                  <a:pt x="2205" y="6358"/>
                  <a:pt x="2220" y="6375"/>
                  <a:pt x="2213" y="6409"/>
                </a:cubicBezTo>
                <a:cubicBezTo>
                  <a:pt x="2240" y="6447"/>
                  <a:pt x="2273" y="6484"/>
                  <a:pt x="2288" y="6541"/>
                </a:cubicBezTo>
                <a:cubicBezTo>
                  <a:pt x="2299" y="6557"/>
                  <a:pt x="2286" y="6598"/>
                  <a:pt x="2287" y="6642"/>
                </a:cubicBezTo>
                <a:cubicBezTo>
                  <a:pt x="2311" y="6630"/>
                  <a:pt x="2314" y="6611"/>
                  <a:pt x="2355" y="6612"/>
                </a:cubicBezTo>
                <a:cubicBezTo>
                  <a:pt x="2361" y="6647"/>
                  <a:pt x="2381" y="6661"/>
                  <a:pt x="2385" y="6701"/>
                </a:cubicBezTo>
                <a:cubicBezTo>
                  <a:pt x="2388" y="6727"/>
                  <a:pt x="2381" y="6760"/>
                  <a:pt x="2384" y="6784"/>
                </a:cubicBezTo>
                <a:cubicBezTo>
                  <a:pt x="2387" y="6788"/>
                  <a:pt x="2390" y="6792"/>
                  <a:pt x="2394" y="6796"/>
                </a:cubicBezTo>
                <a:cubicBezTo>
                  <a:pt x="2403" y="6782"/>
                  <a:pt x="2409" y="6769"/>
                  <a:pt x="2425" y="6766"/>
                </a:cubicBezTo>
                <a:cubicBezTo>
                  <a:pt x="2426" y="6758"/>
                  <a:pt x="2427" y="6748"/>
                  <a:pt x="2428" y="6740"/>
                </a:cubicBezTo>
                <a:cubicBezTo>
                  <a:pt x="2429" y="6739"/>
                  <a:pt x="2430" y="6738"/>
                  <a:pt x="2430" y="6737"/>
                </a:cubicBezTo>
                <a:cubicBezTo>
                  <a:pt x="2434" y="6753"/>
                  <a:pt x="2438" y="6769"/>
                  <a:pt x="2441" y="6784"/>
                </a:cubicBezTo>
                <a:cubicBezTo>
                  <a:pt x="2431" y="6805"/>
                  <a:pt x="2422" y="6835"/>
                  <a:pt x="2410" y="6852"/>
                </a:cubicBezTo>
                <a:cubicBezTo>
                  <a:pt x="2411" y="6932"/>
                  <a:pt x="2440" y="6985"/>
                  <a:pt x="2465" y="7019"/>
                </a:cubicBezTo>
                <a:cubicBezTo>
                  <a:pt x="2479" y="7004"/>
                  <a:pt x="2484" y="6986"/>
                  <a:pt x="2504" y="6981"/>
                </a:cubicBezTo>
                <a:cubicBezTo>
                  <a:pt x="2499" y="7055"/>
                  <a:pt x="2514" y="7065"/>
                  <a:pt x="2530" y="7114"/>
                </a:cubicBezTo>
                <a:cubicBezTo>
                  <a:pt x="2537" y="7114"/>
                  <a:pt x="2543" y="7114"/>
                  <a:pt x="2550" y="7114"/>
                </a:cubicBezTo>
                <a:cubicBezTo>
                  <a:pt x="2550" y="7137"/>
                  <a:pt x="2551" y="7159"/>
                  <a:pt x="2552" y="7182"/>
                </a:cubicBezTo>
                <a:cubicBezTo>
                  <a:pt x="2561" y="7200"/>
                  <a:pt x="2573" y="7201"/>
                  <a:pt x="2587" y="7198"/>
                </a:cubicBezTo>
                <a:cubicBezTo>
                  <a:pt x="2586" y="7199"/>
                  <a:pt x="2586" y="7199"/>
                  <a:pt x="2585" y="7200"/>
                </a:cubicBezTo>
                <a:cubicBezTo>
                  <a:pt x="2586" y="7203"/>
                  <a:pt x="2593" y="7215"/>
                  <a:pt x="2596" y="7221"/>
                </a:cubicBezTo>
                <a:cubicBezTo>
                  <a:pt x="2592" y="7225"/>
                  <a:pt x="2591" y="7230"/>
                  <a:pt x="2586" y="7236"/>
                </a:cubicBezTo>
                <a:cubicBezTo>
                  <a:pt x="2576" y="7254"/>
                  <a:pt x="2566" y="7273"/>
                  <a:pt x="2557" y="7292"/>
                </a:cubicBezTo>
                <a:cubicBezTo>
                  <a:pt x="2557" y="7293"/>
                  <a:pt x="2557" y="7294"/>
                  <a:pt x="2557" y="7295"/>
                </a:cubicBezTo>
                <a:cubicBezTo>
                  <a:pt x="2577" y="7304"/>
                  <a:pt x="2589" y="7293"/>
                  <a:pt x="2598" y="7321"/>
                </a:cubicBezTo>
                <a:cubicBezTo>
                  <a:pt x="2587" y="7333"/>
                  <a:pt x="2574" y="7362"/>
                  <a:pt x="2579" y="7395"/>
                </a:cubicBezTo>
                <a:cubicBezTo>
                  <a:pt x="2592" y="7444"/>
                  <a:pt x="2635" y="7426"/>
                  <a:pt x="2657" y="7407"/>
                </a:cubicBezTo>
                <a:cubicBezTo>
                  <a:pt x="2667" y="7420"/>
                  <a:pt x="2671" y="7433"/>
                  <a:pt x="2674" y="7459"/>
                </a:cubicBezTo>
                <a:cubicBezTo>
                  <a:pt x="2697" y="7485"/>
                  <a:pt x="2722" y="7492"/>
                  <a:pt x="2753" y="7485"/>
                </a:cubicBezTo>
                <a:cubicBezTo>
                  <a:pt x="2757" y="7545"/>
                  <a:pt x="2760" y="7578"/>
                  <a:pt x="2781" y="7606"/>
                </a:cubicBezTo>
                <a:cubicBezTo>
                  <a:pt x="2798" y="7603"/>
                  <a:pt x="2798" y="7587"/>
                  <a:pt x="2814" y="7583"/>
                </a:cubicBezTo>
                <a:cubicBezTo>
                  <a:pt x="2818" y="7609"/>
                  <a:pt x="2824" y="7629"/>
                  <a:pt x="2829" y="7649"/>
                </a:cubicBezTo>
                <a:cubicBezTo>
                  <a:pt x="2845" y="7652"/>
                  <a:pt x="2850" y="7644"/>
                  <a:pt x="2862" y="7637"/>
                </a:cubicBezTo>
                <a:cubicBezTo>
                  <a:pt x="2850" y="7698"/>
                  <a:pt x="2887" y="7717"/>
                  <a:pt x="2900" y="7755"/>
                </a:cubicBezTo>
                <a:cubicBezTo>
                  <a:pt x="2905" y="7783"/>
                  <a:pt x="2910" y="7810"/>
                  <a:pt x="2915" y="7839"/>
                </a:cubicBezTo>
                <a:cubicBezTo>
                  <a:pt x="2923" y="7906"/>
                  <a:pt x="2896" y="7937"/>
                  <a:pt x="2893" y="7985"/>
                </a:cubicBezTo>
                <a:cubicBezTo>
                  <a:pt x="2883" y="7983"/>
                  <a:pt x="2879" y="7965"/>
                  <a:pt x="2866" y="7960"/>
                </a:cubicBezTo>
                <a:cubicBezTo>
                  <a:pt x="2866" y="7959"/>
                  <a:pt x="2866" y="7959"/>
                  <a:pt x="2866" y="7958"/>
                </a:cubicBezTo>
                <a:cubicBezTo>
                  <a:pt x="2873" y="7940"/>
                  <a:pt x="2881" y="7923"/>
                  <a:pt x="2888" y="7906"/>
                </a:cubicBezTo>
                <a:cubicBezTo>
                  <a:pt x="2889" y="7830"/>
                  <a:pt x="2854" y="7863"/>
                  <a:pt x="2825" y="7852"/>
                </a:cubicBezTo>
                <a:cubicBezTo>
                  <a:pt x="2806" y="7845"/>
                  <a:pt x="2786" y="7815"/>
                  <a:pt x="2765" y="7827"/>
                </a:cubicBezTo>
                <a:cubicBezTo>
                  <a:pt x="2763" y="7902"/>
                  <a:pt x="2793" y="7937"/>
                  <a:pt x="2793" y="8026"/>
                </a:cubicBezTo>
                <a:cubicBezTo>
                  <a:pt x="2794" y="8026"/>
                  <a:pt x="2795" y="8026"/>
                  <a:pt x="2795" y="8026"/>
                </a:cubicBezTo>
                <a:cubicBezTo>
                  <a:pt x="2799" y="8021"/>
                  <a:pt x="2798" y="8025"/>
                  <a:pt x="2799" y="8014"/>
                </a:cubicBezTo>
                <a:cubicBezTo>
                  <a:pt x="2804" y="8018"/>
                  <a:pt x="2810" y="8022"/>
                  <a:pt x="2815" y="8026"/>
                </a:cubicBezTo>
                <a:cubicBezTo>
                  <a:pt x="2810" y="8030"/>
                  <a:pt x="2806" y="8033"/>
                  <a:pt x="2801" y="8037"/>
                </a:cubicBezTo>
                <a:cubicBezTo>
                  <a:pt x="2801" y="8067"/>
                  <a:pt x="2801" y="8097"/>
                  <a:pt x="2801" y="8127"/>
                </a:cubicBezTo>
                <a:cubicBezTo>
                  <a:pt x="2809" y="8131"/>
                  <a:pt x="2817" y="8134"/>
                  <a:pt x="2825" y="8138"/>
                </a:cubicBezTo>
                <a:cubicBezTo>
                  <a:pt x="2819" y="8138"/>
                  <a:pt x="2813" y="8138"/>
                  <a:pt x="2808" y="8138"/>
                </a:cubicBezTo>
                <a:cubicBezTo>
                  <a:pt x="2813" y="8187"/>
                  <a:pt x="2813" y="8279"/>
                  <a:pt x="2804" y="8350"/>
                </a:cubicBezTo>
                <a:cubicBezTo>
                  <a:pt x="2800" y="8382"/>
                  <a:pt x="2784" y="8443"/>
                  <a:pt x="2791" y="8484"/>
                </a:cubicBezTo>
                <a:cubicBezTo>
                  <a:pt x="2795" y="8496"/>
                  <a:pt x="2799" y="8509"/>
                  <a:pt x="2803" y="8521"/>
                </a:cubicBezTo>
                <a:cubicBezTo>
                  <a:pt x="2799" y="8536"/>
                  <a:pt x="2795" y="8551"/>
                  <a:pt x="2791" y="8567"/>
                </a:cubicBezTo>
                <a:cubicBezTo>
                  <a:pt x="2786" y="8576"/>
                  <a:pt x="2777" y="8579"/>
                  <a:pt x="2773" y="8593"/>
                </a:cubicBezTo>
                <a:cubicBezTo>
                  <a:pt x="2761" y="8642"/>
                  <a:pt x="2796" y="8765"/>
                  <a:pt x="2801" y="8813"/>
                </a:cubicBezTo>
                <a:cubicBezTo>
                  <a:pt x="2808" y="8883"/>
                  <a:pt x="2778" y="8918"/>
                  <a:pt x="2786" y="8977"/>
                </a:cubicBezTo>
                <a:cubicBezTo>
                  <a:pt x="2791" y="9017"/>
                  <a:pt x="2818" y="9042"/>
                  <a:pt x="2823" y="9085"/>
                </a:cubicBezTo>
                <a:cubicBezTo>
                  <a:pt x="2821" y="9096"/>
                  <a:pt x="2819" y="9105"/>
                  <a:pt x="2817" y="9115"/>
                </a:cubicBezTo>
                <a:cubicBezTo>
                  <a:pt x="2817" y="9130"/>
                  <a:pt x="2824" y="9159"/>
                  <a:pt x="2825" y="9171"/>
                </a:cubicBezTo>
                <a:cubicBezTo>
                  <a:pt x="2825" y="9172"/>
                  <a:pt x="2825" y="9173"/>
                  <a:pt x="2825" y="9174"/>
                </a:cubicBezTo>
                <a:lnTo>
                  <a:pt x="2893" y="9320"/>
                </a:lnTo>
                <a:cubicBezTo>
                  <a:pt x="2898" y="9318"/>
                  <a:pt x="2899" y="9323"/>
                  <a:pt x="2904" y="9329"/>
                </a:cubicBezTo>
                <a:cubicBezTo>
                  <a:pt x="2904" y="9317"/>
                  <a:pt x="2904" y="9303"/>
                  <a:pt x="2905" y="9291"/>
                </a:cubicBezTo>
                <a:cubicBezTo>
                  <a:pt x="2905" y="9291"/>
                  <a:pt x="2906" y="9291"/>
                  <a:pt x="2906" y="9291"/>
                </a:cubicBezTo>
                <a:cubicBezTo>
                  <a:pt x="2910" y="9320"/>
                  <a:pt x="2920" y="9350"/>
                  <a:pt x="2930" y="9368"/>
                </a:cubicBezTo>
                <a:cubicBezTo>
                  <a:pt x="2931" y="9370"/>
                  <a:pt x="2930" y="9374"/>
                  <a:pt x="2931" y="9376"/>
                </a:cubicBezTo>
                <a:cubicBezTo>
                  <a:pt x="2917" y="9372"/>
                  <a:pt x="2914" y="9358"/>
                  <a:pt x="2911" y="9335"/>
                </a:cubicBezTo>
                <a:cubicBezTo>
                  <a:pt x="2909" y="9334"/>
                  <a:pt x="2908" y="9333"/>
                  <a:pt x="2906" y="9332"/>
                </a:cubicBezTo>
                <a:cubicBezTo>
                  <a:pt x="2905" y="9335"/>
                  <a:pt x="2905" y="9339"/>
                  <a:pt x="2904" y="9342"/>
                </a:cubicBezTo>
                <a:cubicBezTo>
                  <a:pt x="2897" y="9373"/>
                  <a:pt x="2912" y="9383"/>
                  <a:pt x="2906" y="9409"/>
                </a:cubicBezTo>
                <a:cubicBezTo>
                  <a:pt x="2920" y="9430"/>
                  <a:pt x="2922" y="9439"/>
                  <a:pt x="2945" y="9449"/>
                </a:cubicBezTo>
                <a:cubicBezTo>
                  <a:pt x="2949" y="9466"/>
                  <a:pt x="2953" y="9489"/>
                  <a:pt x="2939" y="9494"/>
                </a:cubicBezTo>
                <a:cubicBezTo>
                  <a:pt x="2940" y="9571"/>
                  <a:pt x="3012" y="9639"/>
                  <a:pt x="3006" y="9676"/>
                </a:cubicBezTo>
                <a:cubicBezTo>
                  <a:pt x="3011" y="9689"/>
                  <a:pt x="3014" y="9689"/>
                  <a:pt x="3022" y="9692"/>
                </a:cubicBezTo>
                <a:cubicBezTo>
                  <a:pt x="3023" y="9710"/>
                  <a:pt x="3020" y="9727"/>
                  <a:pt x="3024" y="9748"/>
                </a:cubicBezTo>
                <a:cubicBezTo>
                  <a:pt x="3020" y="9772"/>
                  <a:pt x="3028" y="9766"/>
                  <a:pt x="3033" y="9784"/>
                </a:cubicBezTo>
                <a:cubicBezTo>
                  <a:pt x="3052" y="9786"/>
                  <a:pt x="3072" y="9788"/>
                  <a:pt x="3092" y="9789"/>
                </a:cubicBezTo>
                <a:cubicBezTo>
                  <a:pt x="3117" y="9807"/>
                  <a:pt x="3113" y="9842"/>
                  <a:pt x="3156" y="9841"/>
                </a:cubicBezTo>
                <a:cubicBezTo>
                  <a:pt x="3161" y="9855"/>
                  <a:pt x="3164" y="9857"/>
                  <a:pt x="3162" y="9873"/>
                </a:cubicBezTo>
                <a:cubicBezTo>
                  <a:pt x="3164" y="9876"/>
                  <a:pt x="3166" y="9879"/>
                  <a:pt x="3168" y="9882"/>
                </a:cubicBezTo>
                <a:cubicBezTo>
                  <a:pt x="3203" y="9838"/>
                  <a:pt x="3237" y="9994"/>
                  <a:pt x="3247" y="10045"/>
                </a:cubicBezTo>
                <a:cubicBezTo>
                  <a:pt x="3247" y="10062"/>
                  <a:pt x="3247" y="10080"/>
                  <a:pt x="3247" y="10097"/>
                </a:cubicBezTo>
                <a:cubicBezTo>
                  <a:pt x="3255" y="10109"/>
                  <a:pt x="3262" y="10122"/>
                  <a:pt x="3269" y="10134"/>
                </a:cubicBezTo>
                <a:cubicBezTo>
                  <a:pt x="3256" y="10184"/>
                  <a:pt x="3278" y="10211"/>
                  <a:pt x="3291" y="10248"/>
                </a:cubicBezTo>
                <a:cubicBezTo>
                  <a:pt x="3298" y="10269"/>
                  <a:pt x="3296" y="10290"/>
                  <a:pt x="3302" y="10318"/>
                </a:cubicBezTo>
                <a:cubicBezTo>
                  <a:pt x="3305" y="10337"/>
                  <a:pt x="3316" y="10335"/>
                  <a:pt x="3321" y="10349"/>
                </a:cubicBezTo>
                <a:cubicBezTo>
                  <a:pt x="3325" y="10372"/>
                  <a:pt x="3329" y="10395"/>
                  <a:pt x="3333" y="10419"/>
                </a:cubicBezTo>
                <a:cubicBezTo>
                  <a:pt x="3340" y="10442"/>
                  <a:pt x="3383" y="10483"/>
                  <a:pt x="3397" y="10503"/>
                </a:cubicBezTo>
                <a:cubicBezTo>
                  <a:pt x="3412" y="10526"/>
                  <a:pt x="3449" y="10590"/>
                  <a:pt x="3423" y="10640"/>
                </a:cubicBezTo>
                <a:cubicBezTo>
                  <a:pt x="3414" y="10671"/>
                  <a:pt x="3389" y="10661"/>
                  <a:pt x="3370" y="10652"/>
                </a:cubicBezTo>
                <a:cubicBezTo>
                  <a:pt x="3383" y="10695"/>
                  <a:pt x="3450" y="10810"/>
                  <a:pt x="3482" y="10786"/>
                </a:cubicBezTo>
                <a:cubicBezTo>
                  <a:pt x="3489" y="10801"/>
                  <a:pt x="3496" y="10815"/>
                  <a:pt x="3504" y="10829"/>
                </a:cubicBezTo>
                <a:cubicBezTo>
                  <a:pt x="3511" y="10840"/>
                  <a:pt x="3522" y="10840"/>
                  <a:pt x="3530" y="10850"/>
                </a:cubicBezTo>
                <a:cubicBezTo>
                  <a:pt x="3542" y="10864"/>
                  <a:pt x="3551" y="10912"/>
                  <a:pt x="3556" y="10938"/>
                </a:cubicBezTo>
                <a:cubicBezTo>
                  <a:pt x="3562" y="10966"/>
                  <a:pt x="3548" y="11003"/>
                  <a:pt x="3556" y="11028"/>
                </a:cubicBezTo>
                <a:cubicBezTo>
                  <a:pt x="3571" y="11071"/>
                  <a:pt x="3618" y="11136"/>
                  <a:pt x="3641" y="11166"/>
                </a:cubicBezTo>
                <a:cubicBezTo>
                  <a:pt x="3654" y="11182"/>
                  <a:pt x="3670" y="11187"/>
                  <a:pt x="3677" y="11211"/>
                </a:cubicBezTo>
                <a:cubicBezTo>
                  <a:pt x="3683" y="11229"/>
                  <a:pt x="3684" y="11258"/>
                  <a:pt x="3688" y="11274"/>
                </a:cubicBezTo>
                <a:cubicBezTo>
                  <a:pt x="3691" y="11277"/>
                  <a:pt x="3694" y="11278"/>
                  <a:pt x="3698" y="11281"/>
                </a:cubicBezTo>
                <a:cubicBezTo>
                  <a:pt x="3710" y="11264"/>
                  <a:pt x="3724" y="11245"/>
                  <a:pt x="3727" y="11210"/>
                </a:cubicBezTo>
                <a:cubicBezTo>
                  <a:pt x="3721" y="11190"/>
                  <a:pt x="3714" y="11194"/>
                  <a:pt x="3705" y="11181"/>
                </a:cubicBezTo>
                <a:cubicBezTo>
                  <a:pt x="3696" y="11154"/>
                  <a:pt x="3687" y="11126"/>
                  <a:pt x="3678" y="11099"/>
                </a:cubicBezTo>
                <a:cubicBezTo>
                  <a:pt x="3671" y="11106"/>
                  <a:pt x="3664" y="11114"/>
                  <a:pt x="3657" y="11121"/>
                </a:cubicBezTo>
                <a:cubicBezTo>
                  <a:pt x="3636" y="11086"/>
                  <a:pt x="3650" y="11084"/>
                  <a:pt x="3641" y="11028"/>
                </a:cubicBezTo>
                <a:cubicBezTo>
                  <a:pt x="3630" y="10987"/>
                  <a:pt x="3618" y="10947"/>
                  <a:pt x="3607" y="10906"/>
                </a:cubicBezTo>
                <a:cubicBezTo>
                  <a:pt x="3599" y="10871"/>
                  <a:pt x="3596" y="10826"/>
                  <a:pt x="3590" y="10795"/>
                </a:cubicBezTo>
                <a:cubicBezTo>
                  <a:pt x="3550" y="10803"/>
                  <a:pt x="3561" y="10756"/>
                  <a:pt x="3546" y="10694"/>
                </a:cubicBezTo>
                <a:cubicBezTo>
                  <a:pt x="3538" y="10690"/>
                  <a:pt x="3530" y="10686"/>
                  <a:pt x="3522" y="10683"/>
                </a:cubicBezTo>
                <a:cubicBezTo>
                  <a:pt x="3514" y="10660"/>
                  <a:pt x="3510" y="10621"/>
                  <a:pt x="3508" y="10590"/>
                </a:cubicBezTo>
                <a:cubicBezTo>
                  <a:pt x="3498" y="10582"/>
                  <a:pt x="3489" y="10574"/>
                  <a:pt x="3479" y="10565"/>
                </a:cubicBezTo>
                <a:cubicBezTo>
                  <a:pt x="3465" y="10539"/>
                  <a:pt x="3461" y="10484"/>
                  <a:pt x="3449" y="10455"/>
                </a:cubicBezTo>
                <a:cubicBezTo>
                  <a:pt x="3435" y="10417"/>
                  <a:pt x="3404" y="10409"/>
                  <a:pt x="3393" y="10365"/>
                </a:cubicBezTo>
                <a:cubicBezTo>
                  <a:pt x="3392" y="10331"/>
                  <a:pt x="3391" y="10299"/>
                  <a:pt x="3390" y="10265"/>
                </a:cubicBezTo>
                <a:cubicBezTo>
                  <a:pt x="3385" y="10253"/>
                  <a:pt x="3380" y="10241"/>
                  <a:pt x="3375" y="10229"/>
                </a:cubicBezTo>
                <a:cubicBezTo>
                  <a:pt x="3370" y="10203"/>
                  <a:pt x="3380" y="10169"/>
                  <a:pt x="3382" y="10144"/>
                </a:cubicBezTo>
                <a:cubicBezTo>
                  <a:pt x="3398" y="10154"/>
                  <a:pt x="3411" y="10178"/>
                  <a:pt x="3431" y="10180"/>
                </a:cubicBezTo>
                <a:cubicBezTo>
                  <a:pt x="3433" y="10173"/>
                  <a:pt x="3435" y="10166"/>
                  <a:pt x="3437" y="10159"/>
                </a:cubicBezTo>
                <a:cubicBezTo>
                  <a:pt x="3441" y="10162"/>
                  <a:pt x="3447" y="10165"/>
                  <a:pt x="3451" y="10168"/>
                </a:cubicBezTo>
                <a:cubicBezTo>
                  <a:pt x="3455" y="10178"/>
                  <a:pt x="3456" y="10185"/>
                  <a:pt x="3456" y="10202"/>
                </a:cubicBezTo>
                <a:cubicBezTo>
                  <a:pt x="3470" y="10212"/>
                  <a:pt x="3484" y="10219"/>
                  <a:pt x="3495" y="10229"/>
                </a:cubicBezTo>
                <a:cubicBezTo>
                  <a:pt x="3494" y="10337"/>
                  <a:pt x="3575" y="10578"/>
                  <a:pt x="3611" y="10624"/>
                </a:cubicBezTo>
                <a:cubicBezTo>
                  <a:pt x="3624" y="10634"/>
                  <a:pt x="3638" y="10642"/>
                  <a:pt x="3652" y="10652"/>
                </a:cubicBezTo>
                <a:cubicBezTo>
                  <a:pt x="3658" y="10668"/>
                  <a:pt x="3656" y="10678"/>
                  <a:pt x="3653" y="10703"/>
                </a:cubicBezTo>
                <a:cubicBezTo>
                  <a:pt x="3669" y="10756"/>
                  <a:pt x="3692" y="10728"/>
                  <a:pt x="3706" y="10809"/>
                </a:cubicBezTo>
                <a:cubicBezTo>
                  <a:pt x="3726" y="10798"/>
                  <a:pt x="3738" y="10809"/>
                  <a:pt x="3746" y="10852"/>
                </a:cubicBezTo>
                <a:cubicBezTo>
                  <a:pt x="3736" y="10873"/>
                  <a:pt x="3730" y="10896"/>
                  <a:pt x="3736" y="10929"/>
                </a:cubicBezTo>
                <a:cubicBezTo>
                  <a:pt x="3739" y="10933"/>
                  <a:pt x="3742" y="10938"/>
                  <a:pt x="3745" y="10942"/>
                </a:cubicBezTo>
                <a:cubicBezTo>
                  <a:pt x="3747" y="10940"/>
                  <a:pt x="3758" y="10928"/>
                  <a:pt x="3764" y="10934"/>
                </a:cubicBezTo>
                <a:cubicBezTo>
                  <a:pt x="3770" y="10948"/>
                  <a:pt x="3776" y="10964"/>
                  <a:pt x="3781" y="10978"/>
                </a:cubicBezTo>
                <a:cubicBezTo>
                  <a:pt x="3792" y="10988"/>
                  <a:pt x="3803" y="10998"/>
                  <a:pt x="3814" y="11007"/>
                </a:cubicBezTo>
                <a:cubicBezTo>
                  <a:pt x="3817" y="11025"/>
                  <a:pt x="3820" y="11043"/>
                  <a:pt x="3823" y="11061"/>
                </a:cubicBezTo>
                <a:cubicBezTo>
                  <a:pt x="3835" y="11077"/>
                  <a:pt x="3848" y="11093"/>
                  <a:pt x="3860" y="11109"/>
                </a:cubicBezTo>
                <a:cubicBezTo>
                  <a:pt x="3899" y="11192"/>
                  <a:pt x="3938" y="11275"/>
                  <a:pt x="3977" y="11358"/>
                </a:cubicBezTo>
                <a:cubicBezTo>
                  <a:pt x="3974" y="11370"/>
                  <a:pt x="3972" y="11383"/>
                  <a:pt x="3970" y="11395"/>
                </a:cubicBezTo>
                <a:cubicBezTo>
                  <a:pt x="3984" y="11435"/>
                  <a:pt x="4007" y="11480"/>
                  <a:pt x="3982" y="11529"/>
                </a:cubicBezTo>
                <a:cubicBezTo>
                  <a:pt x="3983" y="11541"/>
                  <a:pt x="3986" y="11542"/>
                  <a:pt x="3990" y="11554"/>
                </a:cubicBezTo>
                <a:cubicBezTo>
                  <a:pt x="3986" y="11567"/>
                  <a:pt x="3964" y="11575"/>
                  <a:pt x="3965" y="11593"/>
                </a:cubicBezTo>
                <a:cubicBezTo>
                  <a:pt x="3969" y="11603"/>
                  <a:pt x="3973" y="11610"/>
                  <a:pt x="3977" y="11620"/>
                </a:cubicBezTo>
                <a:cubicBezTo>
                  <a:pt x="3988" y="11647"/>
                  <a:pt x="3997" y="11684"/>
                  <a:pt x="4011" y="11703"/>
                </a:cubicBezTo>
                <a:cubicBezTo>
                  <a:pt x="4027" y="11717"/>
                  <a:pt x="4044" y="11733"/>
                  <a:pt x="4060" y="11747"/>
                </a:cubicBezTo>
                <a:cubicBezTo>
                  <a:pt x="4075" y="11778"/>
                  <a:pt x="4090" y="11808"/>
                  <a:pt x="4105" y="11838"/>
                </a:cubicBezTo>
                <a:cubicBezTo>
                  <a:pt x="4130" y="11851"/>
                  <a:pt x="4156" y="11865"/>
                  <a:pt x="4182" y="11878"/>
                </a:cubicBezTo>
                <a:cubicBezTo>
                  <a:pt x="4212" y="11874"/>
                  <a:pt x="4232" y="11929"/>
                  <a:pt x="4257" y="11955"/>
                </a:cubicBezTo>
                <a:cubicBezTo>
                  <a:pt x="4281" y="11975"/>
                  <a:pt x="4305" y="11996"/>
                  <a:pt x="4329" y="12016"/>
                </a:cubicBezTo>
                <a:cubicBezTo>
                  <a:pt x="4346" y="12022"/>
                  <a:pt x="4363" y="12028"/>
                  <a:pt x="4380" y="12034"/>
                </a:cubicBezTo>
                <a:cubicBezTo>
                  <a:pt x="4405" y="12060"/>
                  <a:pt x="4430" y="12085"/>
                  <a:pt x="4455" y="12111"/>
                </a:cubicBezTo>
                <a:cubicBezTo>
                  <a:pt x="4468" y="12121"/>
                  <a:pt x="4548" y="12156"/>
                  <a:pt x="4561" y="12152"/>
                </a:cubicBezTo>
                <a:cubicBezTo>
                  <a:pt x="4607" y="12139"/>
                  <a:pt x="4630" y="12060"/>
                  <a:pt x="4686" y="12093"/>
                </a:cubicBezTo>
                <a:cubicBezTo>
                  <a:pt x="4744" y="12127"/>
                  <a:pt x="4812" y="12283"/>
                  <a:pt x="4862" y="12350"/>
                </a:cubicBezTo>
                <a:cubicBezTo>
                  <a:pt x="4880" y="12373"/>
                  <a:pt x="4899" y="12355"/>
                  <a:pt x="4924" y="12368"/>
                </a:cubicBezTo>
                <a:cubicBezTo>
                  <a:pt x="4977" y="12396"/>
                  <a:pt x="5026" y="12460"/>
                  <a:pt x="5095" y="12461"/>
                </a:cubicBezTo>
                <a:cubicBezTo>
                  <a:pt x="5099" y="12450"/>
                  <a:pt x="5101" y="12442"/>
                  <a:pt x="5103" y="12427"/>
                </a:cubicBezTo>
                <a:cubicBezTo>
                  <a:pt x="5119" y="12433"/>
                  <a:pt x="5123" y="12455"/>
                  <a:pt x="5129" y="12479"/>
                </a:cubicBezTo>
                <a:cubicBezTo>
                  <a:pt x="5123" y="12479"/>
                  <a:pt x="5117" y="12479"/>
                  <a:pt x="5112" y="12479"/>
                </a:cubicBezTo>
                <a:cubicBezTo>
                  <a:pt x="5112" y="12483"/>
                  <a:pt x="5112" y="12486"/>
                  <a:pt x="5112" y="12491"/>
                </a:cubicBezTo>
                <a:cubicBezTo>
                  <a:pt x="5138" y="12545"/>
                  <a:pt x="5174" y="12586"/>
                  <a:pt x="5199" y="12643"/>
                </a:cubicBezTo>
                <a:cubicBezTo>
                  <a:pt x="5208" y="12663"/>
                  <a:pt x="5221" y="12708"/>
                  <a:pt x="5237" y="12712"/>
                </a:cubicBezTo>
                <a:cubicBezTo>
                  <a:pt x="5237" y="12716"/>
                  <a:pt x="5238" y="12722"/>
                  <a:pt x="5238" y="12726"/>
                </a:cubicBezTo>
                <a:cubicBezTo>
                  <a:pt x="5234" y="12727"/>
                  <a:pt x="5231" y="12726"/>
                  <a:pt x="5227" y="12727"/>
                </a:cubicBezTo>
                <a:cubicBezTo>
                  <a:pt x="5232" y="12733"/>
                  <a:pt x="5237" y="12738"/>
                  <a:pt x="5242" y="12743"/>
                </a:cubicBezTo>
                <a:cubicBezTo>
                  <a:pt x="5242" y="12747"/>
                  <a:pt x="5244" y="12752"/>
                  <a:pt x="5244" y="12756"/>
                </a:cubicBezTo>
                <a:cubicBezTo>
                  <a:pt x="5241" y="12773"/>
                  <a:pt x="5233" y="12780"/>
                  <a:pt x="5228" y="12797"/>
                </a:cubicBezTo>
                <a:cubicBezTo>
                  <a:pt x="5242" y="12869"/>
                  <a:pt x="5265" y="12842"/>
                  <a:pt x="5275" y="12887"/>
                </a:cubicBezTo>
                <a:cubicBezTo>
                  <a:pt x="5276" y="12888"/>
                  <a:pt x="5277" y="12890"/>
                  <a:pt x="5278" y="12891"/>
                </a:cubicBezTo>
                <a:cubicBezTo>
                  <a:pt x="5283" y="12881"/>
                  <a:pt x="5288" y="12871"/>
                  <a:pt x="5292" y="12862"/>
                </a:cubicBezTo>
                <a:cubicBezTo>
                  <a:pt x="5288" y="12848"/>
                  <a:pt x="5283" y="12847"/>
                  <a:pt x="5274" y="12841"/>
                </a:cubicBezTo>
                <a:cubicBezTo>
                  <a:pt x="5272" y="12831"/>
                  <a:pt x="5270" y="12820"/>
                  <a:pt x="5268" y="12810"/>
                </a:cubicBezTo>
                <a:cubicBezTo>
                  <a:pt x="5268" y="12809"/>
                  <a:pt x="5268" y="12809"/>
                  <a:pt x="5268" y="12808"/>
                </a:cubicBezTo>
                <a:cubicBezTo>
                  <a:pt x="5279" y="12819"/>
                  <a:pt x="5290" y="12831"/>
                  <a:pt x="5301" y="12841"/>
                </a:cubicBezTo>
                <a:cubicBezTo>
                  <a:pt x="5305" y="12856"/>
                  <a:pt x="5306" y="12890"/>
                  <a:pt x="5315" y="12898"/>
                </a:cubicBezTo>
                <a:cubicBezTo>
                  <a:pt x="5343" y="12922"/>
                  <a:pt x="5391" y="12926"/>
                  <a:pt x="5367" y="13000"/>
                </a:cubicBezTo>
                <a:cubicBezTo>
                  <a:pt x="5372" y="13017"/>
                  <a:pt x="5381" y="13027"/>
                  <a:pt x="5394" y="13029"/>
                </a:cubicBezTo>
                <a:cubicBezTo>
                  <a:pt x="5395" y="13027"/>
                  <a:pt x="5396" y="13025"/>
                  <a:pt x="5396" y="13023"/>
                </a:cubicBezTo>
                <a:cubicBezTo>
                  <a:pt x="5392" y="13013"/>
                  <a:pt x="5388" y="13003"/>
                  <a:pt x="5384" y="12993"/>
                </a:cubicBezTo>
                <a:cubicBezTo>
                  <a:pt x="5385" y="12992"/>
                  <a:pt x="5386" y="12990"/>
                  <a:pt x="5388" y="12989"/>
                </a:cubicBezTo>
                <a:cubicBezTo>
                  <a:pt x="5403" y="13000"/>
                  <a:pt x="5412" y="13038"/>
                  <a:pt x="5411" y="13074"/>
                </a:cubicBezTo>
                <a:cubicBezTo>
                  <a:pt x="5414" y="13065"/>
                  <a:pt x="5418" y="13055"/>
                  <a:pt x="5421" y="13046"/>
                </a:cubicBezTo>
                <a:cubicBezTo>
                  <a:pt x="5449" y="13033"/>
                  <a:pt x="5465" y="13059"/>
                  <a:pt x="5495" y="13061"/>
                </a:cubicBezTo>
                <a:cubicBezTo>
                  <a:pt x="5501" y="13094"/>
                  <a:pt x="5506" y="13113"/>
                  <a:pt x="5526" y="13120"/>
                </a:cubicBezTo>
                <a:cubicBezTo>
                  <a:pt x="5527" y="13109"/>
                  <a:pt x="5529" y="13099"/>
                  <a:pt x="5530" y="13088"/>
                </a:cubicBezTo>
                <a:cubicBezTo>
                  <a:pt x="5530" y="13088"/>
                  <a:pt x="5530" y="13088"/>
                  <a:pt x="5530" y="13088"/>
                </a:cubicBezTo>
                <a:cubicBezTo>
                  <a:pt x="5535" y="13107"/>
                  <a:pt x="5547" y="13132"/>
                  <a:pt x="5545" y="13157"/>
                </a:cubicBezTo>
                <a:cubicBezTo>
                  <a:pt x="5546" y="13160"/>
                  <a:pt x="5547" y="13162"/>
                  <a:pt x="5548" y="13164"/>
                </a:cubicBezTo>
                <a:cubicBezTo>
                  <a:pt x="5573" y="13173"/>
                  <a:pt x="5580" y="13146"/>
                  <a:pt x="5603" y="13142"/>
                </a:cubicBezTo>
                <a:cubicBezTo>
                  <a:pt x="5601" y="13097"/>
                  <a:pt x="5582" y="13093"/>
                  <a:pt x="5574" y="13060"/>
                </a:cubicBezTo>
                <a:cubicBezTo>
                  <a:pt x="5582" y="13037"/>
                  <a:pt x="5603" y="13019"/>
                  <a:pt x="5619" y="13011"/>
                </a:cubicBezTo>
                <a:cubicBezTo>
                  <a:pt x="5618" y="12995"/>
                  <a:pt x="5618" y="12988"/>
                  <a:pt x="5620" y="12975"/>
                </a:cubicBezTo>
                <a:cubicBezTo>
                  <a:pt x="5664" y="12949"/>
                  <a:pt x="5690" y="12968"/>
                  <a:pt x="5702" y="13031"/>
                </a:cubicBezTo>
                <a:cubicBezTo>
                  <a:pt x="5712" y="13034"/>
                  <a:pt x="5719" y="13024"/>
                  <a:pt x="5726" y="13016"/>
                </a:cubicBezTo>
                <a:cubicBezTo>
                  <a:pt x="5726" y="13035"/>
                  <a:pt x="5727" y="13043"/>
                  <a:pt x="5734" y="13049"/>
                </a:cubicBezTo>
                <a:cubicBezTo>
                  <a:pt x="5735" y="13051"/>
                  <a:pt x="5735" y="13052"/>
                  <a:pt x="5736" y="13054"/>
                </a:cubicBezTo>
                <a:cubicBezTo>
                  <a:pt x="5722" y="13051"/>
                  <a:pt x="5715" y="13046"/>
                  <a:pt x="5710" y="13067"/>
                </a:cubicBezTo>
                <a:cubicBezTo>
                  <a:pt x="5705" y="13098"/>
                  <a:pt x="5722" y="13141"/>
                  <a:pt x="5729" y="13164"/>
                </a:cubicBezTo>
                <a:cubicBezTo>
                  <a:pt x="5718" y="13191"/>
                  <a:pt x="5678" y="13207"/>
                  <a:pt x="5655" y="13185"/>
                </a:cubicBezTo>
                <a:cubicBezTo>
                  <a:pt x="5646" y="13198"/>
                  <a:pt x="5642" y="13211"/>
                  <a:pt x="5643" y="13244"/>
                </a:cubicBezTo>
                <a:cubicBezTo>
                  <a:pt x="5640" y="13249"/>
                  <a:pt x="5636" y="13254"/>
                  <a:pt x="5633" y="13259"/>
                </a:cubicBezTo>
                <a:cubicBezTo>
                  <a:pt x="5631" y="13238"/>
                  <a:pt x="5628" y="13231"/>
                  <a:pt x="5618" y="13226"/>
                </a:cubicBezTo>
                <a:cubicBezTo>
                  <a:pt x="5611" y="13223"/>
                  <a:pt x="5603" y="13235"/>
                  <a:pt x="5597" y="13241"/>
                </a:cubicBezTo>
                <a:cubicBezTo>
                  <a:pt x="5552" y="13285"/>
                  <a:pt x="5570" y="13343"/>
                  <a:pt x="5556" y="13419"/>
                </a:cubicBezTo>
                <a:cubicBezTo>
                  <a:pt x="5546" y="13422"/>
                  <a:pt x="5536" y="13426"/>
                  <a:pt x="5526" y="13429"/>
                </a:cubicBezTo>
                <a:lnTo>
                  <a:pt x="5481" y="13532"/>
                </a:lnTo>
                <a:cubicBezTo>
                  <a:pt x="5484" y="13547"/>
                  <a:pt x="5487" y="13561"/>
                  <a:pt x="5490" y="13575"/>
                </a:cubicBezTo>
                <a:cubicBezTo>
                  <a:pt x="5488" y="13583"/>
                  <a:pt x="5488" y="13586"/>
                  <a:pt x="5483" y="13591"/>
                </a:cubicBezTo>
                <a:cubicBezTo>
                  <a:pt x="5482" y="13593"/>
                  <a:pt x="5482" y="13594"/>
                  <a:pt x="5481" y="13596"/>
                </a:cubicBezTo>
                <a:cubicBezTo>
                  <a:pt x="5466" y="13566"/>
                  <a:pt x="5462" y="13532"/>
                  <a:pt x="5442" y="13512"/>
                </a:cubicBezTo>
                <a:cubicBezTo>
                  <a:pt x="5441" y="13512"/>
                  <a:pt x="5441" y="13512"/>
                  <a:pt x="5440" y="13512"/>
                </a:cubicBezTo>
                <a:cubicBezTo>
                  <a:pt x="5444" y="13542"/>
                  <a:pt x="5459" y="13558"/>
                  <a:pt x="5463" y="13593"/>
                </a:cubicBezTo>
                <a:cubicBezTo>
                  <a:pt x="5453" y="13599"/>
                  <a:pt x="5446" y="13626"/>
                  <a:pt x="5438" y="13638"/>
                </a:cubicBezTo>
                <a:cubicBezTo>
                  <a:pt x="5434" y="13629"/>
                  <a:pt x="5432" y="13623"/>
                  <a:pt x="5427" y="13616"/>
                </a:cubicBezTo>
                <a:cubicBezTo>
                  <a:pt x="5430" y="13645"/>
                  <a:pt x="5419" y="13656"/>
                  <a:pt x="5416" y="13689"/>
                </a:cubicBezTo>
                <a:cubicBezTo>
                  <a:pt x="5427" y="13716"/>
                  <a:pt x="5442" y="13730"/>
                  <a:pt x="5451" y="13763"/>
                </a:cubicBezTo>
                <a:cubicBezTo>
                  <a:pt x="5449" y="13783"/>
                  <a:pt x="5444" y="13789"/>
                  <a:pt x="5440" y="13803"/>
                </a:cubicBezTo>
                <a:cubicBezTo>
                  <a:pt x="5442" y="13831"/>
                  <a:pt x="5454" y="13832"/>
                  <a:pt x="5460" y="13853"/>
                </a:cubicBezTo>
                <a:cubicBezTo>
                  <a:pt x="5456" y="13866"/>
                  <a:pt x="5451" y="13868"/>
                  <a:pt x="5442" y="13871"/>
                </a:cubicBezTo>
                <a:cubicBezTo>
                  <a:pt x="5440" y="13906"/>
                  <a:pt x="5452" y="13933"/>
                  <a:pt x="5455" y="13968"/>
                </a:cubicBezTo>
                <a:cubicBezTo>
                  <a:pt x="5451" y="13994"/>
                  <a:pt x="5448" y="14021"/>
                  <a:pt x="5445" y="14046"/>
                </a:cubicBezTo>
                <a:cubicBezTo>
                  <a:pt x="5452" y="14060"/>
                  <a:pt x="5459" y="14073"/>
                  <a:pt x="5466" y="14087"/>
                </a:cubicBezTo>
                <a:cubicBezTo>
                  <a:pt x="5451" y="14135"/>
                  <a:pt x="5437" y="14183"/>
                  <a:pt x="5423" y="14231"/>
                </a:cubicBezTo>
                <a:cubicBezTo>
                  <a:pt x="5413" y="14248"/>
                  <a:pt x="5380" y="14245"/>
                  <a:pt x="5368" y="14256"/>
                </a:cubicBezTo>
                <a:cubicBezTo>
                  <a:pt x="5368" y="14291"/>
                  <a:pt x="5377" y="14298"/>
                  <a:pt x="5372" y="14325"/>
                </a:cubicBezTo>
                <a:cubicBezTo>
                  <a:pt x="5361" y="14322"/>
                  <a:pt x="5357" y="14322"/>
                  <a:pt x="5345" y="14325"/>
                </a:cubicBezTo>
                <a:cubicBezTo>
                  <a:pt x="5344" y="14329"/>
                  <a:pt x="5342" y="14335"/>
                  <a:pt x="5340" y="14339"/>
                </a:cubicBezTo>
                <a:cubicBezTo>
                  <a:pt x="5344" y="14350"/>
                  <a:pt x="5347" y="14357"/>
                  <a:pt x="5349" y="14373"/>
                </a:cubicBezTo>
                <a:cubicBezTo>
                  <a:pt x="5330" y="14419"/>
                  <a:pt x="5310" y="14417"/>
                  <a:pt x="5277" y="14439"/>
                </a:cubicBezTo>
                <a:cubicBezTo>
                  <a:pt x="5268" y="14456"/>
                  <a:pt x="5282" y="14496"/>
                  <a:pt x="5275" y="14529"/>
                </a:cubicBezTo>
                <a:cubicBezTo>
                  <a:pt x="5270" y="14553"/>
                  <a:pt x="5253" y="14558"/>
                  <a:pt x="5249" y="14588"/>
                </a:cubicBezTo>
                <a:cubicBezTo>
                  <a:pt x="5252" y="14596"/>
                  <a:pt x="5256" y="14604"/>
                  <a:pt x="5259" y="14613"/>
                </a:cubicBezTo>
                <a:cubicBezTo>
                  <a:pt x="5245" y="14627"/>
                  <a:pt x="5232" y="14640"/>
                  <a:pt x="5219" y="14654"/>
                </a:cubicBezTo>
                <a:cubicBezTo>
                  <a:pt x="5230" y="14696"/>
                  <a:pt x="5229" y="14733"/>
                  <a:pt x="5234" y="14786"/>
                </a:cubicBezTo>
                <a:cubicBezTo>
                  <a:pt x="5231" y="14797"/>
                  <a:pt x="5229" y="14801"/>
                  <a:pt x="5222" y="14806"/>
                </a:cubicBezTo>
                <a:cubicBezTo>
                  <a:pt x="5222" y="14809"/>
                  <a:pt x="5221" y="14811"/>
                  <a:pt x="5220" y="14814"/>
                </a:cubicBezTo>
                <a:cubicBezTo>
                  <a:pt x="5254" y="14893"/>
                  <a:pt x="5265" y="14839"/>
                  <a:pt x="5293" y="14796"/>
                </a:cubicBezTo>
                <a:cubicBezTo>
                  <a:pt x="5292" y="14818"/>
                  <a:pt x="5300" y="14845"/>
                  <a:pt x="5296" y="14868"/>
                </a:cubicBezTo>
                <a:cubicBezTo>
                  <a:pt x="5282" y="14959"/>
                  <a:pt x="5214" y="14986"/>
                  <a:pt x="5189" y="15076"/>
                </a:cubicBezTo>
                <a:cubicBezTo>
                  <a:pt x="5193" y="15144"/>
                  <a:pt x="5232" y="15165"/>
                  <a:pt x="5226" y="15233"/>
                </a:cubicBezTo>
                <a:cubicBezTo>
                  <a:pt x="5214" y="15233"/>
                  <a:pt x="5208" y="15235"/>
                  <a:pt x="5200" y="15240"/>
                </a:cubicBezTo>
                <a:cubicBezTo>
                  <a:pt x="5199" y="15243"/>
                  <a:pt x="5199" y="15245"/>
                  <a:pt x="5198" y="15247"/>
                </a:cubicBezTo>
                <a:cubicBezTo>
                  <a:pt x="5220" y="15280"/>
                  <a:pt x="5253" y="15293"/>
                  <a:pt x="5274" y="15328"/>
                </a:cubicBezTo>
                <a:cubicBezTo>
                  <a:pt x="5288" y="15368"/>
                  <a:pt x="5302" y="15409"/>
                  <a:pt x="5316" y="15449"/>
                </a:cubicBezTo>
                <a:cubicBezTo>
                  <a:pt x="5346" y="15534"/>
                  <a:pt x="5432" y="15756"/>
                  <a:pt x="5427" y="15869"/>
                </a:cubicBezTo>
                <a:cubicBezTo>
                  <a:pt x="5462" y="15910"/>
                  <a:pt x="5469" y="15985"/>
                  <a:pt x="5490" y="16050"/>
                </a:cubicBezTo>
                <a:cubicBezTo>
                  <a:pt x="5499" y="16076"/>
                  <a:pt x="5516" y="16098"/>
                  <a:pt x="5521" y="16131"/>
                </a:cubicBezTo>
                <a:cubicBezTo>
                  <a:pt x="5521" y="16159"/>
                  <a:pt x="5521" y="16187"/>
                  <a:pt x="5521" y="16214"/>
                </a:cubicBezTo>
                <a:cubicBezTo>
                  <a:pt x="5530" y="16238"/>
                  <a:pt x="5539" y="16262"/>
                  <a:pt x="5548" y="16286"/>
                </a:cubicBezTo>
                <a:cubicBezTo>
                  <a:pt x="5598" y="16394"/>
                  <a:pt x="5678" y="16459"/>
                  <a:pt x="5749" y="16526"/>
                </a:cubicBezTo>
                <a:cubicBezTo>
                  <a:pt x="5771" y="16545"/>
                  <a:pt x="5793" y="16564"/>
                  <a:pt x="5815" y="16583"/>
                </a:cubicBezTo>
                <a:cubicBezTo>
                  <a:pt x="5821" y="16605"/>
                  <a:pt x="5827" y="16628"/>
                  <a:pt x="5833" y="16650"/>
                </a:cubicBezTo>
                <a:cubicBezTo>
                  <a:pt x="5848" y="16675"/>
                  <a:pt x="5877" y="16675"/>
                  <a:pt x="5888" y="16707"/>
                </a:cubicBezTo>
                <a:cubicBezTo>
                  <a:pt x="5921" y="16796"/>
                  <a:pt x="5909" y="17175"/>
                  <a:pt x="5899" y="17295"/>
                </a:cubicBezTo>
                <a:cubicBezTo>
                  <a:pt x="5893" y="17302"/>
                  <a:pt x="5888" y="17310"/>
                  <a:pt x="5882" y="17317"/>
                </a:cubicBezTo>
                <a:cubicBezTo>
                  <a:pt x="5882" y="17330"/>
                  <a:pt x="5882" y="17341"/>
                  <a:pt x="5882" y="17354"/>
                </a:cubicBezTo>
                <a:cubicBezTo>
                  <a:pt x="5887" y="17363"/>
                  <a:pt x="5890" y="17369"/>
                  <a:pt x="5895" y="17378"/>
                </a:cubicBezTo>
                <a:cubicBezTo>
                  <a:pt x="5887" y="17414"/>
                  <a:pt x="5882" y="17485"/>
                  <a:pt x="5887" y="17529"/>
                </a:cubicBezTo>
                <a:cubicBezTo>
                  <a:pt x="5889" y="17547"/>
                  <a:pt x="5891" y="17565"/>
                  <a:pt x="5893" y="17583"/>
                </a:cubicBezTo>
                <a:cubicBezTo>
                  <a:pt x="5886" y="17605"/>
                  <a:pt x="5880" y="17626"/>
                  <a:pt x="5873" y="17647"/>
                </a:cubicBezTo>
                <a:cubicBezTo>
                  <a:pt x="5882" y="17697"/>
                  <a:pt x="5868" y="17842"/>
                  <a:pt x="5860" y="17889"/>
                </a:cubicBezTo>
                <a:cubicBezTo>
                  <a:pt x="5854" y="17902"/>
                  <a:pt x="5849" y="17916"/>
                  <a:pt x="5844" y="17929"/>
                </a:cubicBezTo>
                <a:cubicBezTo>
                  <a:pt x="5838" y="17972"/>
                  <a:pt x="5832" y="18016"/>
                  <a:pt x="5826" y="18059"/>
                </a:cubicBezTo>
                <a:cubicBezTo>
                  <a:pt x="5822" y="18102"/>
                  <a:pt x="5845" y="18116"/>
                  <a:pt x="5838" y="18172"/>
                </a:cubicBezTo>
                <a:cubicBezTo>
                  <a:pt x="5834" y="18207"/>
                  <a:pt x="5816" y="18226"/>
                  <a:pt x="5811" y="18256"/>
                </a:cubicBezTo>
                <a:cubicBezTo>
                  <a:pt x="5805" y="18291"/>
                  <a:pt x="5819" y="18453"/>
                  <a:pt x="5823" y="18492"/>
                </a:cubicBezTo>
                <a:cubicBezTo>
                  <a:pt x="5825" y="18507"/>
                  <a:pt x="5827" y="18524"/>
                  <a:pt x="5828" y="18540"/>
                </a:cubicBezTo>
                <a:cubicBezTo>
                  <a:pt x="5822" y="18558"/>
                  <a:pt x="5815" y="18575"/>
                  <a:pt x="5808" y="18592"/>
                </a:cubicBezTo>
                <a:cubicBezTo>
                  <a:pt x="5805" y="18608"/>
                  <a:pt x="5813" y="18637"/>
                  <a:pt x="5816" y="18653"/>
                </a:cubicBezTo>
                <a:cubicBezTo>
                  <a:pt x="5814" y="18690"/>
                  <a:pt x="5797" y="18712"/>
                  <a:pt x="5791" y="18747"/>
                </a:cubicBezTo>
                <a:cubicBezTo>
                  <a:pt x="5767" y="18886"/>
                  <a:pt x="5734" y="18992"/>
                  <a:pt x="5716" y="19140"/>
                </a:cubicBezTo>
                <a:cubicBezTo>
                  <a:pt x="5707" y="19150"/>
                  <a:pt x="5694" y="19148"/>
                  <a:pt x="5684" y="19152"/>
                </a:cubicBezTo>
                <a:cubicBezTo>
                  <a:pt x="5683" y="19154"/>
                  <a:pt x="5682" y="19157"/>
                  <a:pt x="5681" y="19158"/>
                </a:cubicBezTo>
                <a:cubicBezTo>
                  <a:pt x="5687" y="19182"/>
                  <a:pt x="5693" y="19206"/>
                  <a:pt x="5698" y="19230"/>
                </a:cubicBezTo>
                <a:cubicBezTo>
                  <a:pt x="5698" y="19266"/>
                  <a:pt x="5698" y="19303"/>
                  <a:pt x="5698" y="19338"/>
                </a:cubicBezTo>
                <a:cubicBezTo>
                  <a:pt x="5702" y="19375"/>
                  <a:pt x="5716" y="19413"/>
                  <a:pt x="5714" y="19456"/>
                </a:cubicBezTo>
                <a:cubicBezTo>
                  <a:pt x="5714" y="19459"/>
                  <a:pt x="5714" y="19461"/>
                  <a:pt x="5714" y="19463"/>
                </a:cubicBezTo>
                <a:cubicBezTo>
                  <a:pt x="5704" y="19527"/>
                  <a:pt x="5654" y="19574"/>
                  <a:pt x="5670" y="19682"/>
                </a:cubicBezTo>
                <a:cubicBezTo>
                  <a:pt x="5674" y="19709"/>
                  <a:pt x="5685" y="19725"/>
                  <a:pt x="5688" y="19759"/>
                </a:cubicBezTo>
                <a:cubicBezTo>
                  <a:pt x="5704" y="19782"/>
                  <a:pt x="5720" y="19768"/>
                  <a:pt x="5730" y="19738"/>
                </a:cubicBezTo>
                <a:cubicBezTo>
                  <a:pt x="5741" y="19738"/>
                  <a:pt x="5746" y="19742"/>
                  <a:pt x="5753" y="19747"/>
                </a:cubicBezTo>
                <a:cubicBezTo>
                  <a:pt x="5750" y="19761"/>
                  <a:pt x="5748" y="19775"/>
                  <a:pt x="5745" y="19790"/>
                </a:cubicBezTo>
                <a:cubicBezTo>
                  <a:pt x="5752" y="19803"/>
                  <a:pt x="5758" y="19806"/>
                  <a:pt x="5763" y="19824"/>
                </a:cubicBezTo>
                <a:cubicBezTo>
                  <a:pt x="5762" y="19830"/>
                  <a:pt x="5763" y="19837"/>
                  <a:pt x="5762" y="19844"/>
                </a:cubicBezTo>
                <a:cubicBezTo>
                  <a:pt x="5754" y="19848"/>
                  <a:pt x="5748" y="19851"/>
                  <a:pt x="5744" y="19864"/>
                </a:cubicBezTo>
                <a:cubicBezTo>
                  <a:pt x="5737" y="19900"/>
                  <a:pt x="5752" y="19932"/>
                  <a:pt x="5755" y="19957"/>
                </a:cubicBezTo>
                <a:cubicBezTo>
                  <a:pt x="5719" y="19977"/>
                  <a:pt x="5736" y="19991"/>
                  <a:pt x="5729" y="20054"/>
                </a:cubicBezTo>
                <a:cubicBezTo>
                  <a:pt x="5726" y="20077"/>
                  <a:pt x="5722" y="20087"/>
                  <a:pt x="5723" y="20115"/>
                </a:cubicBezTo>
                <a:cubicBezTo>
                  <a:pt x="5734" y="20127"/>
                  <a:pt x="5744" y="20138"/>
                  <a:pt x="5754" y="20149"/>
                </a:cubicBezTo>
                <a:cubicBezTo>
                  <a:pt x="5755" y="20155"/>
                  <a:pt x="5756" y="20161"/>
                  <a:pt x="5757" y="20167"/>
                </a:cubicBezTo>
                <a:cubicBezTo>
                  <a:pt x="5749" y="20189"/>
                  <a:pt x="5740" y="20213"/>
                  <a:pt x="5729" y="20227"/>
                </a:cubicBezTo>
                <a:cubicBezTo>
                  <a:pt x="5721" y="20236"/>
                  <a:pt x="5712" y="20237"/>
                  <a:pt x="5707" y="20250"/>
                </a:cubicBezTo>
                <a:cubicBezTo>
                  <a:pt x="5700" y="20274"/>
                  <a:pt x="5713" y="20283"/>
                  <a:pt x="5723" y="20288"/>
                </a:cubicBezTo>
                <a:cubicBezTo>
                  <a:pt x="5682" y="20345"/>
                  <a:pt x="5708" y="20327"/>
                  <a:pt x="5692" y="20416"/>
                </a:cubicBezTo>
                <a:cubicBezTo>
                  <a:pt x="5684" y="20436"/>
                  <a:pt x="5676" y="20459"/>
                  <a:pt x="5669" y="20479"/>
                </a:cubicBezTo>
                <a:cubicBezTo>
                  <a:pt x="5668" y="20480"/>
                  <a:pt x="5667" y="20480"/>
                  <a:pt x="5666" y="20481"/>
                </a:cubicBezTo>
                <a:cubicBezTo>
                  <a:pt x="5662" y="20464"/>
                  <a:pt x="5662" y="20448"/>
                  <a:pt x="5663" y="20427"/>
                </a:cubicBezTo>
                <a:cubicBezTo>
                  <a:pt x="5661" y="20426"/>
                  <a:pt x="5660" y="20425"/>
                  <a:pt x="5658" y="20424"/>
                </a:cubicBezTo>
                <a:cubicBezTo>
                  <a:pt x="5649" y="20434"/>
                  <a:pt x="5647" y="20452"/>
                  <a:pt x="5640" y="20464"/>
                </a:cubicBezTo>
                <a:cubicBezTo>
                  <a:pt x="5639" y="20463"/>
                  <a:pt x="5638" y="20461"/>
                  <a:pt x="5637" y="20460"/>
                </a:cubicBezTo>
                <a:cubicBezTo>
                  <a:pt x="5636" y="20449"/>
                  <a:pt x="5635" y="20438"/>
                  <a:pt x="5633" y="20427"/>
                </a:cubicBezTo>
                <a:cubicBezTo>
                  <a:pt x="5639" y="20411"/>
                  <a:pt x="5647" y="20401"/>
                  <a:pt x="5659" y="20397"/>
                </a:cubicBezTo>
                <a:cubicBezTo>
                  <a:pt x="5659" y="20388"/>
                  <a:pt x="5658" y="20379"/>
                  <a:pt x="5658" y="20370"/>
                </a:cubicBezTo>
                <a:cubicBezTo>
                  <a:pt x="5649" y="20358"/>
                  <a:pt x="5643" y="20359"/>
                  <a:pt x="5628" y="20361"/>
                </a:cubicBezTo>
                <a:cubicBezTo>
                  <a:pt x="5615" y="20401"/>
                  <a:pt x="5599" y="20435"/>
                  <a:pt x="5574" y="20453"/>
                </a:cubicBezTo>
                <a:cubicBezTo>
                  <a:pt x="5570" y="20461"/>
                  <a:pt x="5569" y="20461"/>
                  <a:pt x="5569" y="20471"/>
                </a:cubicBezTo>
                <a:cubicBezTo>
                  <a:pt x="5579" y="20469"/>
                  <a:pt x="5589" y="20467"/>
                  <a:pt x="5598" y="20465"/>
                </a:cubicBezTo>
                <a:cubicBezTo>
                  <a:pt x="5598" y="20475"/>
                  <a:pt x="5598" y="20484"/>
                  <a:pt x="5598" y="20494"/>
                </a:cubicBezTo>
                <a:cubicBezTo>
                  <a:pt x="5627" y="20514"/>
                  <a:pt x="5643" y="20497"/>
                  <a:pt x="5663" y="20537"/>
                </a:cubicBezTo>
                <a:cubicBezTo>
                  <a:pt x="5662" y="20545"/>
                  <a:pt x="5661" y="20554"/>
                  <a:pt x="5659" y="20562"/>
                </a:cubicBezTo>
                <a:cubicBezTo>
                  <a:pt x="5656" y="20572"/>
                  <a:pt x="5652" y="20572"/>
                  <a:pt x="5643" y="20571"/>
                </a:cubicBezTo>
                <a:cubicBezTo>
                  <a:pt x="5637" y="20588"/>
                  <a:pt x="5636" y="20612"/>
                  <a:pt x="5629" y="20630"/>
                </a:cubicBezTo>
                <a:cubicBezTo>
                  <a:pt x="5629" y="20636"/>
                  <a:pt x="5629" y="20642"/>
                  <a:pt x="5629" y="20648"/>
                </a:cubicBezTo>
                <a:lnTo>
                  <a:pt x="5681" y="20645"/>
                </a:lnTo>
                <a:cubicBezTo>
                  <a:pt x="5689" y="20655"/>
                  <a:pt x="5697" y="20664"/>
                  <a:pt x="5704" y="20674"/>
                </a:cubicBezTo>
                <a:cubicBezTo>
                  <a:pt x="5704" y="20678"/>
                  <a:pt x="5704" y="20682"/>
                  <a:pt x="5704" y="20686"/>
                </a:cubicBezTo>
                <a:cubicBezTo>
                  <a:pt x="5703" y="20690"/>
                  <a:pt x="5701" y="20695"/>
                  <a:pt x="5699" y="20699"/>
                </a:cubicBezTo>
                <a:cubicBezTo>
                  <a:pt x="5676" y="20697"/>
                  <a:pt x="5674" y="20679"/>
                  <a:pt x="5650" y="20679"/>
                </a:cubicBezTo>
                <a:cubicBezTo>
                  <a:pt x="5651" y="20704"/>
                  <a:pt x="5652" y="20728"/>
                  <a:pt x="5653" y="20753"/>
                </a:cubicBezTo>
                <a:cubicBezTo>
                  <a:pt x="5650" y="20765"/>
                  <a:pt x="5647" y="20776"/>
                  <a:pt x="5643" y="20787"/>
                </a:cubicBezTo>
                <a:cubicBezTo>
                  <a:pt x="5644" y="20824"/>
                  <a:pt x="5645" y="20860"/>
                  <a:pt x="5646" y="20896"/>
                </a:cubicBezTo>
                <a:cubicBezTo>
                  <a:pt x="5653" y="20886"/>
                  <a:pt x="5659" y="20876"/>
                  <a:pt x="5666" y="20866"/>
                </a:cubicBezTo>
                <a:cubicBezTo>
                  <a:pt x="5667" y="20875"/>
                  <a:pt x="5668" y="20886"/>
                  <a:pt x="5669" y="20895"/>
                </a:cubicBezTo>
                <a:cubicBezTo>
                  <a:pt x="5662" y="20905"/>
                  <a:pt x="5655" y="20913"/>
                  <a:pt x="5648" y="20923"/>
                </a:cubicBezTo>
                <a:cubicBezTo>
                  <a:pt x="5651" y="20955"/>
                  <a:pt x="5658" y="20962"/>
                  <a:pt x="5666" y="20982"/>
                </a:cubicBezTo>
                <a:cubicBezTo>
                  <a:pt x="5661" y="20989"/>
                  <a:pt x="5657" y="20997"/>
                  <a:pt x="5652" y="21004"/>
                </a:cubicBezTo>
                <a:cubicBezTo>
                  <a:pt x="5654" y="21021"/>
                  <a:pt x="5656" y="21037"/>
                  <a:pt x="5658" y="21054"/>
                </a:cubicBezTo>
                <a:cubicBezTo>
                  <a:pt x="5666" y="21067"/>
                  <a:pt x="5679" y="21053"/>
                  <a:pt x="5692" y="21051"/>
                </a:cubicBezTo>
                <a:cubicBezTo>
                  <a:pt x="5684" y="21094"/>
                  <a:pt x="5675" y="21125"/>
                  <a:pt x="5647" y="21133"/>
                </a:cubicBezTo>
                <a:cubicBezTo>
                  <a:pt x="5657" y="21154"/>
                  <a:pt x="5671" y="21158"/>
                  <a:pt x="5681" y="21174"/>
                </a:cubicBezTo>
                <a:cubicBezTo>
                  <a:pt x="5683" y="21180"/>
                  <a:pt x="5684" y="21189"/>
                  <a:pt x="5686" y="21195"/>
                </a:cubicBezTo>
                <a:cubicBezTo>
                  <a:pt x="5683" y="21205"/>
                  <a:pt x="5683" y="21209"/>
                  <a:pt x="5677" y="21213"/>
                </a:cubicBezTo>
                <a:cubicBezTo>
                  <a:pt x="5676" y="21218"/>
                  <a:pt x="5673" y="21221"/>
                  <a:pt x="5672" y="21225"/>
                </a:cubicBezTo>
                <a:cubicBezTo>
                  <a:pt x="5678" y="21234"/>
                  <a:pt x="5684" y="21245"/>
                  <a:pt x="5687" y="21259"/>
                </a:cubicBezTo>
                <a:cubicBezTo>
                  <a:pt x="5694" y="21255"/>
                  <a:pt x="5701" y="21250"/>
                  <a:pt x="5708" y="21246"/>
                </a:cubicBezTo>
                <a:cubicBezTo>
                  <a:pt x="5708" y="21246"/>
                  <a:pt x="5709" y="21246"/>
                  <a:pt x="5710" y="21246"/>
                </a:cubicBezTo>
                <a:cubicBezTo>
                  <a:pt x="5709" y="21271"/>
                  <a:pt x="5704" y="21277"/>
                  <a:pt x="5701" y="21297"/>
                </a:cubicBezTo>
                <a:cubicBezTo>
                  <a:pt x="5707" y="21302"/>
                  <a:pt x="5713" y="21306"/>
                  <a:pt x="5719" y="21311"/>
                </a:cubicBezTo>
                <a:cubicBezTo>
                  <a:pt x="5726" y="21301"/>
                  <a:pt x="5733" y="21291"/>
                  <a:pt x="5740" y="21282"/>
                </a:cubicBezTo>
                <a:cubicBezTo>
                  <a:pt x="5744" y="21305"/>
                  <a:pt x="5749" y="21315"/>
                  <a:pt x="5762" y="21320"/>
                </a:cubicBezTo>
                <a:cubicBezTo>
                  <a:pt x="5760" y="21347"/>
                  <a:pt x="5754" y="21352"/>
                  <a:pt x="5754" y="21385"/>
                </a:cubicBezTo>
                <a:cubicBezTo>
                  <a:pt x="5774" y="21384"/>
                  <a:pt x="5800" y="21381"/>
                  <a:pt x="5811" y="21398"/>
                </a:cubicBezTo>
                <a:cubicBezTo>
                  <a:pt x="5784" y="21408"/>
                  <a:pt x="5766" y="21426"/>
                  <a:pt x="5738" y="21434"/>
                </a:cubicBezTo>
                <a:cubicBezTo>
                  <a:pt x="5737" y="21452"/>
                  <a:pt x="5739" y="21457"/>
                  <a:pt x="5741" y="21473"/>
                </a:cubicBezTo>
                <a:cubicBezTo>
                  <a:pt x="5776" y="21476"/>
                  <a:pt x="5802" y="21437"/>
                  <a:pt x="5827" y="21426"/>
                </a:cubicBezTo>
                <a:cubicBezTo>
                  <a:pt x="5833" y="21433"/>
                  <a:pt x="5839" y="21439"/>
                  <a:pt x="5845" y="21446"/>
                </a:cubicBezTo>
                <a:cubicBezTo>
                  <a:pt x="5845" y="21449"/>
                  <a:pt x="5845" y="21452"/>
                  <a:pt x="5845" y="21455"/>
                </a:cubicBezTo>
                <a:cubicBezTo>
                  <a:pt x="5828" y="21489"/>
                  <a:pt x="5813" y="21525"/>
                  <a:pt x="5798" y="21564"/>
                </a:cubicBezTo>
                <a:cubicBezTo>
                  <a:pt x="5807" y="21574"/>
                  <a:pt x="5816" y="21586"/>
                  <a:pt x="5825" y="21597"/>
                </a:cubicBezTo>
                <a:cubicBezTo>
                  <a:pt x="5835" y="21593"/>
                  <a:pt x="5845" y="21589"/>
                  <a:pt x="5855" y="21586"/>
                </a:cubicBezTo>
                <a:cubicBezTo>
                  <a:pt x="5869" y="21537"/>
                  <a:pt x="5856" y="21469"/>
                  <a:pt x="5872" y="21421"/>
                </a:cubicBezTo>
                <a:cubicBezTo>
                  <a:pt x="5872" y="21421"/>
                  <a:pt x="5873" y="21421"/>
                  <a:pt x="5873" y="21421"/>
                </a:cubicBezTo>
                <a:cubicBezTo>
                  <a:pt x="5885" y="21393"/>
                  <a:pt x="5905" y="21407"/>
                  <a:pt x="5926" y="21394"/>
                </a:cubicBezTo>
                <a:cubicBezTo>
                  <a:pt x="5941" y="21384"/>
                  <a:pt x="5944" y="21357"/>
                  <a:pt x="5957" y="21344"/>
                </a:cubicBezTo>
                <a:cubicBezTo>
                  <a:pt x="5960" y="21343"/>
                  <a:pt x="5962" y="21340"/>
                  <a:pt x="5965" y="21338"/>
                </a:cubicBezTo>
                <a:cubicBezTo>
                  <a:pt x="5980" y="21358"/>
                  <a:pt x="5998" y="21373"/>
                  <a:pt x="6020" y="21360"/>
                </a:cubicBezTo>
                <a:cubicBezTo>
                  <a:pt x="6005" y="21285"/>
                  <a:pt x="5941" y="21159"/>
                  <a:pt x="5987" y="21049"/>
                </a:cubicBezTo>
                <a:cubicBezTo>
                  <a:pt x="6002" y="21011"/>
                  <a:pt x="6042" y="21016"/>
                  <a:pt x="6058" y="20979"/>
                </a:cubicBezTo>
                <a:cubicBezTo>
                  <a:pt x="6074" y="20943"/>
                  <a:pt x="6060" y="20909"/>
                  <a:pt x="6066" y="20864"/>
                </a:cubicBezTo>
                <a:cubicBezTo>
                  <a:pt x="6072" y="20845"/>
                  <a:pt x="6078" y="20826"/>
                  <a:pt x="6084" y="20807"/>
                </a:cubicBezTo>
                <a:cubicBezTo>
                  <a:pt x="6117" y="20730"/>
                  <a:pt x="6209" y="20720"/>
                  <a:pt x="6189" y="20566"/>
                </a:cubicBezTo>
                <a:cubicBezTo>
                  <a:pt x="6180" y="20552"/>
                  <a:pt x="6162" y="20555"/>
                  <a:pt x="6149" y="20547"/>
                </a:cubicBezTo>
                <a:cubicBezTo>
                  <a:pt x="6127" y="20534"/>
                  <a:pt x="6096" y="20491"/>
                  <a:pt x="6086" y="20455"/>
                </a:cubicBezTo>
                <a:cubicBezTo>
                  <a:pt x="6060" y="20360"/>
                  <a:pt x="6109" y="20265"/>
                  <a:pt x="6146" y="20237"/>
                </a:cubicBezTo>
                <a:cubicBezTo>
                  <a:pt x="6166" y="20232"/>
                  <a:pt x="6187" y="20226"/>
                  <a:pt x="6207" y="20221"/>
                </a:cubicBezTo>
                <a:cubicBezTo>
                  <a:pt x="6206" y="20206"/>
                  <a:pt x="6198" y="20199"/>
                  <a:pt x="6196" y="20178"/>
                </a:cubicBezTo>
                <a:cubicBezTo>
                  <a:pt x="6226" y="20129"/>
                  <a:pt x="6218" y="20114"/>
                  <a:pt x="6217" y="20031"/>
                </a:cubicBezTo>
                <a:cubicBezTo>
                  <a:pt x="6230" y="19997"/>
                  <a:pt x="6254" y="19965"/>
                  <a:pt x="6278" y="19951"/>
                </a:cubicBezTo>
                <a:cubicBezTo>
                  <a:pt x="6278" y="19949"/>
                  <a:pt x="6278" y="19948"/>
                  <a:pt x="6279" y="19946"/>
                </a:cubicBezTo>
                <a:cubicBezTo>
                  <a:pt x="6264" y="19939"/>
                  <a:pt x="6250" y="19932"/>
                  <a:pt x="6236" y="19926"/>
                </a:cubicBezTo>
                <a:cubicBezTo>
                  <a:pt x="6235" y="19922"/>
                  <a:pt x="6234" y="19919"/>
                  <a:pt x="6234" y="19916"/>
                </a:cubicBezTo>
                <a:cubicBezTo>
                  <a:pt x="6242" y="19900"/>
                  <a:pt x="6271" y="19884"/>
                  <a:pt x="6287" y="19893"/>
                </a:cubicBezTo>
                <a:cubicBezTo>
                  <a:pt x="6292" y="19900"/>
                  <a:pt x="6291" y="19911"/>
                  <a:pt x="6297" y="19919"/>
                </a:cubicBezTo>
                <a:cubicBezTo>
                  <a:pt x="6303" y="19926"/>
                  <a:pt x="6314" y="19918"/>
                  <a:pt x="6322" y="19914"/>
                </a:cubicBezTo>
                <a:cubicBezTo>
                  <a:pt x="6323" y="19910"/>
                  <a:pt x="6325" y="19906"/>
                  <a:pt x="6326" y="19903"/>
                </a:cubicBezTo>
                <a:cubicBezTo>
                  <a:pt x="6323" y="19875"/>
                  <a:pt x="6321" y="19847"/>
                  <a:pt x="6318" y="19819"/>
                </a:cubicBezTo>
                <a:cubicBezTo>
                  <a:pt x="6317" y="19818"/>
                  <a:pt x="6317" y="19816"/>
                  <a:pt x="6316" y="19815"/>
                </a:cubicBezTo>
                <a:cubicBezTo>
                  <a:pt x="6305" y="19821"/>
                  <a:pt x="6294" y="19828"/>
                  <a:pt x="6282" y="19834"/>
                </a:cubicBezTo>
                <a:cubicBezTo>
                  <a:pt x="6285" y="19843"/>
                  <a:pt x="6288" y="19851"/>
                  <a:pt x="6291" y="19860"/>
                </a:cubicBezTo>
                <a:cubicBezTo>
                  <a:pt x="6289" y="19861"/>
                  <a:pt x="6289" y="19860"/>
                  <a:pt x="6287" y="19861"/>
                </a:cubicBezTo>
                <a:cubicBezTo>
                  <a:pt x="6267" y="19889"/>
                  <a:pt x="6248" y="19841"/>
                  <a:pt x="6238" y="19831"/>
                </a:cubicBezTo>
                <a:cubicBezTo>
                  <a:pt x="6235" y="19800"/>
                  <a:pt x="6244" y="19783"/>
                  <a:pt x="6242" y="19754"/>
                </a:cubicBezTo>
                <a:cubicBezTo>
                  <a:pt x="6239" y="19720"/>
                  <a:pt x="6228" y="19701"/>
                  <a:pt x="6226" y="19659"/>
                </a:cubicBezTo>
                <a:cubicBezTo>
                  <a:pt x="6229" y="19653"/>
                  <a:pt x="6231" y="19646"/>
                  <a:pt x="6234" y="19640"/>
                </a:cubicBezTo>
                <a:cubicBezTo>
                  <a:pt x="6259" y="19634"/>
                  <a:pt x="6286" y="19673"/>
                  <a:pt x="6309" y="19684"/>
                </a:cubicBezTo>
                <a:cubicBezTo>
                  <a:pt x="6337" y="19697"/>
                  <a:pt x="6367" y="19679"/>
                  <a:pt x="6385" y="19665"/>
                </a:cubicBezTo>
                <a:cubicBezTo>
                  <a:pt x="6395" y="19656"/>
                  <a:pt x="6405" y="19654"/>
                  <a:pt x="6410" y="19635"/>
                </a:cubicBezTo>
                <a:cubicBezTo>
                  <a:pt x="6415" y="19604"/>
                  <a:pt x="6394" y="19591"/>
                  <a:pt x="6398" y="19556"/>
                </a:cubicBezTo>
                <a:cubicBezTo>
                  <a:pt x="6401" y="19525"/>
                  <a:pt x="6415" y="19492"/>
                  <a:pt x="6423" y="19461"/>
                </a:cubicBezTo>
                <a:cubicBezTo>
                  <a:pt x="6414" y="19445"/>
                  <a:pt x="6393" y="19409"/>
                  <a:pt x="6407" y="19371"/>
                </a:cubicBezTo>
                <a:cubicBezTo>
                  <a:pt x="6410" y="19364"/>
                  <a:pt x="6434" y="19377"/>
                  <a:pt x="6444" y="19382"/>
                </a:cubicBezTo>
                <a:cubicBezTo>
                  <a:pt x="6476" y="19394"/>
                  <a:pt x="6521" y="19385"/>
                  <a:pt x="6554" y="19373"/>
                </a:cubicBezTo>
                <a:cubicBezTo>
                  <a:pt x="6602" y="19355"/>
                  <a:pt x="6684" y="19341"/>
                  <a:pt x="6706" y="19282"/>
                </a:cubicBezTo>
                <a:cubicBezTo>
                  <a:pt x="6714" y="19260"/>
                  <a:pt x="6715" y="19232"/>
                  <a:pt x="6722" y="19212"/>
                </a:cubicBezTo>
                <a:cubicBezTo>
                  <a:pt x="6735" y="19180"/>
                  <a:pt x="6756" y="19147"/>
                  <a:pt x="6763" y="19107"/>
                </a:cubicBezTo>
                <a:cubicBezTo>
                  <a:pt x="6768" y="19094"/>
                  <a:pt x="6762" y="19067"/>
                  <a:pt x="6760" y="19048"/>
                </a:cubicBezTo>
                <a:cubicBezTo>
                  <a:pt x="6743" y="19027"/>
                  <a:pt x="6710" y="19010"/>
                  <a:pt x="6722" y="18947"/>
                </a:cubicBezTo>
                <a:cubicBezTo>
                  <a:pt x="6725" y="18929"/>
                  <a:pt x="6730" y="18927"/>
                  <a:pt x="6731" y="18899"/>
                </a:cubicBezTo>
                <a:cubicBezTo>
                  <a:pt x="6710" y="18847"/>
                  <a:pt x="6671" y="18840"/>
                  <a:pt x="6649" y="18780"/>
                </a:cubicBezTo>
                <a:cubicBezTo>
                  <a:pt x="6648" y="18776"/>
                  <a:pt x="6648" y="18773"/>
                  <a:pt x="6648" y="18769"/>
                </a:cubicBezTo>
                <a:cubicBezTo>
                  <a:pt x="6652" y="18758"/>
                  <a:pt x="6656" y="18748"/>
                  <a:pt x="6660" y="18737"/>
                </a:cubicBezTo>
                <a:cubicBezTo>
                  <a:pt x="6674" y="18744"/>
                  <a:pt x="6683" y="18773"/>
                  <a:pt x="6694" y="18788"/>
                </a:cubicBezTo>
                <a:cubicBezTo>
                  <a:pt x="6739" y="18777"/>
                  <a:pt x="6763" y="18780"/>
                  <a:pt x="6788" y="18841"/>
                </a:cubicBezTo>
                <a:cubicBezTo>
                  <a:pt x="6809" y="18840"/>
                  <a:pt x="6822" y="18819"/>
                  <a:pt x="6845" y="18817"/>
                </a:cubicBezTo>
                <a:cubicBezTo>
                  <a:pt x="6862" y="18815"/>
                  <a:pt x="6874" y="18845"/>
                  <a:pt x="6898" y="18831"/>
                </a:cubicBezTo>
                <a:cubicBezTo>
                  <a:pt x="6936" y="18811"/>
                  <a:pt x="6951" y="18747"/>
                  <a:pt x="6972" y="18695"/>
                </a:cubicBezTo>
                <a:cubicBezTo>
                  <a:pt x="6994" y="18640"/>
                  <a:pt x="7028" y="18604"/>
                  <a:pt x="7043" y="18534"/>
                </a:cubicBezTo>
                <a:cubicBezTo>
                  <a:pt x="7048" y="18488"/>
                  <a:pt x="7053" y="18443"/>
                  <a:pt x="7059" y="18398"/>
                </a:cubicBezTo>
                <a:cubicBezTo>
                  <a:pt x="7066" y="18363"/>
                  <a:pt x="7091" y="18351"/>
                  <a:pt x="7101" y="18319"/>
                </a:cubicBezTo>
                <a:cubicBezTo>
                  <a:pt x="7105" y="18287"/>
                  <a:pt x="7110" y="18254"/>
                  <a:pt x="7114" y="18222"/>
                </a:cubicBezTo>
                <a:cubicBezTo>
                  <a:pt x="7114" y="18221"/>
                  <a:pt x="7114" y="18219"/>
                  <a:pt x="7114" y="18218"/>
                </a:cubicBezTo>
                <a:cubicBezTo>
                  <a:pt x="7124" y="18227"/>
                  <a:pt x="7137" y="18235"/>
                  <a:pt x="7151" y="18225"/>
                </a:cubicBezTo>
                <a:cubicBezTo>
                  <a:pt x="7152" y="18225"/>
                  <a:pt x="7152" y="18225"/>
                  <a:pt x="7152" y="18225"/>
                </a:cubicBezTo>
                <a:cubicBezTo>
                  <a:pt x="7155" y="18302"/>
                  <a:pt x="7108" y="18343"/>
                  <a:pt x="7099" y="18421"/>
                </a:cubicBezTo>
                <a:cubicBezTo>
                  <a:pt x="7121" y="18383"/>
                  <a:pt x="7150" y="18331"/>
                  <a:pt x="7164" y="18279"/>
                </a:cubicBezTo>
                <a:cubicBezTo>
                  <a:pt x="7174" y="18230"/>
                  <a:pt x="7185" y="18181"/>
                  <a:pt x="7197" y="18132"/>
                </a:cubicBezTo>
                <a:cubicBezTo>
                  <a:pt x="7234" y="18021"/>
                  <a:pt x="7302" y="18012"/>
                  <a:pt x="7283" y="17789"/>
                </a:cubicBezTo>
                <a:cubicBezTo>
                  <a:pt x="7280" y="17758"/>
                  <a:pt x="7275" y="17742"/>
                  <a:pt x="7270" y="17719"/>
                </a:cubicBezTo>
                <a:cubicBezTo>
                  <a:pt x="7280" y="17697"/>
                  <a:pt x="7299" y="17637"/>
                  <a:pt x="7274" y="17617"/>
                </a:cubicBezTo>
                <a:cubicBezTo>
                  <a:pt x="7274" y="17612"/>
                  <a:pt x="7274" y="17607"/>
                  <a:pt x="7274" y="17602"/>
                </a:cubicBezTo>
                <a:cubicBezTo>
                  <a:pt x="7306" y="17607"/>
                  <a:pt x="7309" y="17572"/>
                  <a:pt x="7326" y="17545"/>
                </a:cubicBezTo>
                <a:cubicBezTo>
                  <a:pt x="7343" y="17517"/>
                  <a:pt x="7433" y="17397"/>
                  <a:pt x="7453" y="17390"/>
                </a:cubicBezTo>
                <a:cubicBezTo>
                  <a:pt x="7464" y="17386"/>
                  <a:pt x="7473" y="17399"/>
                  <a:pt x="7481" y="17403"/>
                </a:cubicBezTo>
                <a:cubicBezTo>
                  <a:pt x="7488" y="17389"/>
                  <a:pt x="7494" y="17373"/>
                  <a:pt x="7501" y="17359"/>
                </a:cubicBezTo>
                <a:cubicBezTo>
                  <a:pt x="7519" y="17338"/>
                  <a:pt x="7532" y="17346"/>
                  <a:pt x="7536" y="17298"/>
                </a:cubicBezTo>
                <a:cubicBezTo>
                  <a:pt x="7557" y="17293"/>
                  <a:pt x="7581" y="17294"/>
                  <a:pt x="7597" y="17300"/>
                </a:cubicBezTo>
                <a:cubicBezTo>
                  <a:pt x="7632" y="17313"/>
                  <a:pt x="7670" y="17296"/>
                  <a:pt x="7703" y="17290"/>
                </a:cubicBezTo>
                <a:cubicBezTo>
                  <a:pt x="7702" y="17217"/>
                  <a:pt x="7732" y="17193"/>
                  <a:pt x="7766" y="17187"/>
                </a:cubicBezTo>
                <a:cubicBezTo>
                  <a:pt x="7764" y="17167"/>
                  <a:pt x="7763" y="17146"/>
                  <a:pt x="7761" y="17126"/>
                </a:cubicBezTo>
                <a:cubicBezTo>
                  <a:pt x="7765" y="17076"/>
                  <a:pt x="7787" y="17043"/>
                  <a:pt x="7799" y="17007"/>
                </a:cubicBezTo>
                <a:cubicBezTo>
                  <a:pt x="7806" y="16979"/>
                  <a:pt x="7813" y="16951"/>
                  <a:pt x="7821" y="16923"/>
                </a:cubicBezTo>
                <a:cubicBezTo>
                  <a:pt x="7828" y="16904"/>
                  <a:pt x="7844" y="16893"/>
                  <a:pt x="7847" y="16869"/>
                </a:cubicBezTo>
                <a:cubicBezTo>
                  <a:pt x="7846" y="16844"/>
                  <a:pt x="7844" y="16820"/>
                  <a:pt x="7843" y="16796"/>
                </a:cubicBezTo>
                <a:cubicBezTo>
                  <a:pt x="7836" y="16727"/>
                  <a:pt x="7857" y="16678"/>
                  <a:pt x="7883" y="16661"/>
                </a:cubicBezTo>
                <a:cubicBezTo>
                  <a:pt x="7883" y="16642"/>
                  <a:pt x="7875" y="16605"/>
                  <a:pt x="7879" y="16571"/>
                </a:cubicBezTo>
                <a:cubicBezTo>
                  <a:pt x="7884" y="16528"/>
                  <a:pt x="7900" y="16473"/>
                  <a:pt x="7896" y="16422"/>
                </a:cubicBezTo>
                <a:cubicBezTo>
                  <a:pt x="7892" y="16355"/>
                  <a:pt x="7888" y="16288"/>
                  <a:pt x="7884" y="16221"/>
                </a:cubicBezTo>
                <a:cubicBezTo>
                  <a:pt x="7890" y="16152"/>
                  <a:pt x="7904" y="16105"/>
                  <a:pt x="7905" y="16034"/>
                </a:cubicBezTo>
                <a:cubicBezTo>
                  <a:pt x="7908" y="16035"/>
                  <a:pt x="7911" y="16036"/>
                  <a:pt x="7915" y="16036"/>
                </a:cubicBezTo>
                <a:cubicBezTo>
                  <a:pt x="7918" y="16050"/>
                  <a:pt x="7923" y="16064"/>
                  <a:pt x="7926" y="16077"/>
                </a:cubicBezTo>
                <a:cubicBezTo>
                  <a:pt x="7928" y="16077"/>
                  <a:pt x="7929" y="16077"/>
                  <a:pt x="7930" y="16077"/>
                </a:cubicBezTo>
                <a:cubicBezTo>
                  <a:pt x="7955" y="16043"/>
                  <a:pt x="7982" y="15954"/>
                  <a:pt x="7994" y="15898"/>
                </a:cubicBezTo>
                <a:cubicBezTo>
                  <a:pt x="8001" y="15866"/>
                  <a:pt x="7995" y="15846"/>
                  <a:pt x="8006" y="15825"/>
                </a:cubicBezTo>
                <a:cubicBezTo>
                  <a:pt x="8016" y="15816"/>
                  <a:pt x="8027" y="15809"/>
                  <a:pt x="8037" y="15801"/>
                </a:cubicBezTo>
                <a:cubicBezTo>
                  <a:pt x="8097" y="15715"/>
                  <a:pt x="8137" y="15622"/>
                  <a:pt x="8153" y="15453"/>
                </a:cubicBezTo>
                <a:cubicBezTo>
                  <a:pt x="8159" y="15389"/>
                  <a:pt x="8123" y="15158"/>
                  <a:pt x="8106" y="15149"/>
                </a:cubicBezTo>
                <a:cubicBezTo>
                  <a:pt x="8071" y="15128"/>
                  <a:pt x="8032" y="15151"/>
                  <a:pt x="8006" y="15120"/>
                </a:cubicBezTo>
                <a:cubicBezTo>
                  <a:pt x="7950" y="15053"/>
                  <a:pt x="7912" y="14943"/>
                  <a:pt x="7847" y="14891"/>
                </a:cubicBezTo>
                <a:cubicBezTo>
                  <a:pt x="7810" y="14860"/>
                  <a:pt x="7785" y="14897"/>
                  <a:pt x="7749" y="14886"/>
                </a:cubicBezTo>
                <a:cubicBezTo>
                  <a:pt x="7727" y="14880"/>
                  <a:pt x="7705" y="14874"/>
                  <a:pt x="7683" y="14868"/>
                </a:cubicBezTo>
                <a:cubicBezTo>
                  <a:pt x="7665" y="14858"/>
                  <a:pt x="7644" y="14814"/>
                  <a:pt x="7621" y="14818"/>
                </a:cubicBezTo>
                <a:cubicBezTo>
                  <a:pt x="7588" y="14826"/>
                  <a:pt x="7558" y="14875"/>
                  <a:pt x="7536" y="14904"/>
                </a:cubicBezTo>
                <a:cubicBezTo>
                  <a:pt x="7525" y="14823"/>
                  <a:pt x="7540" y="14855"/>
                  <a:pt x="7545" y="14806"/>
                </a:cubicBezTo>
                <a:cubicBezTo>
                  <a:pt x="7548" y="14775"/>
                  <a:pt x="7520" y="14728"/>
                  <a:pt x="7505" y="14725"/>
                </a:cubicBezTo>
                <a:cubicBezTo>
                  <a:pt x="7501" y="14731"/>
                  <a:pt x="7497" y="14737"/>
                  <a:pt x="7493" y="14744"/>
                </a:cubicBezTo>
                <a:cubicBezTo>
                  <a:pt x="7491" y="14744"/>
                  <a:pt x="7489" y="14744"/>
                  <a:pt x="7488" y="14744"/>
                </a:cubicBezTo>
                <a:cubicBezTo>
                  <a:pt x="7476" y="14674"/>
                  <a:pt x="7439" y="14682"/>
                  <a:pt x="7402" y="14658"/>
                </a:cubicBezTo>
                <a:cubicBezTo>
                  <a:pt x="7388" y="14648"/>
                  <a:pt x="7379" y="14630"/>
                  <a:pt x="7368" y="14617"/>
                </a:cubicBezTo>
                <a:cubicBezTo>
                  <a:pt x="7356" y="14620"/>
                  <a:pt x="7335" y="14622"/>
                  <a:pt x="7320" y="14629"/>
                </a:cubicBezTo>
                <a:cubicBezTo>
                  <a:pt x="7305" y="14640"/>
                  <a:pt x="7303" y="14682"/>
                  <a:pt x="7294" y="14707"/>
                </a:cubicBezTo>
                <a:cubicBezTo>
                  <a:pt x="7279" y="14748"/>
                  <a:pt x="7244" y="14758"/>
                  <a:pt x="7233" y="14806"/>
                </a:cubicBezTo>
                <a:cubicBezTo>
                  <a:pt x="7232" y="14807"/>
                  <a:pt x="7231" y="14808"/>
                  <a:pt x="7230" y="14809"/>
                </a:cubicBezTo>
                <a:cubicBezTo>
                  <a:pt x="7230" y="14781"/>
                  <a:pt x="7232" y="14767"/>
                  <a:pt x="7237" y="14749"/>
                </a:cubicBezTo>
                <a:cubicBezTo>
                  <a:pt x="7213" y="14758"/>
                  <a:pt x="7181" y="14769"/>
                  <a:pt x="7151" y="14760"/>
                </a:cubicBezTo>
                <a:cubicBezTo>
                  <a:pt x="7144" y="14729"/>
                  <a:pt x="7137" y="14698"/>
                  <a:pt x="7130" y="14667"/>
                </a:cubicBezTo>
                <a:cubicBezTo>
                  <a:pt x="7111" y="14677"/>
                  <a:pt x="7086" y="14734"/>
                  <a:pt x="7060" y="14716"/>
                </a:cubicBezTo>
                <a:cubicBezTo>
                  <a:pt x="7059" y="14714"/>
                  <a:pt x="7058" y="14712"/>
                  <a:pt x="7057" y="14710"/>
                </a:cubicBezTo>
                <a:cubicBezTo>
                  <a:pt x="7075" y="14684"/>
                  <a:pt x="7079" y="14631"/>
                  <a:pt x="7092" y="14594"/>
                </a:cubicBezTo>
                <a:cubicBezTo>
                  <a:pt x="7106" y="14551"/>
                  <a:pt x="7136" y="14538"/>
                  <a:pt x="7152" y="14500"/>
                </a:cubicBezTo>
                <a:cubicBezTo>
                  <a:pt x="7167" y="14467"/>
                  <a:pt x="7173" y="14416"/>
                  <a:pt x="7195" y="14398"/>
                </a:cubicBezTo>
                <a:cubicBezTo>
                  <a:pt x="7203" y="14376"/>
                  <a:pt x="7199" y="14354"/>
                  <a:pt x="7194" y="14331"/>
                </a:cubicBezTo>
                <a:cubicBezTo>
                  <a:pt x="7137" y="14316"/>
                  <a:pt x="7134" y="14186"/>
                  <a:pt x="7119" y="14097"/>
                </a:cubicBezTo>
                <a:cubicBezTo>
                  <a:pt x="7114" y="14069"/>
                  <a:pt x="7116" y="14040"/>
                  <a:pt x="7103" y="14028"/>
                </a:cubicBezTo>
                <a:cubicBezTo>
                  <a:pt x="7096" y="14026"/>
                  <a:pt x="7093" y="14042"/>
                  <a:pt x="7086" y="14039"/>
                </a:cubicBezTo>
                <a:cubicBezTo>
                  <a:pt x="7083" y="14038"/>
                  <a:pt x="7017" y="13910"/>
                  <a:pt x="6999" y="13894"/>
                </a:cubicBezTo>
                <a:cubicBezTo>
                  <a:pt x="6975" y="13879"/>
                  <a:pt x="6950" y="13865"/>
                  <a:pt x="6926" y="13850"/>
                </a:cubicBezTo>
                <a:cubicBezTo>
                  <a:pt x="6907" y="13836"/>
                  <a:pt x="6852" y="13805"/>
                  <a:pt x="6819" y="13830"/>
                </a:cubicBezTo>
                <a:cubicBezTo>
                  <a:pt x="6816" y="13836"/>
                  <a:pt x="6816" y="13840"/>
                  <a:pt x="6815" y="13853"/>
                </a:cubicBezTo>
                <a:cubicBezTo>
                  <a:pt x="6795" y="13844"/>
                  <a:pt x="6774" y="13836"/>
                  <a:pt x="6753" y="13828"/>
                </a:cubicBezTo>
                <a:cubicBezTo>
                  <a:pt x="6753" y="13828"/>
                  <a:pt x="6752" y="13828"/>
                  <a:pt x="6752" y="13828"/>
                </a:cubicBezTo>
                <a:cubicBezTo>
                  <a:pt x="6749" y="13834"/>
                  <a:pt x="6745" y="13839"/>
                  <a:pt x="6742" y="13844"/>
                </a:cubicBezTo>
                <a:cubicBezTo>
                  <a:pt x="6729" y="13796"/>
                  <a:pt x="6695" y="13719"/>
                  <a:pt x="6657" y="13728"/>
                </a:cubicBezTo>
                <a:cubicBezTo>
                  <a:pt x="6655" y="13736"/>
                  <a:pt x="6653" y="13744"/>
                  <a:pt x="6651" y="13753"/>
                </a:cubicBezTo>
                <a:cubicBezTo>
                  <a:pt x="6648" y="13718"/>
                  <a:pt x="6645" y="13684"/>
                  <a:pt x="6642" y="13649"/>
                </a:cubicBezTo>
                <a:cubicBezTo>
                  <a:pt x="6626" y="13598"/>
                  <a:pt x="6574" y="13533"/>
                  <a:pt x="6539" y="13519"/>
                </a:cubicBezTo>
                <a:cubicBezTo>
                  <a:pt x="6521" y="13511"/>
                  <a:pt x="6501" y="13521"/>
                  <a:pt x="6487" y="13526"/>
                </a:cubicBezTo>
                <a:cubicBezTo>
                  <a:pt x="6473" y="13525"/>
                  <a:pt x="6458" y="13523"/>
                  <a:pt x="6444" y="13521"/>
                </a:cubicBezTo>
                <a:cubicBezTo>
                  <a:pt x="6444" y="13520"/>
                  <a:pt x="6444" y="13520"/>
                  <a:pt x="6444" y="13519"/>
                </a:cubicBezTo>
                <a:cubicBezTo>
                  <a:pt x="6485" y="13495"/>
                  <a:pt x="6474" y="13451"/>
                  <a:pt x="6504" y="13429"/>
                </a:cubicBezTo>
                <a:cubicBezTo>
                  <a:pt x="6504" y="13427"/>
                  <a:pt x="6505" y="13426"/>
                  <a:pt x="6505" y="13424"/>
                </a:cubicBezTo>
                <a:cubicBezTo>
                  <a:pt x="6494" y="13410"/>
                  <a:pt x="6478" y="13406"/>
                  <a:pt x="6466" y="13390"/>
                </a:cubicBezTo>
                <a:cubicBezTo>
                  <a:pt x="6463" y="13383"/>
                  <a:pt x="6461" y="13375"/>
                  <a:pt x="6458" y="13367"/>
                </a:cubicBezTo>
                <a:cubicBezTo>
                  <a:pt x="6448" y="13355"/>
                  <a:pt x="6429" y="13359"/>
                  <a:pt x="6421" y="13349"/>
                </a:cubicBezTo>
                <a:cubicBezTo>
                  <a:pt x="6415" y="13357"/>
                  <a:pt x="6412" y="13363"/>
                  <a:pt x="6410" y="13379"/>
                </a:cubicBezTo>
                <a:cubicBezTo>
                  <a:pt x="6409" y="13380"/>
                  <a:pt x="6409" y="13382"/>
                  <a:pt x="6408" y="13383"/>
                </a:cubicBezTo>
                <a:cubicBezTo>
                  <a:pt x="6405" y="13337"/>
                  <a:pt x="6387" y="13321"/>
                  <a:pt x="6368" y="13306"/>
                </a:cubicBezTo>
                <a:cubicBezTo>
                  <a:pt x="6368" y="13300"/>
                  <a:pt x="6368" y="13294"/>
                  <a:pt x="6368" y="13288"/>
                </a:cubicBezTo>
                <a:cubicBezTo>
                  <a:pt x="6381" y="13289"/>
                  <a:pt x="6394" y="13289"/>
                  <a:pt x="6407" y="13289"/>
                </a:cubicBezTo>
                <a:cubicBezTo>
                  <a:pt x="6409" y="13287"/>
                  <a:pt x="6411" y="13285"/>
                  <a:pt x="6414" y="13282"/>
                </a:cubicBezTo>
                <a:cubicBezTo>
                  <a:pt x="6415" y="13279"/>
                  <a:pt x="6415" y="13276"/>
                  <a:pt x="6416" y="13273"/>
                </a:cubicBezTo>
                <a:cubicBezTo>
                  <a:pt x="6416" y="13271"/>
                  <a:pt x="6415" y="13268"/>
                  <a:pt x="6415" y="13267"/>
                </a:cubicBezTo>
                <a:cubicBezTo>
                  <a:pt x="6387" y="13255"/>
                  <a:pt x="6323" y="13252"/>
                  <a:pt x="6297" y="13275"/>
                </a:cubicBezTo>
                <a:cubicBezTo>
                  <a:pt x="6281" y="13290"/>
                  <a:pt x="6271" y="13326"/>
                  <a:pt x="6251" y="13334"/>
                </a:cubicBezTo>
                <a:cubicBezTo>
                  <a:pt x="6194" y="13357"/>
                  <a:pt x="6178" y="13274"/>
                  <a:pt x="6143" y="13270"/>
                </a:cubicBezTo>
                <a:cubicBezTo>
                  <a:pt x="6114" y="13267"/>
                  <a:pt x="6064" y="13303"/>
                  <a:pt x="6038" y="13280"/>
                </a:cubicBezTo>
                <a:cubicBezTo>
                  <a:pt x="6025" y="13268"/>
                  <a:pt x="6028" y="13258"/>
                  <a:pt x="6022" y="13232"/>
                </a:cubicBezTo>
                <a:cubicBezTo>
                  <a:pt x="6011" y="13181"/>
                  <a:pt x="5979" y="13167"/>
                  <a:pt x="5941" y="13167"/>
                </a:cubicBezTo>
                <a:cubicBezTo>
                  <a:pt x="5933" y="13147"/>
                  <a:pt x="5925" y="13112"/>
                  <a:pt x="5921" y="13088"/>
                </a:cubicBezTo>
                <a:cubicBezTo>
                  <a:pt x="5910" y="13083"/>
                  <a:pt x="5900" y="13094"/>
                  <a:pt x="5896" y="13113"/>
                </a:cubicBezTo>
                <a:cubicBezTo>
                  <a:pt x="5900" y="13124"/>
                  <a:pt x="5903" y="13134"/>
                  <a:pt x="5906" y="13144"/>
                </a:cubicBezTo>
                <a:cubicBezTo>
                  <a:pt x="5912" y="13143"/>
                  <a:pt x="5918" y="13143"/>
                  <a:pt x="5924" y="13142"/>
                </a:cubicBezTo>
                <a:cubicBezTo>
                  <a:pt x="5927" y="13146"/>
                  <a:pt x="5930" y="13149"/>
                  <a:pt x="5933" y="13154"/>
                </a:cubicBezTo>
                <a:cubicBezTo>
                  <a:pt x="5929" y="13179"/>
                  <a:pt x="5840" y="13226"/>
                  <a:pt x="5820" y="13239"/>
                </a:cubicBezTo>
                <a:cubicBezTo>
                  <a:pt x="5821" y="13241"/>
                  <a:pt x="5823" y="13242"/>
                  <a:pt x="5825" y="13244"/>
                </a:cubicBezTo>
                <a:cubicBezTo>
                  <a:pt x="5823" y="13259"/>
                  <a:pt x="5821" y="13258"/>
                  <a:pt x="5816" y="13267"/>
                </a:cubicBezTo>
                <a:cubicBezTo>
                  <a:pt x="5828" y="13277"/>
                  <a:pt x="5859" y="13388"/>
                  <a:pt x="5850" y="13426"/>
                </a:cubicBezTo>
                <a:cubicBezTo>
                  <a:pt x="5844" y="13444"/>
                  <a:pt x="5829" y="13456"/>
                  <a:pt x="5816" y="13460"/>
                </a:cubicBezTo>
                <a:cubicBezTo>
                  <a:pt x="5802" y="13440"/>
                  <a:pt x="5795" y="13393"/>
                  <a:pt x="5784" y="13367"/>
                </a:cubicBezTo>
                <a:cubicBezTo>
                  <a:pt x="5788" y="13327"/>
                  <a:pt x="5800" y="13293"/>
                  <a:pt x="5811" y="13265"/>
                </a:cubicBezTo>
                <a:cubicBezTo>
                  <a:pt x="5808" y="13224"/>
                  <a:pt x="5798" y="13197"/>
                  <a:pt x="5791" y="13162"/>
                </a:cubicBezTo>
                <a:cubicBezTo>
                  <a:pt x="5800" y="13137"/>
                  <a:pt x="5823" y="13127"/>
                  <a:pt x="5844" y="13126"/>
                </a:cubicBezTo>
                <a:cubicBezTo>
                  <a:pt x="5846" y="13121"/>
                  <a:pt x="5849" y="13116"/>
                  <a:pt x="5851" y="13110"/>
                </a:cubicBezTo>
                <a:cubicBezTo>
                  <a:pt x="5848" y="13085"/>
                  <a:pt x="5838" y="13070"/>
                  <a:pt x="5826" y="13061"/>
                </a:cubicBezTo>
                <a:cubicBezTo>
                  <a:pt x="5792" y="13037"/>
                  <a:pt x="5783" y="13118"/>
                  <a:pt x="5766" y="13136"/>
                </a:cubicBezTo>
                <a:cubicBezTo>
                  <a:pt x="5757" y="13141"/>
                  <a:pt x="5749" y="13146"/>
                  <a:pt x="5740" y="13151"/>
                </a:cubicBezTo>
                <a:cubicBezTo>
                  <a:pt x="5744" y="13136"/>
                  <a:pt x="5750" y="13131"/>
                  <a:pt x="5747" y="13110"/>
                </a:cubicBezTo>
                <a:cubicBezTo>
                  <a:pt x="5753" y="13115"/>
                  <a:pt x="5753" y="13117"/>
                  <a:pt x="5755" y="13128"/>
                </a:cubicBezTo>
                <a:cubicBezTo>
                  <a:pt x="5756" y="13128"/>
                  <a:pt x="5756" y="13128"/>
                  <a:pt x="5757" y="13128"/>
                </a:cubicBezTo>
                <a:cubicBezTo>
                  <a:pt x="5768" y="13115"/>
                  <a:pt x="5774" y="13096"/>
                  <a:pt x="5783" y="13079"/>
                </a:cubicBezTo>
                <a:cubicBezTo>
                  <a:pt x="5765" y="13012"/>
                  <a:pt x="5748" y="12942"/>
                  <a:pt x="5710" y="12913"/>
                </a:cubicBezTo>
                <a:cubicBezTo>
                  <a:pt x="5697" y="12904"/>
                  <a:pt x="5680" y="12914"/>
                  <a:pt x="5665" y="12903"/>
                </a:cubicBezTo>
                <a:cubicBezTo>
                  <a:pt x="5660" y="12899"/>
                  <a:pt x="5639" y="12883"/>
                  <a:pt x="5631" y="12887"/>
                </a:cubicBezTo>
                <a:cubicBezTo>
                  <a:pt x="5621" y="12900"/>
                  <a:pt x="5610" y="12913"/>
                  <a:pt x="5600" y="12925"/>
                </a:cubicBezTo>
                <a:cubicBezTo>
                  <a:pt x="5594" y="12933"/>
                  <a:pt x="5586" y="12931"/>
                  <a:pt x="5578" y="12936"/>
                </a:cubicBezTo>
                <a:cubicBezTo>
                  <a:pt x="5551" y="12954"/>
                  <a:pt x="5540" y="12988"/>
                  <a:pt x="5506" y="12975"/>
                </a:cubicBezTo>
                <a:cubicBezTo>
                  <a:pt x="5490" y="12937"/>
                  <a:pt x="5478" y="12986"/>
                  <a:pt x="5461" y="12955"/>
                </a:cubicBezTo>
                <a:cubicBezTo>
                  <a:pt x="5457" y="12938"/>
                  <a:pt x="5454" y="12921"/>
                  <a:pt x="5451" y="12903"/>
                </a:cubicBezTo>
                <a:cubicBezTo>
                  <a:pt x="5422" y="12856"/>
                  <a:pt x="5362" y="12767"/>
                  <a:pt x="5351" y="12695"/>
                </a:cubicBezTo>
                <a:cubicBezTo>
                  <a:pt x="5345" y="12652"/>
                  <a:pt x="5354" y="12591"/>
                  <a:pt x="5359" y="12556"/>
                </a:cubicBezTo>
                <a:cubicBezTo>
                  <a:pt x="5365" y="12510"/>
                  <a:pt x="5359" y="12443"/>
                  <a:pt x="5367" y="12399"/>
                </a:cubicBezTo>
                <a:cubicBezTo>
                  <a:pt x="5372" y="12386"/>
                  <a:pt x="5377" y="12373"/>
                  <a:pt x="5382" y="12360"/>
                </a:cubicBezTo>
                <a:cubicBezTo>
                  <a:pt x="5397" y="12309"/>
                  <a:pt x="5386" y="12259"/>
                  <a:pt x="5378" y="12217"/>
                </a:cubicBezTo>
                <a:cubicBezTo>
                  <a:pt x="5365" y="12211"/>
                  <a:pt x="5352" y="12205"/>
                  <a:pt x="5339" y="12199"/>
                </a:cubicBezTo>
                <a:cubicBezTo>
                  <a:pt x="5331" y="12178"/>
                  <a:pt x="5334" y="12183"/>
                  <a:pt x="5335" y="12150"/>
                </a:cubicBezTo>
                <a:cubicBezTo>
                  <a:pt x="5326" y="12143"/>
                  <a:pt x="5318" y="12136"/>
                  <a:pt x="5309" y="12129"/>
                </a:cubicBezTo>
                <a:cubicBezTo>
                  <a:pt x="5287" y="12132"/>
                  <a:pt x="5264" y="12135"/>
                  <a:pt x="5242" y="12138"/>
                </a:cubicBezTo>
                <a:cubicBezTo>
                  <a:pt x="5236" y="12132"/>
                  <a:pt x="5231" y="12127"/>
                  <a:pt x="5226" y="12122"/>
                </a:cubicBezTo>
                <a:cubicBezTo>
                  <a:pt x="5217" y="12129"/>
                  <a:pt x="5209" y="12135"/>
                  <a:pt x="5200" y="12142"/>
                </a:cubicBezTo>
                <a:cubicBezTo>
                  <a:pt x="5154" y="12160"/>
                  <a:pt x="5118" y="12119"/>
                  <a:pt x="5084" y="12150"/>
                </a:cubicBezTo>
                <a:cubicBezTo>
                  <a:pt x="5069" y="12148"/>
                  <a:pt x="5064" y="12136"/>
                  <a:pt x="5054" y="12124"/>
                </a:cubicBezTo>
                <a:cubicBezTo>
                  <a:pt x="5053" y="12133"/>
                  <a:pt x="5053" y="12141"/>
                  <a:pt x="5052" y="12150"/>
                </a:cubicBezTo>
                <a:cubicBezTo>
                  <a:pt x="5051" y="12150"/>
                  <a:pt x="5050" y="12151"/>
                  <a:pt x="5049" y="12152"/>
                </a:cubicBezTo>
                <a:cubicBezTo>
                  <a:pt x="5044" y="12146"/>
                  <a:pt x="5038" y="12140"/>
                  <a:pt x="5033" y="12134"/>
                </a:cubicBezTo>
                <a:cubicBezTo>
                  <a:pt x="5035" y="12091"/>
                  <a:pt x="5059" y="12092"/>
                  <a:pt x="5066" y="12059"/>
                </a:cubicBezTo>
                <a:cubicBezTo>
                  <a:pt x="5082" y="11991"/>
                  <a:pt x="5071" y="11926"/>
                  <a:pt x="5084" y="11860"/>
                </a:cubicBezTo>
                <a:cubicBezTo>
                  <a:pt x="5084" y="11851"/>
                  <a:pt x="5084" y="11841"/>
                  <a:pt x="5084" y="11831"/>
                </a:cubicBezTo>
                <a:cubicBezTo>
                  <a:pt x="5078" y="11834"/>
                  <a:pt x="5072" y="11836"/>
                  <a:pt x="5066" y="11838"/>
                </a:cubicBezTo>
                <a:cubicBezTo>
                  <a:pt x="5070" y="11824"/>
                  <a:pt x="5073" y="11813"/>
                  <a:pt x="5072" y="11788"/>
                </a:cubicBezTo>
                <a:cubicBezTo>
                  <a:pt x="5074" y="11787"/>
                  <a:pt x="5075" y="11784"/>
                  <a:pt x="5076" y="11782"/>
                </a:cubicBezTo>
                <a:cubicBezTo>
                  <a:pt x="5078" y="11779"/>
                  <a:pt x="5079" y="11776"/>
                  <a:pt x="5081" y="11772"/>
                </a:cubicBezTo>
                <a:cubicBezTo>
                  <a:pt x="5087" y="11792"/>
                  <a:pt x="5092" y="11812"/>
                  <a:pt x="5098" y="11831"/>
                </a:cubicBezTo>
                <a:cubicBezTo>
                  <a:pt x="5099" y="11832"/>
                  <a:pt x="5100" y="11833"/>
                  <a:pt x="5101" y="11834"/>
                </a:cubicBezTo>
                <a:cubicBezTo>
                  <a:pt x="5105" y="11785"/>
                  <a:pt x="5109" y="11736"/>
                  <a:pt x="5113" y="11687"/>
                </a:cubicBezTo>
                <a:cubicBezTo>
                  <a:pt x="5110" y="11689"/>
                  <a:pt x="5106" y="11690"/>
                  <a:pt x="5103" y="11692"/>
                </a:cubicBezTo>
                <a:cubicBezTo>
                  <a:pt x="5102" y="11690"/>
                  <a:pt x="5102" y="11689"/>
                  <a:pt x="5101" y="11687"/>
                </a:cubicBezTo>
                <a:cubicBezTo>
                  <a:pt x="5102" y="11680"/>
                  <a:pt x="5118" y="11599"/>
                  <a:pt x="5120" y="11593"/>
                </a:cubicBezTo>
                <a:cubicBezTo>
                  <a:pt x="5131" y="11566"/>
                  <a:pt x="5151" y="11548"/>
                  <a:pt x="5159" y="11515"/>
                </a:cubicBezTo>
                <a:cubicBezTo>
                  <a:pt x="5162" y="11503"/>
                  <a:pt x="5161" y="11488"/>
                  <a:pt x="5160" y="11473"/>
                </a:cubicBezTo>
                <a:cubicBezTo>
                  <a:pt x="5107" y="11398"/>
                  <a:pt x="4991" y="11470"/>
                  <a:pt x="4929" y="11511"/>
                </a:cubicBezTo>
                <a:cubicBezTo>
                  <a:pt x="4925" y="11530"/>
                  <a:pt x="4922" y="11550"/>
                  <a:pt x="4919" y="11569"/>
                </a:cubicBezTo>
                <a:cubicBezTo>
                  <a:pt x="4920" y="11594"/>
                  <a:pt x="4920" y="11617"/>
                  <a:pt x="4920" y="11641"/>
                </a:cubicBezTo>
                <a:cubicBezTo>
                  <a:pt x="4916" y="11649"/>
                  <a:pt x="4911" y="11657"/>
                  <a:pt x="4906" y="11664"/>
                </a:cubicBezTo>
                <a:cubicBezTo>
                  <a:pt x="4906" y="11681"/>
                  <a:pt x="4905" y="11697"/>
                  <a:pt x="4905" y="11714"/>
                </a:cubicBezTo>
                <a:cubicBezTo>
                  <a:pt x="4898" y="11743"/>
                  <a:pt x="4870" y="11753"/>
                  <a:pt x="4858" y="11775"/>
                </a:cubicBezTo>
                <a:cubicBezTo>
                  <a:pt x="4857" y="11775"/>
                  <a:pt x="4857" y="11775"/>
                  <a:pt x="4856" y="11775"/>
                </a:cubicBezTo>
                <a:cubicBezTo>
                  <a:pt x="4861" y="11785"/>
                  <a:pt x="4866" y="11785"/>
                  <a:pt x="4869" y="11800"/>
                </a:cubicBezTo>
                <a:cubicBezTo>
                  <a:pt x="4865" y="11807"/>
                  <a:pt x="4860" y="11815"/>
                  <a:pt x="4856" y="11822"/>
                </a:cubicBezTo>
                <a:cubicBezTo>
                  <a:pt x="4850" y="11828"/>
                  <a:pt x="4839" y="11819"/>
                  <a:pt x="4830" y="11816"/>
                </a:cubicBezTo>
                <a:cubicBezTo>
                  <a:pt x="4830" y="11806"/>
                  <a:pt x="4830" y="11797"/>
                  <a:pt x="4830" y="11788"/>
                </a:cubicBezTo>
                <a:cubicBezTo>
                  <a:pt x="4792" y="11797"/>
                  <a:pt x="4718" y="11858"/>
                  <a:pt x="4682" y="11847"/>
                </a:cubicBezTo>
                <a:cubicBezTo>
                  <a:pt x="4661" y="11840"/>
                  <a:pt x="4657" y="11808"/>
                  <a:pt x="4642" y="11793"/>
                </a:cubicBezTo>
                <a:cubicBezTo>
                  <a:pt x="4629" y="11780"/>
                  <a:pt x="4610" y="11782"/>
                  <a:pt x="4591" y="11782"/>
                </a:cubicBezTo>
                <a:cubicBezTo>
                  <a:pt x="4573" y="11740"/>
                  <a:pt x="4563" y="11689"/>
                  <a:pt x="4547" y="11644"/>
                </a:cubicBezTo>
                <a:cubicBezTo>
                  <a:pt x="4528" y="11594"/>
                  <a:pt x="4503" y="11544"/>
                  <a:pt x="4487" y="11492"/>
                </a:cubicBezTo>
                <a:cubicBezTo>
                  <a:pt x="4463" y="11418"/>
                  <a:pt x="4455" y="11219"/>
                  <a:pt x="4467" y="11099"/>
                </a:cubicBezTo>
                <a:cubicBezTo>
                  <a:pt x="4470" y="11068"/>
                  <a:pt x="4473" y="11038"/>
                  <a:pt x="4475" y="11007"/>
                </a:cubicBezTo>
                <a:cubicBezTo>
                  <a:pt x="4485" y="10974"/>
                  <a:pt x="4495" y="10941"/>
                  <a:pt x="4505" y="10909"/>
                </a:cubicBezTo>
                <a:cubicBezTo>
                  <a:pt x="4512" y="10849"/>
                  <a:pt x="4480" y="10795"/>
                  <a:pt x="4492" y="10724"/>
                </a:cubicBezTo>
                <a:cubicBezTo>
                  <a:pt x="4499" y="10708"/>
                  <a:pt x="4505" y="10693"/>
                  <a:pt x="4512" y="10678"/>
                </a:cubicBezTo>
                <a:cubicBezTo>
                  <a:pt x="4512" y="10676"/>
                  <a:pt x="4513" y="10674"/>
                  <a:pt x="4514" y="10672"/>
                </a:cubicBezTo>
                <a:cubicBezTo>
                  <a:pt x="4509" y="10663"/>
                  <a:pt x="4504" y="10654"/>
                  <a:pt x="4499" y="10644"/>
                </a:cubicBezTo>
                <a:cubicBezTo>
                  <a:pt x="4498" y="10644"/>
                  <a:pt x="4497" y="10644"/>
                  <a:pt x="4496" y="10644"/>
                </a:cubicBezTo>
                <a:cubicBezTo>
                  <a:pt x="4514" y="10611"/>
                  <a:pt x="4546" y="10621"/>
                  <a:pt x="4559" y="10577"/>
                </a:cubicBezTo>
                <a:cubicBezTo>
                  <a:pt x="4555" y="10569"/>
                  <a:pt x="4551" y="10561"/>
                  <a:pt x="4547" y="10552"/>
                </a:cubicBezTo>
                <a:cubicBezTo>
                  <a:pt x="4554" y="10533"/>
                  <a:pt x="4577" y="10559"/>
                  <a:pt x="4596" y="10550"/>
                </a:cubicBezTo>
                <a:cubicBezTo>
                  <a:pt x="4627" y="10534"/>
                  <a:pt x="4641" y="10489"/>
                  <a:pt x="4666" y="10468"/>
                </a:cubicBezTo>
                <a:cubicBezTo>
                  <a:pt x="4670" y="10450"/>
                  <a:pt x="4659" y="10435"/>
                  <a:pt x="4655" y="10416"/>
                </a:cubicBezTo>
                <a:cubicBezTo>
                  <a:pt x="4659" y="10412"/>
                  <a:pt x="4663" y="10407"/>
                  <a:pt x="4666" y="10403"/>
                </a:cubicBezTo>
                <a:cubicBezTo>
                  <a:pt x="4667" y="10412"/>
                  <a:pt x="4668" y="10421"/>
                  <a:pt x="4670" y="10431"/>
                </a:cubicBezTo>
                <a:cubicBezTo>
                  <a:pt x="4694" y="10437"/>
                  <a:pt x="4697" y="10422"/>
                  <a:pt x="4712" y="10413"/>
                </a:cubicBezTo>
                <a:cubicBezTo>
                  <a:pt x="4745" y="10393"/>
                  <a:pt x="4781" y="10418"/>
                  <a:pt x="4807" y="10428"/>
                </a:cubicBezTo>
                <a:cubicBezTo>
                  <a:pt x="4822" y="10434"/>
                  <a:pt x="4841" y="10438"/>
                  <a:pt x="4849" y="10426"/>
                </a:cubicBezTo>
                <a:cubicBezTo>
                  <a:pt x="4849" y="10426"/>
                  <a:pt x="4850" y="10426"/>
                  <a:pt x="4851" y="10426"/>
                </a:cubicBezTo>
                <a:cubicBezTo>
                  <a:pt x="4846" y="10419"/>
                  <a:pt x="4842" y="10412"/>
                  <a:pt x="4838" y="10405"/>
                </a:cubicBezTo>
                <a:cubicBezTo>
                  <a:pt x="4837" y="10404"/>
                  <a:pt x="4836" y="10402"/>
                  <a:pt x="4836" y="10401"/>
                </a:cubicBezTo>
                <a:cubicBezTo>
                  <a:pt x="4841" y="10399"/>
                  <a:pt x="4847" y="10398"/>
                  <a:pt x="4852" y="10396"/>
                </a:cubicBezTo>
                <a:cubicBezTo>
                  <a:pt x="4863" y="10409"/>
                  <a:pt x="4875" y="10422"/>
                  <a:pt x="4886" y="10434"/>
                </a:cubicBezTo>
                <a:cubicBezTo>
                  <a:pt x="4890" y="10445"/>
                  <a:pt x="4893" y="10454"/>
                  <a:pt x="4896" y="10464"/>
                </a:cubicBezTo>
                <a:cubicBezTo>
                  <a:pt x="4905" y="10472"/>
                  <a:pt x="4914" y="10479"/>
                  <a:pt x="4923" y="10487"/>
                </a:cubicBezTo>
                <a:cubicBezTo>
                  <a:pt x="4932" y="10479"/>
                  <a:pt x="4942" y="10472"/>
                  <a:pt x="4951" y="10464"/>
                </a:cubicBezTo>
                <a:cubicBezTo>
                  <a:pt x="4954" y="10472"/>
                  <a:pt x="4957" y="10479"/>
                  <a:pt x="4959" y="10487"/>
                </a:cubicBezTo>
                <a:cubicBezTo>
                  <a:pt x="4960" y="10487"/>
                  <a:pt x="4960" y="10487"/>
                  <a:pt x="4961" y="10487"/>
                </a:cubicBezTo>
                <a:cubicBezTo>
                  <a:pt x="4964" y="10483"/>
                  <a:pt x="4968" y="10481"/>
                  <a:pt x="4971" y="10478"/>
                </a:cubicBezTo>
                <a:cubicBezTo>
                  <a:pt x="4971" y="10477"/>
                  <a:pt x="4971" y="10476"/>
                  <a:pt x="4971" y="10475"/>
                </a:cubicBezTo>
                <a:cubicBezTo>
                  <a:pt x="4968" y="10471"/>
                  <a:pt x="4964" y="10466"/>
                  <a:pt x="4961" y="10462"/>
                </a:cubicBezTo>
                <a:cubicBezTo>
                  <a:pt x="4960" y="10459"/>
                  <a:pt x="4959" y="10457"/>
                  <a:pt x="4958" y="10455"/>
                </a:cubicBezTo>
                <a:cubicBezTo>
                  <a:pt x="4960" y="10449"/>
                  <a:pt x="4962" y="10443"/>
                  <a:pt x="4963" y="10437"/>
                </a:cubicBezTo>
                <a:cubicBezTo>
                  <a:pt x="4978" y="10440"/>
                  <a:pt x="5002" y="10467"/>
                  <a:pt x="5006" y="10493"/>
                </a:cubicBezTo>
                <a:cubicBezTo>
                  <a:pt x="5018" y="10494"/>
                  <a:pt x="5027" y="10493"/>
                  <a:pt x="5038" y="10491"/>
                </a:cubicBezTo>
                <a:cubicBezTo>
                  <a:pt x="5028" y="10458"/>
                  <a:pt x="5000" y="10457"/>
                  <a:pt x="4997" y="10413"/>
                </a:cubicBezTo>
                <a:cubicBezTo>
                  <a:pt x="5003" y="10407"/>
                  <a:pt x="5009" y="10402"/>
                  <a:pt x="5016" y="10396"/>
                </a:cubicBezTo>
                <a:cubicBezTo>
                  <a:pt x="5011" y="10376"/>
                  <a:pt x="5000" y="10367"/>
                  <a:pt x="4990" y="10356"/>
                </a:cubicBezTo>
                <a:cubicBezTo>
                  <a:pt x="4975" y="10361"/>
                  <a:pt x="4959" y="10384"/>
                  <a:pt x="4950" y="10355"/>
                </a:cubicBezTo>
                <a:cubicBezTo>
                  <a:pt x="4952" y="10347"/>
                  <a:pt x="4954" y="10339"/>
                  <a:pt x="4957" y="10331"/>
                </a:cubicBezTo>
                <a:cubicBezTo>
                  <a:pt x="4974" y="10313"/>
                  <a:pt x="4984" y="10362"/>
                  <a:pt x="4997" y="10355"/>
                </a:cubicBezTo>
                <a:cubicBezTo>
                  <a:pt x="5008" y="10349"/>
                  <a:pt x="5015" y="10332"/>
                  <a:pt x="5024" y="10326"/>
                </a:cubicBezTo>
                <a:cubicBezTo>
                  <a:pt x="5043" y="10314"/>
                  <a:pt x="5079" y="10326"/>
                  <a:pt x="5095" y="10331"/>
                </a:cubicBezTo>
                <a:cubicBezTo>
                  <a:pt x="5097" y="10318"/>
                  <a:pt x="5099" y="10305"/>
                  <a:pt x="5101" y="10293"/>
                </a:cubicBezTo>
                <a:cubicBezTo>
                  <a:pt x="5101" y="10293"/>
                  <a:pt x="5102" y="10293"/>
                  <a:pt x="5103" y="10293"/>
                </a:cubicBezTo>
                <a:cubicBezTo>
                  <a:pt x="5108" y="10310"/>
                  <a:pt x="5113" y="10327"/>
                  <a:pt x="5119" y="10344"/>
                </a:cubicBezTo>
                <a:cubicBezTo>
                  <a:pt x="5127" y="10342"/>
                  <a:pt x="5135" y="10339"/>
                  <a:pt x="5143" y="10337"/>
                </a:cubicBezTo>
                <a:cubicBezTo>
                  <a:pt x="5143" y="10331"/>
                  <a:pt x="5143" y="10324"/>
                  <a:pt x="5143" y="10318"/>
                </a:cubicBezTo>
                <a:cubicBezTo>
                  <a:pt x="5165" y="10328"/>
                  <a:pt x="5184" y="10321"/>
                  <a:pt x="5208" y="10315"/>
                </a:cubicBezTo>
                <a:cubicBezTo>
                  <a:pt x="5221" y="10339"/>
                  <a:pt x="5232" y="10348"/>
                  <a:pt x="5256" y="10355"/>
                </a:cubicBezTo>
                <a:cubicBezTo>
                  <a:pt x="5263" y="10374"/>
                  <a:pt x="5266" y="10403"/>
                  <a:pt x="5275" y="10419"/>
                </a:cubicBezTo>
                <a:cubicBezTo>
                  <a:pt x="5287" y="10412"/>
                  <a:pt x="5301" y="10407"/>
                  <a:pt x="5313" y="10401"/>
                </a:cubicBezTo>
                <a:cubicBezTo>
                  <a:pt x="5323" y="10389"/>
                  <a:pt x="5329" y="10368"/>
                  <a:pt x="5342" y="10362"/>
                </a:cubicBezTo>
                <a:cubicBezTo>
                  <a:pt x="5375" y="10346"/>
                  <a:pt x="5397" y="10453"/>
                  <a:pt x="5416" y="10475"/>
                </a:cubicBezTo>
                <a:cubicBezTo>
                  <a:pt x="5428" y="10490"/>
                  <a:pt x="5442" y="10485"/>
                  <a:pt x="5445" y="10516"/>
                </a:cubicBezTo>
                <a:cubicBezTo>
                  <a:pt x="5440" y="10562"/>
                  <a:pt x="5435" y="10609"/>
                  <a:pt x="5431" y="10655"/>
                </a:cubicBezTo>
                <a:cubicBezTo>
                  <a:pt x="5432" y="10656"/>
                  <a:pt x="5435" y="10656"/>
                  <a:pt x="5436" y="10657"/>
                </a:cubicBezTo>
                <a:cubicBezTo>
                  <a:pt x="5444" y="10665"/>
                  <a:pt x="5447" y="10650"/>
                  <a:pt x="5455" y="10644"/>
                </a:cubicBezTo>
                <a:cubicBezTo>
                  <a:pt x="5456" y="10652"/>
                  <a:pt x="5457" y="10659"/>
                  <a:pt x="5457" y="10667"/>
                </a:cubicBezTo>
                <a:cubicBezTo>
                  <a:pt x="5452" y="10681"/>
                  <a:pt x="5448" y="10685"/>
                  <a:pt x="5439" y="10694"/>
                </a:cubicBezTo>
                <a:cubicBezTo>
                  <a:pt x="5447" y="10722"/>
                  <a:pt x="5455" y="10751"/>
                  <a:pt x="5464" y="10779"/>
                </a:cubicBezTo>
                <a:cubicBezTo>
                  <a:pt x="5468" y="10779"/>
                  <a:pt x="5472" y="10779"/>
                  <a:pt x="5477" y="10779"/>
                </a:cubicBezTo>
                <a:cubicBezTo>
                  <a:pt x="5478" y="10792"/>
                  <a:pt x="5480" y="10804"/>
                  <a:pt x="5481" y="10816"/>
                </a:cubicBezTo>
                <a:cubicBezTo>
                  <a:pt x="5485" y="10821"/>
                  <a:pt x="5489" y="10827"/>
                  <a:pt x="5493" y="10832"/>
                </a:cubicBezTo>
                <a:cubicBezTo>
                  <a:pt x="5505" y="10874"/>
                  <a:pt x="5489" y="10897"/>
                  <a:pt x="5522" y="10900"/>
                </a:cubicBezTo>
                <a:cubicBezTo>
                  <a:pt x="5530" y="10924"/>
                  <a:pt x="5537" y="10979"/>
                  <a:pt x="5546" y="10999"/>
                </a:cubicBezTo>
                <a:cubicBezTo>
                  <a:pt x="5556" y="10990"/>
                  <a:pt x="5570" y="10989"/>
                  <a:pt x="5585" y="10986"/>
                </a:cubicBezTo>
                <a:cubicBezTo>
                  <a:pt x="5584" y="10994"/>
                  <a:pt x="5583" y="11004"/>
                  <a:pt x="5582" y="11012"/>
                </a:cubicBezTo>
                <a:cubicBezTo>
                  <a:pt x="5583" y="11012"/>
                  <a:pt x="5584" y="11012"/>
                  <a:pt x="5585" y="11012"/>
                </a:cubicBezTo>
                <a:cubicBezTo>
                  <a:pt x="5595" y="10955"/>
                  <a:pt x="5621" y="10849"/>
                  <a:pt x="5608" y="10765"/>
                </a:cubicBezTo>
                <a:cubicBezTo>
                  <a:pt x="5603" y="10732"/>
                  <a:pt x="5590" y="10699"/>
                  <a:pt x="5585" y="10660"/>
                </a:cubicBezTo>
                <a:cubicBezTo>
                  <a:pt x="5582" y="10627"/>
                  <a:pt x="5579" y="10593"/>
                  <a:pt x="5576" y="10559"/>
                </a:cubicBezTo>
                <a:cubicBezTo>
                  <a:pt x="5563" y="10487"/>
                  <a:pt x="5507" y="10379"/>
                  <a:pt x="5518" y="10277"/>
                </a:cubicBezTo>
                <a:cubicBezTo>
                  <a:pt x="5525" y="10237"/>
                  <a:pt x="5532" y="10197"/>
                  <a:pt x="5539" y="10157"/>
                </a:cubicBezTo>
                <a:cubicBezTo>
                  <a:pt x="5550" y="10122"/>
                  <a:pt x="5567" y="10094"/>
                  <a:pt x="5574" y="10051"/>
                </a:cubicBezTo>
                <a:cubicBezTo>
                  <a:pt x="5607" y="10040"/>
                  <a:pt x="5641" y="10016"/>
                  <a:pt x="5655" y="9972"/>
                </a:cubicBezTo>
                <a:cubicBezTo>
                  <a:pt x="5666" y="9939"/>
                  <a:pt x="5666" y="9910"/>
                  <a:pt x="5683" y="9891"/>
                </a:cubicBezTo>
                <a:cubicBezTo>
                  <a:pt x="5699" y="9873"/>
                  <a:pt x="5730" y="9876"/>
                  <a:pt x="5744" y="9861"/>
                </a:cubicBezTo>
                <a:cubicBezTo>
                  <a:pt x="5758" y="9829"/>
                  <a:pt x="5772" y="9795"/>
                  <a:pt x="5786" y="9763"/>
                </a:cubicBezTo>
                <a:cubicBezTo>
                  <a:pt x="5801" y="9758"/>
                  <a:pt x="5816" y="9755"/>
                  <a:pt x="5832" y="9751"/>
                </a:cubicBezTo>
                <a:cubicBezTo>
                  <a:pt x="5837" y="9742"/>
                  <a:pt x="5842" y="9734"/>
                  <a:pt x="5848" y="9726"/>
                </a:cubicBezTo>
                <a:cubicBezTo>
                  <a:pt x="5848" y="9724"/>
                  <a:pt x="5849" y="9720"/>
                  <a:pt x="5850" y="9718"/>
                </a:cubicBezTo>
                <a:cubicBezTo>
                  <a:pt x="5844" y="9714"/>
                  <a:pt x="5842" y="9715"/>
                  <a:pt x="5839" y="9704"/>
                </a:cubicBezTo>
                <a:cubicBezTo>
                  <a:pt x="5834" y="9712"/>
                  <a:pt x="5825" y="9719"/>
                  <a:pt x="5819" y="9726"/>
                </a:cubicBezTo>
                <a:cubicBezTo>
                  <a:pt x="5815" y="9722"/>
                  <a:pt x="5812" y="9718"/>
                  <a:pt x="5809" y="9715"/>
                </a:cubicBezTo>
                <a:cubicBezTo>
                  <a:pt x="5805" y="9709"/>
                  <a:pt x="5804" y="9704"/>
                  <a:pt x="5803" y="9694"/>
                </a:cubicBezTo>
                <a:cubicBezTo>
                  <a:pt x="5808" y="9702"/>
                  <a:pt x="5810" y="9711"/>
                  <a:pt x="5817" y="9715"/>
                </a:cubicBezTo>
                <a:cubicBezTo>
                  <a:pt x="5829" y="9702"/>
                  <a:pt x="5828" y="9690"/>
                  <a:pt x="5837" y="9681"/>
                </a:cubicBezTo>
                <a:cubicBezTo>
                  <a:pt x="5837" y="9679"/>
                  <a:pt x="5837" y="9678"/>
                  <a:pt x="5837" y="9676"/>
                </a:cubicBezTo>
                <a:cubicBezTo>
                  <a:pt x="5831" y="9664"/>
                  <a:pt x="5819" y="9654"/>
                  <a:pt x="5806" y="9654"/>
                </a:cubicBezTo>
                <a:cubicBezTo>
                  <a:pt x="5805" y="9649"/>
                  <a:pt x="5804" y="9645"/>
                  <a:pt x="5803" y="9640"/>
                </a:cubicBezTo>
                <a:cubicBezTo>
                  <a:pt x="5812" y="9646"/>
                  <a:pt x="5822" y="9652"/>
                  <a:pt x="5832" y="9658"/>
                </a:cubicBezTo>
                <a:cubicBezTo>
                  <a:pt x="5830" y="9654"/>
                  <a:pt x="5828" y="9650"/>
                  <a:pt x="5827" y="9645"/>
                </a:cubicBezTo>
                <a:cubicBezTo>
                  <a:pt x="5827" y="9644"/>
                  <a:pt x="5827" y="9643"/>
                  <a:pt x="5827" y="9643"/>
                </a:cubicBezTo>
                <a:cubicBezTo>
                  <a:pt x="5838" y="9651"/>
                  <a:pt x="5841" y="9665"/>
                  <a:pt x="5858" y="9669"/>
                </a:cubicBezTo>
                <a:cubicBezTo>
                  <a:pt x="5863" y="9657"/>
                  <a:pt x="5869" y="9644"/>
                  <a:pt x="5874" y="9632"/>
                </a:cubicBezTo>
                <a:cubicBezTo>
                  <a:pt x="5876" y="9625"/>
                  <a:pt x="5876" y="9631"/>
                  <a:pt x="5882" y="9632"/>
                </a:cubicBezTo>
                <a:cubicBezTo>
                  <a:pt x="5884" y="9628"/>
                  <a:pt x="5885" y="9624"/>
                  <a:pt x="5887" y="9620"/>
                </a:cubicBezTo>
                <a:cubicBezTo>
                  <a:pt x="5886" y="9601"/>
                  <a:pt x="5884" y="9595"/>
                  <a:pt x="5878" y="9586"/>
                </a:cubicBezTo>
                <a:cubicBezTo>
                  <a:pt x="5876" y="9584"/>
                  <a:pt x="5878" y="9584"/>
                  <a:pt x="5876" y="9586"/>
                </a:cubicBezTo>
                <a:cubicBezTo>
                  <a:pt x="5870" y="9593"/>
                  <a:pt x="5869" y="9607"/>
                  <a:pt x="5866" y="9619"/>
                </a:cubicBezTo>
                <a:cubicBezTo>
                  <a:pt x="5864" y="9608"/>
                  <a:pt x="5866" y="9597"/>
                  <a:pt x="5867" y="9584"/>
                </a:cubicBezTo>
                <a:cubicBezTo>
                  <a:pt x="5866" y="9582"/>
                  <a:pt x="5865" y="9581"/>
                  <a:pt x="5864" y="9579"/>
                </a:cubicBezTo>
                <a:cubicBezTo>
                  <a:pt x="5851" y="9583"/>
                  <a:pt x="5840" y="9587"/>
                  <a:pt x="5823" y="9586"/>
                </a:cubicBezTo>
                <a:cubicBezTo>
                  <a:pt x="5825" y="9571"/>
                  <a:pt x="5819" y="9557"/>
                  <a:pt x="5823" y="9542"/>
                </a:cubicBezTo>
                <a:cubicBezTo>
                  <a:pt x="5824" y="9548"/>
                  <a:pt x="5823" y="9554"/>
                  <a:pt x="5825" y="9563"/>
                </a:cubicBezTo>
                <a:cubicBezTo>
                  <a:pt x="5826" y="9568"/>
                  <a:pt x="5828" y="9571"/>
                  <a:pt x="5830" y="9575"/>
                </a:cubicBezTo>
                <a:cubicBezTo>
                  <a:pt x="5834" y="9573"/>
                  <a:pt x="5839" y="9571"/>
                  <a:pt x="5844" y="9568"/>
                </a:cubicBezTo>
                <a:cubicBezTo>
                  <a:pt x="5844" y="9561"/>
                  <a:pt x="5844" y="9561"/>
                  <a:pt x="5841" y="9553"/>
                </a:cubicBezTo>
                <a:cubicBezTo>
                  <a:pt x="5846" y="9557"/>
                  <a:pt x="5851" y="9560"/>
                  <a:pt x="5855" y="9565"/>
                </a:cubicBezTo>
                <a:cubicBezTo>
                  <a:pt x="5857" y="9563"/>
                  <a:pt x="5858" y="9562"/>
                  <a:pt x="5860" y="9560"/>
                </a:cubicBezTo>
                <a:cubicBezTo>
                  <a:pt x="5861" y="9558"/>
                  <a:pt x="5861" y="9558"/>
                  <a:pt x="5861" y="9556"/>
                </a:cubicBezTo>
                <a:cubicBezTo>
                  <a:pt x="5859" y="9550"/>
                  <a:pt x="5857" y="9544"/>
                  <a:pt x="5855" y="9538"/>
                </a:cubicBezTo>
                <a:cubicBezTo>
                  <a:pt x="5862" y="9546"/>
                  <a:pt x="5867" y="9554"/>
                  <a:pt x="5874" y="9548"/>
                </a:cubicBezTo>
                <a:cubicBezTo>
                  <a:pt x="5875" y="9554"/>
                  <a:pt x="5876" y="9559"/>
                  <a:pt x="5877" y="9565"/>
                </a:cubicBezTo>
                <a:cubicBezTo>
                  <a:pt x="5878" y="9565"/>
                  <a:pt x="5880" y="9565"/>
                  <a:pt x="5882" y="9565"/>
                </a:cubicBezTo>
                <a:cubicBezTo>
                  <a:pt x="5879" y="9537"/>
                  <a:pt x="5872" y="9530"/>
                  <a:pt x="5866" y="9512"/>
                </a:cubicBezTo>
                <a:cubicBezTo>
                  <a:pt x="5869" y="9512"/>
                  <a:pt x="5872" y="9512"/>
                  <a:pt x="5874" y="9512"/>
                </a:cubicBezTo>
                <a:cubicBezTo>
                  <a:pt x="5873" y="9500"/>
                  <a:pt x="5873" y="9503"/>
                  <a:pt x="5870" y="9496"/>
                </a:cubicBezTo>
                <a:cubicBezTo>
                  <a:pt x="5871" y="9493"/>
                  <a:pt x="5872" y="9490"/>
                  <a:pt x="5873" y="9487"/>
                </a:cubicBezTo>
                <a:cubicBezTo>
                  <a:pt x="5867" y="9452"/>
                  <a:pt x="5855" y="9453"/>
                  <a:pt x="5836" y="9460"/>
                </a:cubicBezTo>
                <a:cubicBezTo>
                  <a:pt x="5835" y="9432"/>
                  <a:pt x="5822" y="9420"/>
                  <a:pt x="5809" y="9415"/>
                </a:cubicBezTo>
                <a:cubicBezTo>
                  <a:pt x="5809" y="9413"/>
                  <a:pt x="5808" y="9410"/>
                  <a:pt x="5808" y="9409"/>
                </a:cubicBezTo>
                <a:cubicBezTo>
                  <a:pt x="5810" y="9406"/>
                  <a:pt x="5812" y="9404"/>
                  <a:pt x="5815" y="9401"/>
                </a:cubicBezTo>
                <a:cubicBezTo>
                  <a:pt x="5824" y="9410"/>
                  <a:pt x="5831" y="9419"/>
                  <a:pt x="5836" y="9437"/>
                </a:cubicBezTo>
                <a:cubicBezTo>
                  <a:pt x="5842" y="9446"/>
                  <a:pt x="5841" y="9445"/>
                  <a:pt x="5851" y="9445"/>
                </a:cubicBezTo>
                <a:cubicBezTo>
                  <a:pt x="5851" y="9436"/>
                  <a:pt x="5850" y="9427"/>
                  <a:pt x="5850" y="9418"/>
                </a:cubicBezTo>
                <a:cubicBezTo>
                  <a:pt x="5846" y="9413"/>
                  <a:pt x="5843" y="9408"/>
                  <a:pt x="5839" y="9404"/>
                </a:cubicBezTo>
                <a:cubicBezTo>
                  <a:pt x="5840" y="9404"/>
                  <a:pt x="5841" y="9404"/>
                  <a:pt x="5842" y="9404"/>
                </a:cubicBezTo>
                <a:cubicBezTo>
                  <a:pt x="5842" y="9399"/>
                  <a:pt x="5842" y="9393"/>
                  <a:pt x="5841" y="9388"/>
                </a:cubicBezTo>
                <a:cubicBezTo>
                  <a:pt x="5845" y="9391"/>
                  <a:pt x="5848" y="9394"/>
                  <a:pt x="5852" y="9397"/>
                </a:cubicBezTo>
                <a:cubicBezTo>
                  <a:pt x="5852" y="9397"/>
                  <a:pt x="5853" y="9397"/>
                  <a:pt x="5854" y="9397"/>
                </a:cubicBezTo>
                <a:cubicBezTo>
                  <a:pt x="5853" y="9379"/>
                  <a:pt x="5853" y="9375"/>
                  <a:pt x="5845" y="9370"/>
                </a:cubicBezTo>
                <a:cubicBezTo>
                  <a:pt x="5847" y="9368"/>
                  <a:pt x="5849" y="9367"/>
                  <a:pt x="5851" y="9365"/>
                </a:cubicBezTo>
                <a:cubicBezTo>
                  <a:pt x="5833" y="9349"/>
                  <a:pt x="5825" y="9343"/>
                  <a:pt x="5816" y="9311"/>
                </a:cubicBezTo>
                <a:cubicBezTo>
                  <a:pt x="5824" y="9323"/>
                  <a:pt x="5831" y="9335"/>
                  <a:pt x="5838" y="9347"/>
                </a:cubicBezTo>
                <a:cubicBezTo>
                  <a:pt x="5839" y="9350"/>
                  <a:pt x="5841" y="9352"/>
                  <a:pt x="5842" y="9354"/>
                </a:cubicBezTo>
                <a:cubicBezTo>
                  <a:pt x="5850" y="9345"/>
                  <a:pt x="5852" y="9338"/>
                  <a:pt x="5855" y="9321"/>
                </a:cubicBezTo>
                <a:cubicBezTo>
                  <a:pt x="5848" y="9302"/>
                  <a:pt x="5803" y="9269"/>
                  <a:pt x="5787" y="9257"/>
                </a:cubicBezTo>
                <a:cubicBezTo>
                  <a:pt x="5786" y="9254"/>
                  <a:pt x="5787" y="9251"/>
                  <a:pt x="5787" y="9249"/>
                </a:cubicBezTo>
                <a:cubicBezTo>
                  <a:pt x="5802" y="9248"/>
                  <a:pt x="5803" y="9259"/>
                  <a:pt x="5815" y="9268"/>
                </a:cubicBezTo>
                <a:cubicBezTo>
                  <a:pt x="5814" y="9263"/>
                  <a:pt x="5814" y="9257"/>
                  <a:pt x="5814" y="9252"/>
                </a:cubicBezTo>
                <a:cubicBezTo>
                  <a:pt x="5823" y="9269"/>
                  <a:pt x="5835" y="9284"/>
                  <a:pt x="5847" y="9296"/>
                </a:cubicBezTo>
                <a:cubicBezTo>
                  <a:pt x="5843" y="9259"/>
                  <a:pt x="5830" y="9260"/>
                  <a:pt x="5826" y="9230"/>
                </a:cubicBezTo>
                <a:cubicBezTo>
                  <a:pt x="5826" y="9230"/>
                  <a:pt x="5827" y="9230"/>
                  <a:pt x="5827" y="9230"/>
                </a:cubicBezTo>
                <a:cubicBezTo>
                  <a:pt x="5830" y="9242"/>
                  <a:pt x="5833" y="9247"/>
                  <a:pt x="5839" y="9252"/>
                </a:cubicBezTo>
                <a:cubicBezTo>
                  <a:pt x="5840" y="9254"/>
                  <a:pt x="5841" y="9255"/>
                  <a:pt x="5842" y="9257"/>
                </a:cubicBezTo>
                <a:cubicBezTo>
                  <a:pt x="5842" y="9257"/>
                  <a:pt x="5843" y="9257"/>
                  <a:pt x="5844" y="9257"/>
                </a:cubicBezTo>
                <a:cubicBezTo>
                  <a:pt x="5841" y="9243"/>
                  <a:pt x="5837" y="9227"/>
                  <a:pt x="5834" y="9213"/>
                </a:cubicBezTo>
                <a:cubicBezTo>
                  <a:pt x="5829" y="9169"/>
                  <a:pt x="5850" y="9192"/>
                  <a:pt x="5833" y="9133"/>
                </a:cubicBezTo>
                <a:cubicBezTo>
                  <a:pt x="5837" y="9134"/>
                  <a:pt x="5840" y="9135"/>
                  <a:pt x="5844" y="9136"/>
                </a:cubicBezTo>
                <a:cubicBezTo>
                  <a:pt x="5844" y="9128"/>
                  <a:pt x="5845" y="9122"/>
                  <a:pt x="5845" y="9114"/>
                </a:cubicBezTo>
                <a:cubicBezTo>
                  <a:pt x="5849" y="9119"/>
                  <a:pt x="5848" y="9114"/>
                  <a:pt x="5850" y="9124"/>
                </a:cubicBezTo>
                <a:cubicBezTo>
                  <a:pt x="5850" y="9124"/>
                  <a:pt x="5851" y="9124"/>
                  <a:pt x="5851" y="9124"/>
                </a:cubicBezTo>
                <a:cubicBezTo>
                  <a:pt x="5853" y="9118"/>
                  <a:pt x="5854" y="9117"/>
                  <a:pt x="5854" y="9106"/>
                </a:cubicBezTo>
                <a:cubicBezTo>
                  <a:pt x="5854" y="9110"/>
                  <a:pt x="5855" y="9114"/>
                  <a:pt x="5855" y="9118"/>
                </a:cubicBezTo>
                <a:cubicBezTo>
                  <a:pt x="5861" y="9110"/>
                  <a:pt x="5862" y="9108"/>
                  <a:pt x="5861" y="9100"/>
                </a:cubicBezTo>
                <a:cubicBezTo>
                  <a:pt x="5865" y="9096"/>
                  <a:pt x="5869" y="9092"/>
                  <a:pt x="5872" y="9088"/>
                </a:cubicBezTo>
                <a:cubicBezTo>
                  <a:pt x="5870" y="9095"/>
                  <a:pt x="5869" y="9102"/>
                  <a:pt x="5867" y="9108"/>
                </a:cubicBezTo>
                <a:cubicBezTo>
                  <a:pt x="5870" y="9111"/>
                  <a:pt x="5873" y="9113"/>
                  <a:pt x="5876" y="9115"/>
                </a:cubicBezTo>
                <a:cubicBezTo>
                  <a:pt x="5870" y="9118"/>
                  <a:pt x="5865" y="9121"/>
                  <a:pt x="5860" y="9124"/>
                </a:cubicBezTo>
                <a:cubicBezTo>
                  <a:pt x="5857" y="9131"/>
                  <a:pt x="5854" y="9137"/>
                  <a:pt x="5852" y="9144"/>
                </a:cubicBezTo>
                <a:cubicBezTo>
                  <a:pt x="5852" y="9145"/>
                  <a:pt x="5852" y="9146"/>
                  <a:pt x="5852" y="9147"/>
                </a:cubicBezTo>
                <a:cubicBezTo>
                  <a:pt x="5855" y="9147"/>
                  <a:pt x="5860" y="9147"/>
                  <a:pt x="5863" y="9147"/>
                </a:cubicBezTo>
                <a:cubicBezTo>
                  <a:pt x="5861" y="9161"/>
                  <a:pt x="5859" y="9165"/>
                  <a:pt x="5848" y="9165"/>
                </a:cubicBezTo>
                <a:cubicBezTo>
                  <a:pt x="5847" y="9167"/>
                  <a:pt x="5846" y="9171"/>
                  <a:pt x="5845" y="9173"/>
                </a:cubicBezTo>
                <a:cubicBezTo>
                  <a:pt x="5849" y="9180"/>
                  <a:pt x="5851" y="9181"/>
                  <a:pt x="5858" y="9183"/>
                </a:cubicBezTo>
                <a:cubicBezTo>
                  <a:pt x="5858" y="9184"/>
                  <a:pt x="5859" y="9187"/>
                  <a:pt x="5860" y="9189"/>
                </a:cubicBezTo>
                <a:cubicBezTo>
                  <a:pt x="5860" y="9192"/>
                  <a:pt x="5860" y="9195"/>
                  <a:pt x="5860" y="9198"/>
                </a:cubicBezTo>
                <a:cubicBezTo>
                  <a:pt x="5857" y="9196"/>
                  <a:pt x="5854" y="9193"/>
                  <a:pt x="5851" y="9190"/>
                </a:cubicBezTo>
                <a:cubicBezTo>
                  <a:pt x="5850" y="9191"/>
                  <a:pt x="5849" y="9193"/>
                  <a:pt x="5848" y="9194"/>
                </a:cubicBezTo>
                <a:cubicBezTo>
                  <a:pt x="5847" y="9199"/>
                  <a:pt x="5846" y="9203"/>
                  <a:pt x="5845" y="9208"/>
                </a:cubicBezTo>
                <a:cubicBezTo>
                  <a:pt x="5845" y="9209"/>
                  <a:pt x="5845" y="9211"/>
                  <a:pt x="5845" y="9212"/>
                </a:cubicBezTo>
                <a:cubicBezTo>
                  <a:pt x="5855" y="9202"/>
                  <a:pt x="5852" y="9207"/>
                  <a:pt x="5864" y="9216"/>
                </a:cubicBezTo>
                <a:cubicBezTo>
                  <a:pt x="5865" y="9219"/>
                  <a:pt x="5866" y="9221"/>
                  <a:pt x="5867" y="9224"/>
                </a:cubicBezTo>
                <a:cubicBezTo>
                  <a:pt x="5861" y="9228"/>
                  <a:pt x="5854" y="9233"/>
                  <a:pt x="5848" y="9237"/>
                </a:cubicBezTo>
                <a:cubicBezTo>
                  <a:pt x="5847" y="9238"/>
                  <a:pt x="5847" y="9240"/>
                  <a:pt x="5847" y="9242"/>
                </a:cubicBezTo>
                <a:cubicBezTo>
                  <a:pt x="5849" y="9248"/>
                  <a:pt x="5851" y="9254"/>
                  <a:pt x="5854" y="9260"/>
                </a:cubicBezTo>
                <a:cubicBezTo>
                  <a:pt x="5858" y="9264"/>
                  <a:pt x="5860" y="9268"/>
                  <a:pt x="5864" y="9273"/>
                </a:cubicBezTo>
                <a:cubicBezTo>
                  <a:pt x="5869" y="9268"/>
                  <a:pt x="5874" y="9262"/>
                  <a:pt x="5878" y="9257"/>
                </a:cubicBezTo>
                <a:cubicBezTo>
                  <a:pt x="5878" y="9279"/>
                  <a:pt x="5878" y="9271"/>
                  <a:pt x="5873" y="9286"/>
                </a:cubicBezTo>
                <a:cubicBezTo>
                  <a:pt x="5876" y="9290"/>
                  <a:pt x="5879" y="9292"/>
                  <a:pt x="5882" y="9296"/>
                </a:cubicBezTo>
                <a:cubicBezTo>
                  <a:pt x="5881" y="9301"/>
                  <a:pt x="5880" y="9306"/>
                  <a:pt x="5878" y="9311"/>
                </a:cubicBezTo>
                <a:cubicBezTo>
                  <a:pt x="5878" y="9312"/>
                  <a:pt x="5878" y="9313"/>
                  <a:pt x="5878" y="9314"/>
                </a:cubicBezTo>
                <a:cubicBezTo>
                  <a:pt x="5879" y="9314"/>
                  <a:pt x="5879" y="9314"/>
                  <a:pt x="5880" y="9314"/>
                </a:cubicBezTo>
                <a:cubicBezTo>
                  <a:pt x="5885" y="9310"/>
                  <a:pt x="5886" y="9308"/>
                  <a:pt x="5891" y="9314"/>
                </a:cubicBezTo>
                <a:cubicBezTo>
                  <a:pt x="5882" y="9343"/>
                  <a:pt x="5871" y="9368"/>
                  <a:pt x="5866" y="9406"/>
                </a:cubicBezTo>
                <a:cubicBezTo>
                  <a:pt x="5867" y="9411"/>
                  <a:pt x="5868" y="9417"/>
                  <a:pt x="5869" y="9422"/>
                </a:cubicBezTo>
                <a:cubicBezTo>
                  <a:pt x="5871" y="9421"/>
                  <a:pt x="5872" y="9419"/>
                  <a:pt x="5874" y="9418"/>
                </a:cubicBezTo>
                <a:cubicBezTo>
                  <a:pt x="5878" y="9403"/>
                  <a:pt x="5882" y="9388"/>
                  <a:pt x="5885" y="9372"/>
                </a:cubicBezTo>
                <a:cubicBezTo>
                  <a:pt x="5890" y="9372"/>
                  <a:pt x="5889" y="9375"/>
                  <a:pt x="5893" y="9370"/>
                </a:cubicBezTo>
                <a:cubicBezTo>
                  <a:pt x="5898" y="9348"/>
                  <a:pt x="5902" y="9325"/>
                  <a:pt x="5908" y="9303"/>
                </a:cubicBezTo>
                <a:cubicBezTo>
                  <a:pt x="5915" y="9280"/>
                  <a:pt x="5927" y="9273"/>
                  <a:pt x="5930" y="9246"/>
                </a:cubicBezTo>
                <a:cubicBezTo>
                  <a:pt x="5929" y="9230"/>
                  <a:pt x="5928" y="9215"/>
                  <a:pt x="5927" y="9198"/>
                </a:cubicBezTo>
                <a:cubicBezTo>
                  <a:pt x="5910" y="9185"/>
                  <a:pt x="5898" y="9115"/>
                  <a:pt x="5894" y="9081"/>
                </a:cubicBezTo>
                <a:cubicBezTo>
                  <a:pt x="5899" y="9071"/>
                  <a:pt x="5901" y="9061"/>
                  <a:pt x="5908" y="9054"/>
                </a:cubicBezTo>
                <a:cubicBezTo>
                  <a:pt x="5908" y="9055"/>
                  <a:pt x="5908" y="9056"/>
                  <a:pt x="5909" y="9057"/>
                </a:cubicBezTo>
                <a:cubicBezTo>
                  <a:pt x="5905" y="9069"/>
                  <a:pt x="5901" y="9075"/>
                  <a:pt x="5896" y="9085"/>
                </a:cubicBezTo>
                <a:cubicBezTo>
                  <a:pt x="5908" y="9115"/>
                  <a:pt x="5911" y="9143"/>
                  <a:pt x="5937" y="9142"/>
                </a:cubicBezTo>
                <a:cubicBezTo>
                  <a:pt x="5938" y="9157"/>
                  <a:pt x="5936" y="9160"/>
                  <a:pt x="5934" y="9174"/>
                </a:cubicBezTo>
                <a:cubicBezTo>
                  <a:pt x="5934" y="9175"/>
                  <a:pt x="5934" y="9177"/>
                  <a:pt x="5934" y="9178"/>
                </a:cubicBezTo>
                <a:cubicBezTo>
                  <a:pt x="5935" y="9179"/>
                  <a:pt x="5936" y="9179"/>
                  <a:pt x="5937" y="9180"/>
                </a:cubicBezTo>
                <a:cubicBezTo>
                  <a:pt x="5949" y="9164"/>
                  <a:pt x="5970" y="9129"/>
                  <a:pt x="5970" y="9093"/>
                </a:cubicBezTo>
                <a:cubicBezTo>
                  <a:pt x="5973" y="9094"/>
                  <a:pt x="5975" y="9097"/>
                  <a:pt x="5978" y="9099"/>
                </a:cubicBezTo>
                <a:cubicBezTo>
                  <a:pt x="5985" y="9061"/>
                  <a:pt x="5995" y="9019"/>
                  <a:pt x="5999" y="8975"/>
                </a:cubicBezTo>
                <a:cubicBezTo>
                  <a:pt x="5987" y="8972"/>
                  <a:pt x="5985" y="8966"/>
                  <a:pt x="5979" y="8953"/>
                </a:cubicBezTo>
                <a:cubicBezTo>
                  <a:pt x="5979" y="8951"/>
                  <a:pt x="5979" y="8949"/>
                  <a:pt x="5978" y="8946"/>
                </a:cubicBezTo>
                <a:cubicBezTo>
                  <a:pt x="5985" y="8937"/>
                  <a:pt x="5985" y="8933"/>
                  <a:pt x="5992" y="8936"/>
                </a:cubicBezTo>
                <a:cubicBezTo>
                  <a:pt x="5996" y="8915"/>
                  <a:pt x="6000" y="8893"/>
                  <a:pt x="6005" y="8872"/>
                </a:cubicBezTo>
                <a:cubicBezTo>
                  <a:pt x="6001" y="8890"/>
                  <a:pt x="5998" y="8909"/>
                  <a:pt x="5995" y="8928"/>
                </a:cubicBezTo>
                <a:cubicBezTo>
                  <a:pt x="6036" y="8874"/>
                  <a:pt x="6085" y="8837"/>
                  <a:pt x="6157" y="8838"/>
                </a:cubicBezTo>
                <a:cubicBezTo>
                  <a:pt x="6159" y="8821"/>
                  <a:pt x="6161" y="8804"/>
                  <a:pt x="6163" y="8788"/>
                </a:cubicBezTo>
                <a:cubicBezTo>
                  <a:pt x="6163" y="8787"/>
                  <a:pt x="6171" y="8787"/>
                  <a:pt x="6176" y="8782"/>
                </a:cubicBezTo>
                <a:cubicBezTo>
                  <a:pt x="6177" y="8791"/>
                  <a:pt x="6175" y="8804"/>
                  <a:pt x="6175" y="8821"/>
                </a:cubicBezTo>
                <a:cubicBezTo>
                  <a:pt x="6176" y="8822"/>
                  <a:pt x="6177" y="8821"/>
                  <a:pt x="6178" y="8822"/>
                </a:cubicBezTo>
                <a:cubicBezTo>
                  <a:pt x="6190" y="8821"/>
                  <a:pt x="6201" y="8803"/>
                  <a:pt x="6204" y="8788"/>
                </a:cubicBezTo>
                <a:cubicBezTo>
                  <a:pt x="6205" y="8788"/>
                  <a:pt x="6205" y="8788"/>
                  <a:pt x="6206" y="8788"/>
                </a:cubicBezTo>
                <a:cubicBezTo>
                  <a:pt x="6208" y="8794"/>
                  <a:pt x="6208" y="8802"/>
                  <a:pt x="6208" y="8815"/>
                </a:cubicBezTo>
                <a:cubicBezTo>
                  <a:pt x="6224" y="8808"/>
                  <a:pt x="6240" y="8802"/>
                  <a:pt x="6256" y="8795"/>
                </a:cubicBezTo>
                <a:cubicBezTo>
                  <a:pt x="6256" y="8781"/>
                  <a:pt x="6252" y="8776"/>
                  <a:pt x="6251" y="8768"/>
                </a:cubicBezTo>
                <a:cubicBezTo>
                  <a:pt x="6251" y="8770"/>
                  <a:pt x="6251" y="8772"/>
                  <a:pt x="6251" y="8774"/>
                </a:cubicBezTo>
                <a:cubicBezTo>
                  <a:pt x="6245" y="8779"/>
                  <a:pt x="6239" y="8785"/>
                  <a:pt x="6232" y="8790"/>
                </a:cubicBezTo>
                <a:cubicBezTo>
                  <a:pt x="6228" y="8788"/>
                  <a:pt x="6224" y="8784"/>
                  <a:pt x="6221" y="8782"/>
                </a:cubicBezTo>
                <a:cubicBezTo>
                  <a:pt x="6217" y="8743"/>
                  <a:pt x="6208" y="8708"/>
                  <a:pt x="6185" y="8705"/>
                </a:cubicBezTo>
                <a:cubicBezTo>
                  <a:pt x="6187" y="8677"/>
                  <a:pt x="6199" y="8671"/>
                  <a:pt x="6212" y="8664"/>
                </a:cubicBezTo>
                <a:cubicBezTo>
                  <a:pt x="6212" y="8661"/>
                  <a:pt x="6214" y="8659"/>
                  <a:pt x="6214" y="8657"/>
                </a:cubicBezTo>
                <a:cubicBezTo>
                  <a:pt x="6203" y="8650"/>
                  <a:pt x="6202" y="8654"/>
                  <a:pt x="6196" y="8634"/>
                </a:cubicBezTo>
                <a:cubicBezTo>
                  <a:pt x="6206" y="8604"/>
                  <a:pt x="6217" y="8536"/>
                  <a:pt x="6236" y="8526"/>
                </a:cubicBezTo>
                <a:cubicBezTo>
                  <a:pt x="6236" y="8516"/>
                  <a:pt x="6236" y="8506"/>
                  <a:pt x="6236" y="8497"/>
                </a:cubicBezTo>
                <a:cubicBezTo>
                  <a:pt x="6242" y="8492"/>
                  <a:pt x="6248" y="8488"/>
                  <a:pt x="6254" y="8484"/>
                </a:cubicBezTo>
                <a:cubicBezTo>
                  <a:pt x="6254" y="8488"/>
                  <a:pt x="6253" y="8492"/>
                  <a:pt x="6252" y="8497"/>
                </a:cubicBezTo>
                <a:cubicBezTo>
                  <a:pt x="6255" y="8499"/>
                  <a:pt x="6258" y="8501"/>
                  <a:pt x="6261" y="8504"/>
                </a:cubicBezTo>
                <a:cubicBezTo>
                  <a:pt x="6261" y="8504"/>
                  <a:pt x="6262" y="8504"/>
                  <a:pt x="6263" y="8504"/>
                </a:cubicBezTo>
                <a:cubicBezTo>
                  <a:pt x="6269" y="8489"/>
                  <a:pt x="6270" y="8493"/>
                  <a:pt x="6268" y="8473"/>
                </a:cubicBezTo>
                <a:cubicBezTo>
                  <a:pt x="6271" y="8470"/>
                  <a:pt x="6273" y="8466"/>
                  <a:pt x="6275" y="8463"/>
                </a:cubicBezTo>
                <a:cubicBezTo>
                  <a:pt x="6274" y="8469"/>
                  <a:pt x="6273" y="8476"/>
                  <a:pt x="6272" y="8481"/>
                </a:cubicBezTo>
                <a:cubicBezTo>
                  <a:pt x="6276" y="8483"/>
                  <a:pt x="6279" y="8486"/>
                  <a:pt x="6283" y="8487"/>
                </a:cubicBezTo>
                <a:cubicBezTo>
                  <a:pt x="6285" y="8479"/>
                  <a:pt x="6287" y="8470"/>
                  <a:pt x="6289" y="8461"/>
                </a:cubicBezTo>
                <a:cubicBezTo>
                  <a:pt x="6291" y="8464"/>
                  <a:pt x="6294" y="8468"/>
                  <a:pt x="6297" y="8472"/>
                </a:cubicBezTo>
                <a:cubicBezTo>
                  <a:pt x="6310" y="8453"/>
                  <a:pt x="6322" y="8411"/>
                  <a:pt x="6327" y="8382"/>
                </a:cubicBezTo>
                <a:cubicBezTo>
                  <a:pt x="6328" y="8382"/>
                  <a:pt x="6329" y="8382"/>
                  <a:pt x="6329" y="8382"/>
                </a:cubicBezTo>
                <a:cubicBezTo>
                  <a:pt x="6330" y="8382"/>
                  <a:pt x="6330" y="8383"/>
                  <a:pt x="6331" y="8384"/>
                </a:cubicBezTo>
                <a:cubicBezTo>
                  <a:pt x="6329" y="8393"/>
                  <a:pt x="6328" y="8400"/>
                  <a:pt x="6326" y="8409"/>
                </a:cubicBezTo>
                <a:cubicBezTo>
                  <a:pt x="6327" y="8411"/>
                  <a:pt x="6327" y="8412"/>
                  <a:pt x="6327" y="8414"/>
                </a:cubicBezTo>
                <a:cubicBezTo>
                  <a:pt x="6334" y="8417"/>
                  <a:pt x="6340" y="8421"/>
                  <a:pt x="6346" y="8425"/>
                </a:cubicBezTo>
                <a:cubicBezTo>
                  <a:pt x="6345" y="8417"/>
                  <a:pt x="6344" y="8410"/>
                  <a:pt x="6343" y="8402"/>
                </a:cubicBezTo>
                <a:cubicBezTo>
                  <a:pt x="6353" y="8405"/>
                  <a:pt x="6360" y="8393"/>
                  <a:pt x="6370" y="8389"/>
                </a:cubicBezTo>
                <a:cubicBezTo>
                  <a:pt x="6371" y="8396"/>
                  <a:pt x="6372" y="8405"/>
                  <a:pt x="6373" y="8413"/>
                </a:cubicBezTo>
                <a:cubicBezTo>
                  <a:pt x="6382" y="8401"/>
                  <a:pt x="6386" y="8383"/>
                  <a:pt x="6394" y="8373"/>
                </a:cubicBezTo>
                <a:cubicBezTo>
                  <a:pt x="6397" y="8377"/>
                  <a:pt x="6401" y="8382"/>
                  <a:pt x="6404" y="8386"/>
                </a:cubicBezTo>
                <a:cubicBezTo>
                  <a:pt x="6408" y="8380"/>
                  <a:pt x="6407" y="8382"/>
                  <a:pt x="6408" y="8368"/>
                </a:cubicBezTo>
                <a:cubicBezTo>
                  <a:pt x="6423" y="8373"/>
                  <a:pt x="6429" y="8363"/>
                  <a:pt x="6441" y="8353"/>
                </a:cubicBezTo>
                <a:cubicBezTo>
                  <a:pt x="6443" y="8345"/>
                  <a:pt x="6444" y="8347"/>
                  <a:pt x="6444" y="8341"/>
                </a:cubicBezTo>
                <a:cubicBezTo>
                  <a:pt x="6440" y="8341"/>
                  <a:pt x="6437" y="8341"/>
                  <a:pt x="6433" y="8341"/>
                </a:cubicBezTo>
                <a:cubicBezTo>
                  <a:pt x="6435" y="8335"/>
                  <a:pt x="6438" y="8329"/>
                  <a:pt x="6440" y="8323"/>
                </a:cubicBezTo>
                <a:cubicBezTo>
                  <a:pt x="6438" y="8313"/>
                  <a:pt x="6435" y="8303"/>
                  <a:pt x="6433" y="8294"/>
                </a:cubicBezTo>
                <a:cubicBezTo>
                  <a:pt x="6435" y="8297"/>
                  <a:pt x="6438" y="8300"/>
                  <a:pt x="6440" y="8303"/>
                </a:cubicBezTo>
                <a:cubicBezTo>
                  <a:pt x="6449" y="8288"/>
                  <a:pt x="6470" y="8296"/>
                  <a:pt x="6479" y="8309"/>
                </a:cubicBezTo>
                <a:cubicBezTo>
                  <a:pt x="6487" y="8302"/>
                  <a:pt x="6494" y="8294"/>
                  <a:pt x="6501" y="8287"/>
                </a:cubicBezTo>
                <a:cubicBezTo>
                  <a:pt x="6500" y="8281"/>
                  <a:pt x="6498" y="8276"/>
                  <a:pt x="6497" y="8271"/>
                </a:cubicBezTo>
                <a:cubicBezTo>
                  <a:pt x="6502" y="8276"/>
                  <a:pt x="6507" y="8281"/>
                  <a:pt x="6512" y="8287"/>
                </a:cubicBezTo>
                <a:cubicBezTo>
                  <a:pt x="6542" y="8280"/>
                  <a:pt x="6554" y="8228"/>
                  <a:pt x="6587" y="8227"/>
                </a:cubicBezTo>
                <a:cubicBezTo>
                  <a:pt x="6589" y="8217"/>
                  <a:pt x="6592" y="8208"/>
                  <a:pt x="6595" y="8199"/>
                </a:cubicBezTo>
                <a:cubicBezTo>
                  <a:pt x="6594" y="8191"/>
                  <a:pt x="6592" y="8184"/>
                  <a:pt x="6591" y="8176"/>
                </a:cubicBezTo>
                <a:cubicBezTo>
                  <a:pt x="6596" y="8184"/>
                  <a:pt x="6599" y="8190"/>
                  <a:pt x="6600" y="8206"/>
                </a:cubicBezTo>
                <a:cubicBezTo>
                  <a:pt x="6605" y="8202"/>
                  <a:pt x="6609" y="8199"/>
                  <a:pt x="6613" y="8194"/>
                </a:cubicBezTo>
                <a:cubicBezTo>
                  <a:pt x="6614" y="8194"/>
                  <a:pt x="6614" y="8194"/>
                  <a:pt x="6615" y="8194"/>
                </a:cubicBezTo>
                <a:cubicBezTo>
                  <a:pt x="6609" y="8221"/>
                  <a:pt x="6592" y="8244"/>
                  <a:pt x="6577" y="8253"/>
                </a:cubicBezTo>
                <a:cubicBezTo>
                  <a:pt x="6575" y="8260"/>
                  <a:pt x="6575" y="8262"/>
                  <a:pt x="6574" y="8273"/>
                </a:cubicBezTo>
                <a:cubicBezTo>
                  <a:pt x="6598" y="8251"/>
                  <a:pt x="6641" y="8257"/>
                  <a:pt x="6669" y="8263"/>
                </a:cubicBezTo>
                <a:cubicBezTo>
                  <a:pt x="6670" y="8265"/>
                  <a:pt x="6671" y="8269"/>
                  <a:pt x="6672" y="8271"/>
                </a:cubicBezTo>
                <a:cubicBezTo>
                  <a:pt x="6652" y="8270"/>
                  <a:pt x="6639" y="8285"/>
                  <a:pt x="6621" y="8291"/>
                </a:cubicBezTo>
                <a:cubicBezTo>
                  <a:pt x="6621" y="8297"/>
                  <a:pt x="6621" y="8303"/>
                  <a:pt x="6621" y="8309"/>
                </a:cubicBezTo>
                <a:cubicBezTo>
                  <a:pt x="6616" y="8302"/>
                  <a:pt x="6618" y="8301"/>
                  <a:pt x="6612" y="8300"/>
                </a:cubicBezTo>
                <a:cubicBezTo>
                  <a:pt x="6612" y="8291"/>
                  <a:pt x="6613" y="8281"/>
                  <a:pt x="6613" y="8271"/>
                </a:cubicBezTo>
                <a:cubicBezTo>
                  <a:pt x="6595" y="8270"/>
                  <a:pt x="6535" y="8338"/>
                  <a:pt x="6523" y="8361"/>
                </a:cubicBezTo>
                <a:cubicBezTo>
                  <a:pt x="6522" y="8361"/>
                  <a:pt x="6521" y="8361"/>
                  <a:pt x="6520" y="8361"/>
                </a:cubicBezTo>
                <a:cubicBezTo>
                  <a:pt x="6522" y="8364"/>
                  <a:pt x="6525" y="8366"/>
                  <a:pt x="6528" y="8368"/>
                </a:cubicBezTo>
                <a:cubicBezTo>
                  <a:pt x="6528" y="8369"/>
                  <a:pt x="6528" y="8371"/>
                  <a:pt x="6528" y="8372"/>
                </a:cubicBezTo>
                <a:cubicBezTo>
                  <a:pt x="6522" y="8373"/>
                  <a:pt x="6524" y="8372"/>
                  <a:pt x="6519" y="8366"/>
                </a:cubicBezTo>
                <a:cubicBezTo>
                  <a:pt x="6510" y="8375"/>
                  <a:pt x="6502" y="8384"/>
                  <a:pt x="6493" y="8394"/>
                </a:cubicBezTo>
                <a:cubicBezTo>
                  <a:pt x="6492" y="8395"/>
                  <a:pt x="6492" y="8397"/>
                  <a:pt x="6491" y="8398"/>
                </a:cubicBezTo>
                <a:cubicBezTo>
                  <a:pt x="6493" y="8400"/>
                  <a:pt x="6494" y="8403"/>
                  <a:pt x="6495" y="8404"/>
                </a:cubicBezTo>
                <a:cubicBezTo>
                  <a:pt x="6502" y="8397"/>
                  <a:pt x="6508" y="8389"/>
                  <a:pt x="6515" y="8382"/>
                </a:cubicBezTo>
                <a:cubicBezTo>
                  <a:pt x="6512" y="8397"/>
                  <a:pt x="6510" y="8388"/>
                  <a:pt x="6505" y="8397"/>
                </a:cubicBezTo>
                <a:cubicBezTo>
                  <a:pt x="6488" y="8430"/>
                  <a:pt x="6499" y="8466"/>
                  <a:pt x="6504" y="8502"/>
                </a:cubicBezTo>
                <a:cubicBezTo>
                  <a:pt x="6507" y="8500"/>
                  <a:pt x="6506" y="8501"/>
                  <a:pt x="6510" y="8494"/>
                </a:cubicBezTo>
                <a:cubicBezTo>
                  <a:pt x="6514" y="8507"/>
                  <a:pt x="6518" y="8520"/>
                  <a:pt x="6522" y="8533"/>
                </a:cubicBezTo>
                <a:cubicBezTo>
                  <a:pt x="6532" y="8529"/>
                  <a:pt x="6531" y="8527"/>
                  <a:pt x="6538" y="8540"/>
                </a:cubicBezTo>
                <a:cubicBezTo>
                  <a:pt x="6540" y="8531"/>
                  <a:pt x="6542" y="8522"/>
                  <a:pt x="6544" y="8512"/>
                </a:cubicBezTo>
                <a:cubicBezTo>
                  <a:pt x="6552" y="8506"/>
                  <a:pt x="6556" y="8505"/>
                  <a:pt x="6568" y="8506"/>
                </a:cubicBezTo>
                <a:cubicBezTo>
                  <a:pt x="6568" y="8500"/>
                  <a:pt x="6568" y="8495"/>
                  <a:pt x="6568" y="8490"/>
                </a:cubicBezTo>
                <a:cubicBezTo>
                  <a:pt x="6569" y="8491"/>
                  <a:pt x="6570" y="8493"/>
                  <a:pt x="6572" y="8494"/>
                </a:cubicBezTo>
                <a:cubicBezTo>
                  <a:pt x="6585" y="8480"/>
                  <a:pt x="6591" y="8425"/>
                  <a:pt x="6616" y="8425"/>
                </a:cubicBezTo>
                <a:cubicBezTo>
                  <a:pt x="6619" y="8404"/>
                  <a:pt x="6614" y="8404"/>
                  <a:pt x="6613" y="8382"/>
                </a:cubicBezTo>
                <a:cubicBezTo>
                  <a:pt x="6616" y="8382"/>
                  <a:pt x="6618" y="8382"/>
                  <a:pt x="6621" y="8382"/>
                </a:cubicBezTo>
                <a:cubicBezTo>
                  <a:pt x="6623" y="8386"/>
                  <a:pt x="6624" y="8389"/>
                  <a:pt x="6625" y="8394"/>
                </a:cubicBezTo>
                <a:cubicBezTo>
                  <a:pt x="6626" y="8394"/>
                  <a:pt x="6627" y="8394"/>
                  <a:pt x="6627" y="8394"/>
                </a:cubicBezTo>
                <a:cubicBezTo>
                  <a:pt x="6632" y="8388"/>
                  <a:pt x="6634" y="8384"/>
                  <a:pt x="6637" y="8373"/>
                </a:cubicBezTo>
                <a:cubicBezTo>
                  <a:pt x="6637" y="8372"/>
                  <a:pt x="6638" y="8373"/>
                  <a:pt x="6639" y="8372"/>
                </a:cubicBezTo>
                <a:cubicBezTo>
                  <a:pt x="6639" y="8377"/>
                  <a:pt x="6639" y="8383"/>
                  <a:pt x="6639" y="8389"/>
                </a:cubicBezTo>
                <a:cubicBezTo>
                  <a:pt x="6646" y="8391"/>
                  <a:pt x="6653" y="8392"/>
                  <a:pt x="6661" y="8394"/>
                </a:cubicBezTo>
                <a:cubicBezTo>
                  <a:pt x="6665" y="8380"/>
                  <a:pt x="6668" y="8384"/>
                  <a:pt x="6670" y="8366"/>
                </a:cubicBezTo>
                <a:cubicBezTo>
                  <a:pt x="6672" y="8368"/>
                  <a:pt x="6675" y="8371"/>
                  <a:pt x="6677" y="8373"/>
                </a:cubicBezTo>
                <a:cubicBezTo>
                  <a:pt x="6678" y="8367"/>
                  <a:pt x="6679" y="8361"/>
                  <a:pt x="6679" y="8355"/>
                </a:cubicBezTo>
                <a:cubicBezTo>
                  <a:pt x="6681" y="8354"/>
                  <a:pt x="6683" y="8354"/>
                  <a:pt x="6684" y="8353"/>
                </a:cubicBezTo>
                <a:cubicBezTo>
                  <a:pt x="6691" y="8356"/>
                  <a:pt x="6689" y="8359"/>
                  <a:pt x="6694" y="8366"/>
                </a:cubicBezTo>
                <a:cubicBezTo>
                  <a:pt x="6721" y="8347"/>
                  <a:pt x="6751" y="8309"/>
                  <a:pt x="6782" y="8307"/>
                </a:cubicBezTo>
                <a:cubicBezTo>
                  <a:pt x="6782" y="8303"/>
                  <a:pt x="6782" y="8300"/>
                  <a:pt x="6781" y="8296"/>
                </a:cubicBezTo>
                <a:cubicBezTo>
                  <a:pt x="6788" y="8297"/>
                  <a:pt x="6794" y="8299"/>
                  <a:pt x="6801" y="8300"/>
                </a:cubicBezTo>
                <a:cubicBezTo>
                  <a:pt x="6800" y="8297"/>
                  <a:pt x="6800" y="8294"/>
                  <a:pt x="6799" y="8291"/>
                </a:cubicBezTo>
                <a:cubicBezTo>
                  <a:pt x="6800" y="8290"/>
                  <a:pt x="6802" y="8288"/>
                  <a:pt x="6803" y="8287"/>
                </a:cubicBezTo>
                <a:cubicBezTo>
                  <a:pt x="6808" y="8281"/>
                  <a:pt x="6808" y="8285"/>
                  <a:pt x="6813" y="8291"/>
                </a:cubicBezTo>
                <a:cubicBezTo>
                  <a:pt x="6817" y="8288"/>
                  <a:pt x="6823" y="8285"/>
                  <a:pt x="6827" y="8282"/>
                </a:cubicBezTo>
                <a:cubicBezTo>
                  <a:pt x="6821" y="8268"/>
                  <a:pt x="6811" y="8266"/>
                  <a:pt x="6797" y="8267"/>
                </a:cubicBezTo>
                <a:cubicBezTo>
                  <a:pt x="6796" y="8265"/>
                  <a:pt x="6796" y="8263"/>
                  <a:pt x="6795" y="8260"/>
                </a:cubicBezTo>
                <a:cubicBezTo>
                  <a:pt x="6798" y="8258"/>
                  <a:pt x="6800" y="8256"/>
                  <a:pt x="6803" y="8253"/>
                </a:cubicBezTo>
                <a:cubicBezTo>
                  <a:pt x="6805" y="8249"/>
                  <a:pt x="6806" y="8247"/>
                  <a:pt x="6807" y="8243"/>
                </a:cubicBezTo>
                <a:cubicBezTo>
                  <a:pt x="6802" y="8235"/>
                  <a:pt x="6798" y="8226"/>
                  <a:pt x="6793" y="8217"/>
                </a:cubicBezTo>
                <a:cubicBezTo>
                  <a:pt x="6777" y="8206"/>
                  <a:pt x="6769" y="8235"/>
                  <a:pt x="6764" y="8192"/>
                </a:cubicBezTo>
                <a:cubicBezTo>
                  <a:pt x="6750" y="8196"/>
                  <a:pt x="6745" y="8212"/>
                  <a:pt x="6735" y="8219"/>
                </a:cubicBezTo>
                <a:cubicBezTo>
                  <a:pt x="6728" y="8224"/>
                  <a:pt x="6719" y="8221"/>
                  <a:pt x="6714" y="8224"/>
                </a:cubicBezTo>
                <a:cubicBezTo>
                  <a:pt x="6716" y="8219"/>
                  <a:pt x="6717" y="8215"/>
                  <a:pt x="6718" y="8210"/>
                </a:cubicBezTo>
                <a:cubicBezTo>
                  <a:pt x="6717" y="8210"/>
                  <a:pt x="6717" y="8210"/>
                  <a:pt x="6716" y="8210"/>
                </a:cubicBezTo>
                <a:cubicBezTo>
                  <a:pt x="6715" y="8208"/>
                  <a:pt x="6715" y="8206"/>
                  <a:pt x="6714" y="8204"/>
                </a:cubicBezTo>
                <a:cubicBezTo>
                  <a:pt x="6700" y="8191"/>
                  <a:pt x="6688" y="8215"/>
                  <a:pt x="6678" y="8206"/>
                </a:cubicBezTo>
                <a:cubicBezTo>
                  <a:pt x="6674" y="8201"/>
                  <a:pt x="6670" y="8197"/>
                  <a:pt x="6666" y="8192"/>
                </a:cubicBezTo>
                <a:cubicBezTo>
                  <a:pt x="6660" y="8193"/>
                  <a:pt x="6654" y="8193"/>
                  <a:pt x="6648" y="8194"/>
                </a:cubicBezTo>
                <a:cubicBezTo>
                  <a:pt x="6641" y="8189"/>
                  <a:pt x="6639" y="8174"/>
                  <a:pt x="6629" y="8170"/>
                </a:cubicBezTo>
                <a:cubicBezTo>
                  <a:pt x="6629" y="8170"/>
                  <a:pt x="6629" y="8170"/>
                  <a:pt x="6629" y="8170"/>
                </a:cubicBezTo>
                <a:cubicBezTo>
                  <a:pt x="6628" y="8170"/>
                  <a:pt x="6627" y="8170"/>
                  <a:pt x="6627" y="8170"/>
                </a:cubicBezTo>
                <a:cubicBezTo>
                  <a:pt x="6627" y="8169"/>
                  <a:pt x="6627" y="8170"/>
                  <a:pt x="6627" y="8169"/>
                </a:cubicBezTo>
                <a:cubicBezTo>
                  <a:pt x="6632" y="8166"/>
                  <a:pt x="6638" y="8162"/>
                  <a:pt x="6644" y="8158"/>
                </a:cubicBezTo>
                <a:cubicBezTo>
                  <a:pt x="6645" y="8157"/>
                  <a:pt x="6646" y="8155"/>
                  <a:pt x="6647" y="8155"/>
                </a:cubicBezTo>
                <a:cubicBezTo>
                  <a:pt x="6624" y="8134"/>
                  <a:pt x="6581" y="8145"/>
                  <a:pt x="6588" y="8079"/>
                </a:cubicBezTo>
                <a:cubicBezTo>
                  <a:pt x="6584" y="8068"/>
                  <a:pt x="6584" y="8068"/>
                  <a:pt x="6578" y="8070"/>
                </a:cubicBezTo>
                <a:cubicBezTo>
                  <a:pt x="6575" y="8049"/>
                  <a:pt x="6576" y="8040"/>
                  <a:pt x="6581" y="8022"/>
                </a:cubicBezTo>
                <a:cubicBezTo>
                  <a:pt x="6574" y="8010"/>
                  <a:pt x="6561" y="8010"/>
                  <a:pt x="6547" y="8012"/>
                </a:cubicBezTo>
                <a:cubicBezTo>
                  <a:pt x="6566" y="7976"/>
                  <a:pt x="6569" y="7992"/>
                  <a:pt x="6576" y="7940"/>
                </a:cubicBezTo>
                <a:cubicBezTo>
                  <a:pt x="6580" y="7931"/>
                  <a:pt x="6585" y="7923"/>
                  <a:pt x="6590" y="7914"/>
                </a:cubicBezTo>
                <a:cubicBezTo>
                  <a:pt x="6587" y="7910"/>
                  <a:pt x="6584" y="7906"/>
                  <a:pt x="6580" y="7901"/>
                </a:cubicBezTo>
                <a:cubicBezTo>
                  <a:pt x="6576" y="7905"/>
                  <a:pt x="6572" y="7907"/>
                  <a:pt x="6568" y="7911"/>
                </a:cubicBezTo>
                <a:cubicBezTo>
                  <a:pt x="6568" y="7906"/>
                  <a:pt x="6568" y="7903"/>
                  <a:pt x="6568" y="7899"/>
                </a:cubicBezTo>
                <a:cubicBezTo>
                  <a:pt x="6556" y="7909"/>
                  <a:pt x="6544" y="7918"/>
                  <a:pt x="6532" y="7929"/>
                </a:cubicBezTo>
                <a:cubicBezTo>
                  <a:pt x="6517" y="7893"/>
                  <a:pt x="6507" y="7874"/>
                  <a:pt x="6476" y="7869"/>
                </a:cubicBezTo>
                <a:cubicBezTo>
                  <a:pt x="6476" y="7868"/>
                  <a:pt x="6476" y="7866"/>
                  <a:pt x="6476" y="7865"/>
                </a:cubicBezTo>
                <a:cubicBezTo>
                  <a:pt x="6487" y="7859"/>
                  <a:pt x="6501" y="7842"/>
                  <a:pt x="6517" y="7849"/>
                </a:cubicBezTo>
                <a:cubicBezTo>
                  <a:pt x="6525" y="7855"/>
                  <a:pt x="6532" y="7862"/>
                  <a:pt x="6539" y="7869"/>
                </a:cubicBezTo>
                <a:cubicBezTo>
                  <a:pt x="6557" y="7866"/>
                  <a:pt x="6615" y="7804"/>
                  <a:pt x="6621" y="7780"/>
                </a:cubicBezTo>
                <a:cubicBezTo>
                  <a:pt x="6601" y="7679"/>
                  <a:pt x="6532" y="7677"/>
                  <a:pt x="6475" y="7719"/>
                </a:cubicBezTo>
                <a:cubicBezTo>
                  <a:pt x="6413" y="7763"/>
                  <a:pt x="6345" y="7794"/>
                  <a:pt x="6296" y="7861"/>
                </a:cubicBezTo>
                <a:cubicBezTo>
                  <a:pt x="6256" y="7917"/>
                  <a:pt x="6226" y="8002"/>
                  <a:pt x="6186" y="8061"/>
                </a:cubicBezTo>
                <a:cubicBezTo>
                  <a:pt x="6220" y="7930"/>
                  <a:pt x="6290" y="7769"/>
                  <a:pt x="6355" y="7697"/>
                </a:cubicBezTo>
                <a:cubicBezTo>
                  <a:pt x="6373" y="7678"/>
                  <a:pt x="6404" y="7686"/>
                  <a:pt x="6421" y="7664"/>
                </a:cubicBezTo>
                <a:cubicBezTo>
                  <a:pt x="6444" y="7634"/>
                  <a:pt x="6436" y="7556"/>
                  <a:pt x="6479" y="7529"/>
                </a:cubicBezTo>
                <a:cubicBezTo>
                  <a:pt x="6504" y="7512"/>
                  <a:pt x="6548" y="7519"/>
                  <a:pt x="6574" y="7526"/>
                </a:cubicBezTo>
                <a:cubicBezTo>
                  <a:pt x="6613" y="7537"/>
                  <a:pt x="6651" y="7517"/>
                  <a:pt x="6687" y="7524"/>
                </a:cubicBezTo>
                <a:cubicBezTo>
                  <a:pt x="6722" y="7527"/>
                  <a:pt x="6758" y="7530"/>
                  <a:pt x="6793" y="7534"/>
                </a:cubicBezTo>
                <a:cubicBezTo>
                  <a:pt x="6841" y="7519"/>
                  <a:pt x="6895" y="7518"/>
                  <a:pt x="6926" y="7475"/>
                </a:cubicBezTo>
                <a:cubicBezTo>
                  <a:pt x="6944" y="7438"/>
                  <a:pt x="6963" y="7400"/>
                  <a:pt x="6981" y="7363"/>
                </a:cubicBezTo>
                <a:cubicBezTo>
                  <a:pt x="7010" y="7358"/>
                  <a:pt x="7039" y="7353"/>
                  <a:pt x="7068" y="7347"/>
                </a:cubicBezTo>
                <a:cubicBezTo>
                  <a:pt x="7048" y="7402"/>
                  <a:pt x="7031" y="7462"/>
                  <a:pt x="7022" y="7508"/>
                </a:cubicBezTo>
                <a:cubicBezTo>
                  <a:pt x="7029" y="7524"/>
                  <a:pt x="7036" y="7538"/>
                  <a:pt x="7043" y="7554"/>
                </a:cubicBezTo>
                <a:cubicBezTo>
                  <a:pt x="7024" y="7590"/>
                  <a:pt x="7004" y="7555"/>
                  <a:pt x="6992" y="7621"/>
                </a:cubicBezTo>
                <a:cubicBezTo>
                  <a:pt x="6991" y="7624"/>
                  <a:pt x="6991" y="7629"/>
                  <a:pt x="6990" y="7632"/>
                </a:cubicBezTo>
                <a:cubicBezTo>
                  <a:pt x="7000" y="7637"/>
                  <a:pt x="7010" y="7641"/>
                  <a:pt x="7021" y="7646"/>
                </a:cubicBezTo>
                <a:cubicBezTo>
                  <a:pt x="7001" y="7683"/>
                  <a:pt x="6963" y="7692"/>
                  <a:pt x="6950" y="7739"/>
                </a:cubicBezTo>
                <a:cubicBezTo>
                  <a:pt x="6947" y="7751"/>
                  <a:pt x="6953" y="7770"/>
                  <a:pt x="6956" y="7786"/>
                </a:cubicBezTo>
                <a:cubicBezTo>
                  <a:pt x="6977" y="7781"/>
                  <a:pt x="6999" y="7777"/>
                  <a:pt x="7020" y="7773"/>
                </a:cubicBezTo>
                <a:cubicBezTo>
                  <a:pt x="7047" y="7779"/>
                  <a:pt x="7073" y="7786"/>
                  <a:pt x="7099" y="7793"/>
                </a:cubicBezTo>
                <a:cubicBezTo>
                  <a:pt x="7123" y="7801"/>
                  <a:pt x="7149" y="7791"/>
                  <a:pt x="7153" y="7759"/>
                </a:cubicBezTo>
                <a:cubicBezTo>
                  <a:pt x="7161" y="7757"/>
                  <a:pt x="7168" y="7756"/>
                  <a:pt x="7175" y="7755"/>
                </a:cubicBezTo>
                <a:cubicBezTo>
                  <a:pt x="7175" y="7767"/>
                  <a:pt x="7175" y="7780"/>
                  <a:pt x="7175" y="7793"/>
                </a:cubicBezTo>
                <a:cubicBezTo>
                  <a:pt x="7176" y="7796"/>
                  <a:pt x="7177" y="7799"/>
                  <a:pt x="7178" y="7801"/>
                </a:cubicBezTo>
                <a:cubicBezTo>
                  <a:pt x="7181" y="7800"/>
                  <a:pt x="7184" y="7799"/>
                  <a:pt x="7186" y="7798"/>
                </a:cubicBezTo>
                <a:cubicBezTo>
                  <a:pt x="7193" y="7793"/>
                  <a:pt x="7195" y="7783"/>
                  <a:pt x="7197" y="7770"/>
                </a:cubicBezTo>
                <a:cubicBezTo>
                  <a:pt x="7210" y="7773"/>
                  <a:pt x="7222" y="7775"/>
                  <a:pt x="7235" y="7777"/>
                </a:cubicBezTo>
                <a:cubicBezTo>
                  <a:pt x="7235" y="7779"/>
                  <a:pt x="7235" y="7780"/>
                  <a:pt x="7235" y="7782"/>
                </a:cubicBezTo>
                <a:cubicBezTo>
                  <a:pt x="7209" y="7804"/>
                  <a:pt x="7201" y="7851"/>
                  <a:pt x="7168" y="7867"/>
                </a:cubicBezTo>
                <a:cubicBezTo>
                  <a:pt x="7166" y="7878"/>
                  <a:pt x="7166" y="7874"/>
                  <a:pt x="7168" y="7885"/>
                </a:cubicBezTo>
                <a:cubicBezTo>
                  <a:pt x="7175" y="7892"/>
                  <a:pt x="7186" y="7893"/>
                  <a:pt x="7197" y="7893"/>
                </a:cubicBezTo>
                <a:cubicBezTo>
                  <a:pt x="7218" y="7850"/>
                  <a:pt x="7257" y="7815"/>
                  <a:pt x="7272" y="7768"/>
                </a:cubicBezTo>
                <a:cubicBezTo>
                  <a:pt x="7274" y="7770"/>
                  <a:pt x="7277" y="7771"/>
                  <a:pt x="7280" y="7773"/>
                </a:cubicBezTo>
                <a:cubicBezTo>
                  <a:pt x="7284" y="7784"/>
                  <a:pt x="7289" y="7794"/>
                  <a:pt x="7293" y="7805"/>
                </a:cubicBezTo>
                <a:cubicBezTo>
                  <a:pt x="7293" y="7832"/>
                  <a:pt x="7287" y="7850"/>
                  <a:pt x="7280" y="7865"/>
                </a:cubicBezTo>
                <a:cubicBezTo>
                  <a:pt x="7280" y="7872"/>
                  <a:pt x="7280" y="7878"/>
                  <a:pt x="7280" y="7885"/>
                </a:cubicBezTo>
                <a:cubicBezTo>
                  <a:pt x="7284" y="7886"/>
                  <a:pt x="7288" y="7887"/>
                  <a:pt x="7292" y="7888"/>
                </a:cubicBezTo>
                <a:cubicBezTo>
                  <a:pt x="7297" y="7879"/>
                  <a:pt x="7303" y="7871"/>
                  <a:pt x="7308" y="7863"/>
                </a:cubicBezTo>
                <a:cubicBezTo>
                  <a:pt x="7309" y="7877"/>
                  <a:pt x="7310" y="7892"/>
                  <a:pt x="7311" y="7906"/>
                </a:cubicBezTo>
                <a:cubicBezTo>
                  <a:pt x="7323" y="7912"/>
                  <a:pt x="7334" y="7918"/>
                  <a:pt x="7346" y="7924"/>
                </a:cubicBezTo>
                <a:cubicBezTo>
                  <a:pt x="7352" y="7886"/>
                  <a:pt x="7369" y="7845"/>
                  <a:pt x="7366" y="7803"/>
                </a:cubicBezTo>
                <a:cubicBezTo>
                  <a:pt x="7340" y="7806"/>
                  <a:pt x="7337" y="7793"/>
                  <a:pt x="7342" y="7757"/>
                </a:cubicBezTo>
                <a:cubicBezTo>
                  <a:pt x="7342" y="7755"/>
                  <a:pt x="7342" y="7754"/>
                  <a:pt x="7342" y="7752"/>
                </a:cubicBezTo>
                <a:cubicBezTo>
                  <a:pt x="7337" y="7750"/>
                  <a:pt x="7333" y="7747"/>
                  <a:pt x="7328" y="7745"/>
                </a:cubicBezTo>
                <a:cubicBezTo>
                  <a:pt x="7322" y="7753"/>
                  <a:pt x="7318" y="7759"/>
                  <a:pt x="7315" y="7773"/>
                </a:cubicBezTo>
                <a:cubicBezTo>
                  <a:pt x="7314" y="7773"/>
                  <a:pt x="7313" y="7774"/>
                  <a:pt x="7313" y="7775"/>
                </a:cubicBezTo>
                <a:cubicBezTo>
                  <a:pt x="7306" y="7759"/>
                  <a:pt x="7300" y="7729"/>
                  <a:pt x="7296" y="7708"/>
                </a:cubicBezTo>
                <a:cubicBezTo>
                  <a:pt x="7296" y="7707"/>
                  <a:pt x="7296" y="7706"/>
                  <a:pt x="7296" y="7705"/>
                </a:cubicBezTo>
                <a:cubicBezTo>
                  <a:pt x="7322" y="7682"/>
                  <a:pt x="7321" y="7695"/>
                  <a:pt x="7342" y="7660"/>
                </a:cubicBezTo>
                <a:cubicBezTo>
                  <a:pt x="7342" y="7655"/>
                  <a:pt x="7342" y="7651"/>
                  <a:pt x="7342" y="7646"/>
                </a:cubicBezTo>
                <a:cubicBezTo>
                  <a:pt x="7339" y="7644"/>
                  <a:pt x="7337" y="7642"/>
                  <a:pt x="7333" y="7639"/>
                </a:cubicBezTo>
                <a:cubicBezTo>
                  <a:pt x="7324" y="7647"/>
                  <a:pt x="7315" y="7655"/>
                  <a:pt x="7302" y="7656"/>
                </a:cubicBezTo>
                <a:cubicBezTo>
                  <a:pt x="7295" y="7646"/>
                  <a:pt x="7286" y="7634"/>
                  <a:pt x="7282" y="7618"/>
                </a:cubicBezTo>
                <a:cubicBezTo>
                  <a:pt x="7281" y="7615"/>
                  <a:pt x="7279" y="7613"/>
                  <a:pt x="7278" y="7610"/>
                </a:cubicBezTo>
                <a:cubicBezTo>
                  <a:pt x="7288" y="7594"/>
                  <a:pt x="7299" y="7579"/>
                  <a:pt x="7309" y="7562"/>
                </a:cubicBezTo>
                <a:cubicBezTo>
                  <a:pt x="7312" y="7556"/>
                  <a:pt x="7315" y="7549"/>
                  <a:pt x="7318" y="7543"/>
                </a:cubicBezTo>
                <a:cubicBezTo>
                  <a:pt x="7299" y="7522"/>
                  <a:pt x="7275" y="7503"/>
                  <a:pt x="7246" y="7510"/>
                </a:cubicBezTo>
                <a:cubicBezTo>
                  <a:pt x="7243" y="7519"/>
                  <a:pt x="7240" y="7529"/>
                  <a:pt x="7237" y="7538"/>
                </a:cubicBezTo>
                <a:cubicBezTo>
                  <a:pt x="7207" y="7550"/>
                  <a:pt x="7181" y="7514"/>
                  <a:pt x="7162" y="7487"/>
                </a:cubicBezTo>
                <a:cubicBezTo>
                  <a:pt x="7162" y="7485"/>
                  <a:pt x="7162" y="7484"/>
                  <a:pt x="7162" y="7482"/>
                </a:cubicBezTo>
                <a:cubicBezTo>
                  <a:pt x="7162" y="7481"/>
                  <a:pt x="7162" y="7480"/>
                  <a:pt x="7162" y="7479"/>
                </a:cubicBezTo>
                <a:cubicBezTo>
                  <a:pt x="7170" y="7465"/>
                  <a:pt x="7178" y="7451"/>
                  <a:pt x="7186" y="7436"/>
                </a:cubicBezTo>
                <a:cubicBezTo>
                  <a:pt x="7177" y="7429"/>
                  <a:pt x="7167" y="7422"/>
                  <a:pt x="7157" y="7415"/>
                </a:cubicBezTo>
                <a:cubicBezTo>
                  <a:pt x="7132" y="7424"/>
                  <a:pt x="7136" y="7469"/>
                  <a:pt x="7112" y="7479"/>
                </a:cubicBezTo>
                <a:cubicBezTo>
                  <a:pt x="7110" y="7379"/>
                  <a:pt x="7187" y="7318"/>
                  <a:pt x="7164" y="7236"/>
                </a:cubicBezTo>
                <a:cubicBezTo>
                  <a:pt x="7174" y="7231"/>
                  <a:pt x="7186" y="7224"/>
                  <a:pt x="7195" y="7218"/>
                </a:cubicBezTo>
                <a:cubicBezTo>
                  <a:pt x="7195" y="7214"/>
                  <a:pt x="7195" y="7212"/>
                  <a:pt x="7196" y="7208"/>
                </a:cubicBezTo>
                <a:cubicBezTo>
                  <a:pt x="7195" y="7204"/>
                  <a:pt x="7194" y="7198"/>
                  <a:pt x="7193" y="7194"/>
                </a:cubicBezTo>
                <a:cubicBezTo>
                  <a:pt x="7190" y="7192"/>
                  <a:pt x="7188" y="7191"/>
                  <a:pt x="7185" y="7189"/>
                </a:cubicBezTo>
                <a:cubicBezTo>
                  <a:pt x="7174" y="7194"/>
                  <a:pt x="7163" y="7200"/>
                  <a:pt x="7152" y="7206"/>
                </a:cubicBezTo>
                <a:cubicBezTo>
                  <a:pt x="7147" y="7192"/>
                  <a:pt x="7141" y="7179"/>
                  <a:pt x="7136" y="7166"/>
                </a:cubicBezTo>
                <a:cubicBezTo>
                  <a:pt x="7143" y="7141"/>
                  <a:pt x="7150" y="7108"/>
                  <a:pt x="7157" y="7081"/>
                </a:cubicBezTo>
                <a:cubicBezTo>
                  <a:pt x="7155" y="7041"/>
                  <a:pt x="7122" y="7008"/>
                  <a:pt x="7103" y="7001"/>
                </a:cubicBezTo>
                <a:cubicBezTo>
                  <a:pt x="7094" y="6998"/>
                  <a:pt x="7078" y="7019"/>
                  <a:pt x="7070" y="7028"/>
                </a:cubicBezTo>
                <a:cubicBezTo>
                  <a:pt x="7067" y="7020"/>
                  <a:pt x="7063" y="7011"/>
                  <a:pt x="7060" y="7004"/>
                </a:cubicBezTo>
                <a:cubicBezTo>
                  <a:pt x="7062" y="6986"/>
                  <a:pt x="7068" y="6978"/>
                  <a:pt x="7072" y="6965"/>
                </a:cubicBezTo>
                <a:cubicBezTo>
                  <a:pt x="7016" y="6866"/>
                  <a:pt x="6980" y="6977"/>
                  <a:pt x="6939" y="7019"/>
                </a:cubicBezTo>
                <a:cubicBezTo>
                  <a:pt x="6919" y="7039"/>
                  <a:pt x="6891" y="7044"/>
                  <a:pt x="6872" y="7058"/>
                </a:cubicBezTo>
                <a:cubicBezTo>
                  <a:pt x="6875" y="7030"/>
                  <a:pt x="6880" y="6988"/>
                  <a:pt x="6891" y="6973"/>
                </a:cubicBezTo>
                <a:cubicBezTo>
                  <a:pt x="6902" y="6971"/>
                  <a:pt x="6913" y="6971"/>
                  <a:pt x="6925" y="6969"/>
                </a:cubicBezTo>
                <a:cubicBezTo>
                  <a:pt x="6949" y="6957"/>
                  <a:pt x="6959" y="6913"/>
                  <a:pt x="6986" y="6902"/>
                </a:cubicBezTo>
                <a:cubicBezTo>
                  <a:pt x="7013" y="6890"/>
                  <a:pt x="7039" y="6888"/>
                  <a:pt x="7050" y="6850"/>
                </a:cubicBezTo>
                <a:cubicBezTo>
                  <a:pt x="7026" y="6839"/>
                  <a:pt x="7002" y="6828"/>
                  <a:pt x="6978" y="6816"/>
                </a:cubicBezTo>
                <a:cubicBezTo>
                  <a:pt x="6954" y="6799"/>
                  <a:pt x="6936" y="6763"/>
                  <a:pt x="6907" y="6755"/>
                </a:cubicBezTo>
                <a:cubicBezTo>
                  <a:pt x="6885" y="6749"/>
                  <a:pt x="6871" y="6773"/>
                  <a:pt x="6850" y="6771"/>
                </a:cubicBezTo>
                <a:cubicBezTo>
                  <a:pt x="6854" y="6750"/>
                  <a:pt x="6859" y="6730"/>
                  <a:pt x="6864" y="6710"/>
                </a:cubicBezTo>
                <a:cubicBezTo>
                  <a:pt x="6863" y="6673"/>
                  <a:pt x="6813" y="6599"/>
                  <a:pt x="6797" y="6588"/>
                </a:cubicBezTo>
                <a:cubicBezTo>
                  <a:pt x="6790" y="6588"/>
                  <a:pt x="6782" y="6588"/>
                  <a:pt x="6775" y="6588"/>
                </a:cubicBezTo>
                <a:cubicBezTo>
                  <a:pt x="6762" y="6578"/>
                  <a:pt x="6747" y="6513"/>
                  <a:pt x="6740" y="6491"/>
                </a:cubicBezTo>
                <a:cubicBezTo>
                  <a:pt x="6741" y="6490"/>
                  <a:pt x="6741" y="6489"/>
                  <a:pt x="6742" y="6489"/>
                </a:cubicBezTo>
                <a:cubicBezTo>
                  <a:pt x="6754" y="6476"/>
                  <a:pt x="6782" y="6497"/>
                  <a:pt x="6799" y="6489"/>
                </a:cubicBezTo>
                <a:cubicBezTo>
                  <a:pt x="6801" y="6479"/>
                  <a:pt x="6802" y="6463"/>
                  <a:pt x="6801" y="6447"/>
                </a:cubicBezTo>
                <a:cubicBezTo>
                  <a:pt x="6783" y="6421"/>
                  <a:pt x="6762" y="6409"/>
                  <a:pt x="6749" y="6376"/>
                </a:cubicBezTo>
                <a:cubicBezTo>
                  <a:pt x="6754" y="6366"/>
                  <a:pt x="6761" y="6357"/>
                  <a:pt x="6771" y="6354"/>
                </a:cubicBezTo>
                <a:cubicBezTo>
                  <a:pt x="6763" y="6270"/>
                  <a:pt x="6722" y="6327"/>
                  <a:pt x="6714" y="6211"/>
                </a:cubicBezTo>
                <a:cubicBezTo>
                  <a:pt x="6708" y="6212"/>
                  <a:pt x="6702" y="6213"/>
                  <a:pt x="6696" y="6213"/>
                </a:cubicBezTo>
                <a:cubicBezTo>
                  <a:pt x="6694" y="6186"/>
                  <a:pt x="6700" y="6182"/>
                  <a:pt x="6703" y="6159"/>
                </a:cubicBezTo>
                <a:cubicBezTo>
                  <a:pt x="6677" y="6102"/>
                  <a:pt x="6624" y="5932"/>
                  <a:pt x="6593" y="5905"/>
                </a:cubicBezTo>
                <a:cubicBezTo>
                  <a:pt x="6592" y="5903"/>
                  <a:pt x="6591" y="5902"/>
                  <a:pt x="6590" y="5900"/>
                </a:cubicBezTo>
                <a:cubicBezTo>
                  <a:pt x="6585" y="5917"/>
                  <a:pt x="6580" y="5934"/>
                  <a:pt x="6576" y="5952"/>
                </a:cubicBezTo>
                <a:cubicBezTo>
                  <a:pt x="6544" y="5991"/>
                  <a:pt x="6516" y="5962"/>
                  <a:pt x="6550" y="6047"/>
                </a:cubicBezTo>
                <a:cubicBezTo>
                  <a:pt x="6530" y="6096"/>
                  <a:pt x="6512" y="6110"/>
                  <a:pt x="6511" y="6203"/>
                </a:cubicBezTo>
                <a:cubicBezTo>
                  <a:pt x="6510" y="6203"/>
                  <a:pt x="6510" y="6203"/>
                  <a:pt x="6510" y="6203"/>
                </a:cubicBezTo>
                <a:cubicBezTo>
                  <a:pt x="6498" y="6182"/>
                  <a:pt x="6497" y="6142"/>
                  <a:pt x="6476" y="6139"/>
                </a:cubicBezTo>
                <a:cubicBezTo>
                  <a:pt x="6469" y="6163"/>
                  <a:pt x="6461" y="6187"/>
                  <a:pt x="6454" y="6211"/>
                </a:cubicBezTo>
                <a:cubicBezTo>
                  <a:pt x="6437" y="6235"/>
                  <a:pt x="6396" y="6232"/>
                  <a:pt x="6377" y="6248"/>
                </a:cubicBezTo>
                <a:cubicBezTo>
                  <a:pt x="6375" y="6241"/>
                  <a:pt x="6372" y="6234"/>
                  <a:pt x="6370" y="6227"/>
                </a:cubicBezTo>
                <a:cubicBezTo>
                  <a:pt x="6373" y="6218"/>
                  <a:pt x="6373" y="6214"/>
                  <a:pt x="6373" y="6198"/>
                </a:cubicBezTo>
                <a:cubicBezTo>
                  <a:pt x="6341" y="6108"/>
                  <a:pt x="6314" y="6151"/>
                  <a:pt x="6268" y="6180"/>
                </a:cubicBezTo>
                <a:cubicBezTo>
                  <a:pt x="6268" y="6180"/>
                  <a:pt x="6267" y="6180"/>
                  <a:pt x="6267" y="6180"/>
                </a:cubicBezTo>
                <a:cubicBezTo>
                  <a:pt x="6257" y="6157"/>
                  <a:pt x="6258" y="6146"/>
                  <a:pt x="6261" y="6108"/>
                </a:cubicBezTo>
                <a:cubicBezTo>
                  <a:pt x="6269" y="6108"/>
                  <a:pt x="6277" y="6109"/>
                  <a:pt x="6285" y="6110"/>
                </a:cubicBezTo>
                <a:cubicBezTo>
                  <a:pt x="6309" y="6044"/>
                  <a:pt x="6239" y="5860"/>
                  <a:pt x="6287" y="5817"/>
                </a:cubicBezTo>
                <a:cubicBezTo>
                  <a:pt x="6290" y="5808"/>
                  <a:pt x="6291" y="5796"/>
                  <a:pt x="6291" y="5780"/>
                </a:cubicBezTo>
                <a:cubicBezTo>
                  <a:pt x="6288" y="5773"/>
                  <a:pt x="6285" y="5765"/>
                  <a:pt x="6283" y="5758"/>
                </a:cubicBezTo>
                <a:cubicBezTo>
                  <a:pt x="6274" y="5754"/>
                  <a:pt x="6264" y="5783"/>
                  <a:pt x="6245" y="5774"/>
                </a:cubicBezTo>
                <a:cubicBezTo>
                  <a:pt x="6209" y="5758"/>
                  <a:pt x="6177" y="5721"/>
                  <a:pt x="6145" y="5709"/>
                </a:cubicBezTo>
                <a:cubicBezTo>
                  <a:pt x="6134" y="5683"/>
                  <a:pt x="6132" y="5684"/>
                  <a:pt x="6141" y="5653"/>
                </a:cubicBezTo>
                <a:cubicBezTo>
                  <a:pt x="6111" y="5613"/>
                  <a:pt x="6067" y="5531"/>
                  <a:pt x="6035" y="5506"/>
                </a:cubicBezTo>
                <a:cubicBezTo>
                  <a:pt x="6010" y="5486"/>
                  <a:pt x="5956" y="5556"/>
                  <a:pt x="5908" y="5540"/>
                </a:cubicBezTo>
                <a:cubicBezTo>
                  <a:pt x="5865" y="5526"/>
                  <a:pt x="5833" y="5488"/>
                  <a:pt x="5790" y="5478"/>
                </a:cubicBezTo>
                <a:cubicBezTo>
                  <a:pt x="5761" y="5471"/>
                  <a:pt x="5727" y="5544"/>
                  <a:pt x="5741" y="5602"/>
                </a:cubicBezTo>
                <a:cubicBezTo>
                  <a:pt x="5747" y="5626"/>
                  <a:pt x="5765" y="5644"/>
                  <a:pt x="5776" y="5659"/>
                </a:cubicBezTo>
                <a:cubicBezTo>
                  <a:pt x="5771" y="5719"/>
                  <a:pt x="5744" y="5753"/>
                  <a:pt x="5730" y="5799"/>
                </a:cubicBezTo>
                <a:cubicBezTo>
                  <a:pt x="5730" y="5800"/>
                  <a:pt x="5730" y="5802"/>
                  <a:pt x="5730" y="5803"/>
                </a:cubicBezTo>
                <a:cubicBezTo>
                  <a:pt x="5746" y="5804"/>
                  <a:pt x="5762" y="5806"/>
                  <a:pt x="5779" y="5807"/>
                </a:cubicBezTo>
                <a:cubicBezTo>
                  <a:pt x="5778" y="5834"/>
                  <a:pt x="5770" y="5845"/>
                  <a:pt x="5771" y="5866"/>
                </a:cubicBezTo>
                <a:cubicBezTo>
                  <a:pt x="5776" y="5881"/>
                  <a:pt x="5780" y="5895"/>
                  <a:pt x="5784" y="5910"/>
                </a:cubicBezTo>
                <a:cubicBezTo>
                  <a:pt x="5787" y="5931"/>
                  <a:pt x="5789" y="5953"/>
                  <a:pt x="5791" y="5974"/>
                </a:cubicBezTo>
                <a:cubicBezTo>
                  <a:pt x="5781" y="6004"/>
                  <a:pt x="5772" y="5986"/>
                  <a:pt x="5762" y="6004"/>
                </a:cubicBezTo>
                <a:cubicBezTo>
                  <a:pt x="5760" y="6018"/>
                  <a:pt x="5757" y="6032"/>
                  <a:pt x="5754" y="6047"/>
                </a:cubicBezTo>
                <a:cubicBezTo>
                  <a:pt x="5743" y="6093"/>
                  <a:pt x="5731" y="6126"/>
                  <a:pt x="5710" y="6155"/>
                </a:cubicBezTo>
                <a:cubicBezTo>
                  <a:pt x="5719" y="6214"/>
                  <a:pt x="5797" y="6273"/>
                  <a:pt x="5819" y="6331"/>
                </a:cubicBezTo>
                <a:cubicBezTo>
                  <a:pt x="5904" y="6561"/>
                  <a:pt x="5741" y="6799"/>
                  <a:pt x="5643" y="6830"/>
                </a:cubicBezTo>
                <a:cubicBezTo>
                  <a:pt x="5646" y="6857"/>
                  <a:pt x="5649" y="6893"/>
                  <a:pt x="5657" y="6911"/>
                </a:cubicBezTo>
                <a:cubicBezTo>
                  <a:pt x="5671" y="6944"/>
                  <a:pt x="5689" y="6920"/>
                  <a:pt x="5690" y="6985"/>
                </a:cubicBezTo>
                <a:cubicBezTo>
                  <a:pt x="5685" y="6985"/>
                  <a:pt x="5681" y="6985"/>
                  <a:pt x="5676" y="6985"/>
                </a:cubicBezTo>
                <a:cubicBezTo>
                  <a:pt x="5680" y="7009"/>
                  <a:pt x="5683" y="7033"/>
                  <a:pt x="5687" y="7058"/>
                </a:cubicBezTo>
                <a:cubicBezTo>
                  <a:pt x="5687" y="7074"/>
                  <a:pt x="5687" y="7091"/>
                  <a:pt x="5687" y="7107"/>
                </a:cubicBezTo>
                <a:cubicBezTo>
                  <a:pt x="5695" y="7170"/>
                  <a:pt x="5727" y="7244"/>
                  <a:pt x="5692" y="7295"/>
                </a:cubicBezTo>
                <a:cubicBezTo>
                  <a:pt x="5694" y="7333"/>
                  <a:pt x="5693" y="7351"/>
                  <a:pt x="5690" y="7392"/>
                </a:cubicBezTo>
                <a:cubicBezTo>
                  <a:pt x="5678" y="7372"/>
                  <a:pt x="5676" y="7339"/>
                  <a:pt x="5659" y="7328"/>
                </a:cubicBezTo>
                <a:cubicBezTo>
                  <a:pt x="5649" y="7342"/>
                  <a:pt x="5643" y="7353"/>
                  <a:pt x="5639" y="7379"/>
                </a:cubicBezTo>
                <a:cubicBezTo>
                  <a:pt x="5645" y="7397"/>
                  <a:pt x="5651" y="7418"/>
                  <a:pt x="5655" y="7441"/>
                </a:cubicBezTo>
                <a:cubicBezTo>
                  <a:pt x="5632" y="7420"/>
                  <a:pt x="5625" y="7371"/>
                  <a:pt x="5591" y="7371"/>
                </a:cubicBezTo>
                <a:cubicBezTo>
                  <a:pt x="5583" y="7305"/>
                  <a:pt x="5546" y="7242"/>
                  <a:pt x="5503" y="7238"/>
                </a:cubicBezTo>
                <a:cubicBezTo>
                  <a:pt x="5507" y="7150"/>
                  <a:pt x="5487" y="7148"/>
                  <a:pt x="5464" y="7107"/>
                </a:cubicBezTo>
                <a:cubicBezTo>
                  <a:pt x="5465" y="7061"/>
                  <a:pt x="5482" y="7021"/>
                  <a:pt x="5475" y="6958"/>
                </a:cubicBezTo>
                <a:cubicBezTo>
                  <a:pt x="5470" y="6939"/>
                  <a:pt x="5465" y="6918"/>
                  <a:pt x="5460" y="6898"/>
                </a:cubicBezTo>
                <a:cubicBezTo>
                  <a:pt x="5464" y="6861"/>
                  <a:pt x="5469" y="6823"/>
                  <a:pt x="5473" y="6785"/>
                </a:cubicBezTo>
                <a:cubicBezTo>
                  <a:pt x="5441" y="6723"/>
                  <a:pt x="5330" y="6763"/>
                  <a:pt x="5287" y="6729"/>
                </a:cubicBezTo>
                <a:cubicBezTo>
                  <a:pt x="5269" y="6715"/>
                  <a:pt x="5255" y="6690"/>
                  <a:pt x="5235" y="6678"/>
                </a:cubicBezTo>
                <a:cubicBezTo>
                  <a:pt x="5203" y="6663"/>
                  <a:pt x="5171" y="6647"/>
                  <a:pt x="5138" y="6631"/>
                </a:cubicBezTo>
                <a:cubicBezTo>
                  <a:pt x="5129" y="6606"/>
                  <a:pt x="5119" y="6582"/>
                  <a:pt x="5109" y="6557"/>
                </a:cubicBezTo>
                <a:cubicBezTo>
                  <a:pt x="5070" y="6498"/>
                  <a:pt x="4989" y="6434"/>
                  <a:pt x="4930" y="6416"/>
                </a:cubicBezTo>
                <a:cubicBezTo>
                  <a:pt x="4885" y="6403"/>
                  <a:pt x="4862" y="6451"/>
                  <a:pt x="4819" y="6453"/>
                </a:cubicBezTo>
                <a:cubicBezTo>
                  <a:pt x="4820" y="6425"/>
                  <a:pt x="4821" y="6397"/>
                  <a:pt x="4822" y="6370"/>
                </a:cubicBezTo>
                <a:cubicBezTo>
                  <a:pt x="4816" y="6313"/>
                  <a:pt x="4789" y="6192"/>
                  <a:pt x="4769" y="6159"/>
                </a:cubicBezTo>
                <a:cubicBezTo>
                  <a:pt x="4732" y="6148"/>
                  <a:pt x="4721" y="6172"/>
                  <a:pt x="4685" y="6140"/>
                </a:cubicBezTo>
                <a:cubicBezTo>
                  <a:pt x="4645" y="6036"/>
                  <a:pt x="4697" y="5754"/>
                  <a:pt x="4729" y="5695"/>
                </a:cubicBezTo>
                <a:cubicBezTo>
                  <a:pt x="4739" y="5676"/>
                  <a:pt x="4755" y="5687"/>
                  <a:pt x="4762" y="5661"/>
                </a:cubicBezTo>
                <a:cubicBezTo>
                  <a:pt x="4766" y="5649"/>
                  <a:pt x="4761" y="5621"/>
                  <a:pt x="4760" y="5602"/>
                </a:cubicBezTo>
                <a:cubicBezTo>
                  <a:pt x="4781" y="5551"/>
                  <a:pt x="4843" y="5513"/>
                  <a:pt x="4854" y="5468"/>
                </a:cubicBezTo>
                <a:cubicBezTo>
                  <a:pt x="4855" y="5466"/>
                  <a:pt x="4856" y="5465"/>
                  <a:pt x="4857" y="5463"/>
                </a:cubicBezTo>
                <a:cubicBezTo>
                  <a:pt x="4846" y="5451"/>
                  <a:pt x="4834" y="5439"/>
                  <a:pt x="4822" y="5427"/>
                </a:cubicBezTo>
                <a:cubicBezTo>
                  <a:pt x="4822" y="5426"/>
                  <a:pt x="4822" y="5425"/>
                  <a:pt x="4822" y="5424"/>
                </a:cubicBezTo>
                <a:cubicBezTo>
                  <a:pt x="4823" y="5421"/>
                  <a:pt x="4824" y="5418"/>
                  <a:pt x="4825" y="5415"/>
                </a:cubicBezTo>
                <a:cubicBezTo>
                  <a:pt x="4839" y="5399"/>
                  <a:pt x="4866" y="5425"/>
                  <a:pt x="4892" y="5415"/>
                </a:cubicBezTo>
                <a:cubicBezTo>
                  <a:pt x="4913" y="5407"/>
                  <a:pt x="4923" y="5393"/>
                  <a:pt x="4936" y="5374"/>
                </a:cubicBezTo>
                <a:cubicBezTo>
                  <a:pt x="4936" y="5366"/>
                  <a:pt x="4936" y="5357"/>
                  <a:pt x="4936" y="5349"/>
                </a:cubicBezTo>
                <a:cubicBezTo>
                  <a:pt x="4908" y="5299"/>
                  <a:pt x="4874" y="5304"/>
                  <a:pt x="4829" y="5280"/>
                </a:cubicBezTo>
                <a:cubicBezTo>
                  <a:pt x="4809" y="5257"/>
                  <a:pt x="4789" y="5234"/>
                  <a:pt x="4769" y="5211"/>
                </a:cubicBezTo>
                <a:cubicBezTo>
                  <a:pt x="4769" y="5211"/>
                  <a:pt x="4768" y="5211"/>
                  <a:pt x="4767" y="5211"/>
                </a:cubicBezTo>
                <a:cubicBezTo>
                  <a:pt x="4767" y="5210"/>
                  <a:pt x="4767" y="5210"/>
                  <a:pt x="4767" y="5209"/>
                </a:cubicBezTo>
                <a:cubicBezTo>
                  <a:pt x="4768" y="5210"/>
                  <a:pt x="4769" y="5210"/>
                  <a:pt x="4769" y="5211"/>
                </a:cubicBezTo>
                <a:cubicBezTo>
                  <a:pt x="4805" y="5221"/>
                  <a:pt x="4841" y="5229"/>
                  <a:pt x="4876" y="5239"/>
                </a:cubicBezTo>
                <a:cubicBezTo>
                  <a:pt x="4910" y="5257"/>
                  <a:pt x="4936" y="5291"/>
                  <a:pt x="4985" y="5284"/>
                </a:cubicBezTo>
                <a:cubicBezTo>
                  <a:pt x="4987" y="5250"/>
                  <a:pt x="4978" y="5213"/>
                  <a:pt x="4979" y="5167"/>
                </a:cubicBezTo>
                <a:cubicBezTo>
                  <a:pt x="4997" y="5180"/>
                  <a:pt x="5010" y="5202"/>
                  <a:pt x="5034" y="5209"/>
                </a:cubicBezTo>
                <a:cubicBezTo>
                  <a:pt x="5070" y="5220"/>
                  <a:pt x="5128" y="5128"/>
                  <a:pt x="5141" y="5093"/>
                </a:cubicBezTo>
                <a:cubicBezTo>
                  <a:pt x="5146" y="5063"/>
                  <a:pt x="5152" y="5033"/>
                  <a:pt x="5158" y="5003"/>
                </a:cubicBezTo>
                <a:cubicBezTo>
                  <a:pt x="5158" y="5002"/>
                  <a:pt x="5158" y="5001"/>
                  <a:pt x="5158" y="5000"/>
                </a:cubicBezTo>
                <a:cubicBezTo>
                  <a:pt x="5113" y="4997"/>
                  <a:pt x="5074" y="4983"/>
                  <a:pt x="5044" y="4950"/>
                </a:cubicBezTo>
                <a:cubicBezTo>
                  <a:pt x="5028" y="4928"/>
                  <a:pt x="5013" y="4905"/>
                  <a:pt x="4997" y="4883"/>
                </a:cubicBezTo>
                <a:cubicBezTo>
                  <a:pt x="4973" y="4869"/>
                  <a:pt x="4950" y="4856"/>
                  <a:pt x="4926" y="4842"/>
                </a:cubicBezTo>
                <a:cubicBezTo>
                  <a:pt x="4925" y="4841"/>
                  <a:pt x="4924" y="4839"/>
                  <a:pt x="4923" y="4838"/>
                </a:cubicBezTo>
                <a:cubicBezTo>
                  <a:pt x="4944" y="4834"/>
                  <a:pt x="4966" y="4811"/>
                  <a:pt x="4993" y="4823"/>
                </a:cubicBezTo>
                <a:cubicBezTo>
                  <a:pt x="5005" y="4834"/>
                  <a:pt x="5016" y="4845"/>
                  <a:pt x="5028" y="4856"/>
                </a:cubicBezTo>
                <a:cubicBezTo>
                  <a:pt x="5041" y="4864"/>
                  <a:pt x="5055" y="4872"/>
                  <a:pt x="5068" y="4880"/>
                </a:cubicBezTo>
                <a:cubicBezTo>
                  <a:pt x="5084" y="4900"/>
                  <a:pt x="5093" y="4932"/>
                  <a:pt x="5115" y="4944"/>
                </a:cubicBezTo>
                <a:cubicBezTo>
                  <a:pt x="5147" y="4960"/>
                  <a:pt x="5223" y="4820"/>
                  <a:pt x="5232" y="4787"/>
                </a:cubicBezTo>
                <a:cubicBezTo>
                  <a:pt x="5216" y="4763"/>
                  <a:pt x="5194" y="4756"/>
                  <a:pt x="5180" y="4730"/>
                </a:cubicBezTo>
                <a:cubicBezTo>
                  <a:pt x="5179" y="4730"/>
                  <a:pt x="5178" y="4730"/>
                  <a:pt x="5177" y="4730"/>
                </a:cubicBezTo>
                <a:cubicBezTo>
                  <a:pt x="5179" y="4725"/>
                  <a:pt x="5180" y="4721"/>
                  <a:pt x="5181" y="4716"/>
                </a:cubicBezTo>
                <a:cubicBezTo>
                  <a:pt x="5201" y="4694"/>
                  <a:pt x="5242" y="4695"/>
                  <a:pt x="5271" y="4696"/>
                </a:cubicBezTo>
                <a:cubicBezTo>
                  <a:pt x="5281" y="4753"/>
                  <a:pt x="5291" y="4768"/>
                  <a:pt x="5327" y="4759"/>
                </a:cubicBezTo>
                <a:cubicBezTo>
                  <a:pt x="5346" y="4754"/>
                  <a:pt x="5357" y="4763"/>
                  <a:pt x="5375" y="4759"/>
                </a:cubicBezTo>
                <a:cubicBezTo>
                  <a:pt x="5358" y="4714"/>
                  <a:pt x="5327" y="4661"/>
                  <a:pt x="5297" y="4639"/>
                </a:cubicBezTo>
                <a:cubicBezTo>
                  <a:pt x="5297" y="4637"/>
                  <a:pt x="5297" y="4635"/>
                  <a:pt x="5296" y="4633"/>
                </a:cubicBezTo>
                <a:cubicBezTo>
                  <a:pt x="5302" y="4625"/>
                  <a:pt x="5308" y="4618"/>
                  <a:pt x="5313" y="4610"/>
                </a:cubicBezTo>
                <a:cubicBezTo>
                  <a:pt x="5362" y="4615"/>
                  <a:pt x="5371" y="4724"/>
                  <a:pt x="5416" y="4743"/>
                </a:cubicBezTo>
                <a:cubicBezTo>
                  <a:pt x="5431" y="4714"/>
                  <a:pt x="5445" y="4716"/>
                  <a:pt x="5467" y="4695"/>
                </a:cubicBezTo>
                <a:cubicBezTo>
                  <a:pt x="5487" y="4676"/>
                  <a:pt x="5531" y="4585"/>
                  <a:pt x="5532" y="4526"/>
                </a:cubicBezTo>
                <a:cubicBezTo>
                  <a:pt x="5499" y="4449"/>
                  <a:pt x="5449" y="4404"/>
                  <a:pt x="5442" y="4280"/>
                </a:cubicBezTo>
                <a:cubicBezTo>
                  <a:pt x="5452" y="4271"/>
                  <a:pt x="5458" y="4257"/>
                  <a:pt x="5473" y="4256"/>
                </a:cubicBezTo>
                <a:cubicBezTo>
                  <a:pt x="5480" y="4276"/>
                  <a:pt x="5488" y="4298"/>
                  <a:pt x="5500" y="4310"/>
                </a:cubicBezTo>
                <a:cubicBezTo>
                  <a:pt x="5507" y="4302"/>
                  <a:pt x="5514" y="4295"/>
                  <a:pt x="5521" y="4287"/>
                </a:cubicBezTo>
                <a:cubicBezTo>
                  <a:pt x="5528" y="4269"/>
                  <a:pt x="5527" y="4182"/>
                  <a:pt x="5512" y="4168"/>
                </a:cubicBezTo>
                <a:cubicBezTo>
                  <a:pt x="5505" y="4153"/>
                  <a:pt x="5492" y="4165"/>
                  <a:pt x="5477" y="4166"/>
                </a:cubicBezTo>
                <a:cubicBezTo>
                  <a:pt x="5464" y="4144"/>
                  <a:pt x="5451" y="4123"/>
                  <a:pt x="5439" y="4102"/>
                </a:cubicBezTo>
                <a:cubicBezTo>
                  <a:pt x="5426" y="4095"/>
                  <a:pt x="5413" y="4087"/>
                  <a:pt x="5400" y="4080"/>
                </a:cubicBezTo>
                <a:cubicBezTo>
                  <a:pt x="5358" y="4056"/>
                  <a:pt x="5337" y="4044"/>
                  <a:pt x="5287" y="4044"/>
                </a:cubicBezTo>
                <a:cubicBezTo>
                  <a:pt x="5282" y="4053"/>
                  <a:pt x="5276" y="4062"/>
                  <a:pt x="5271" y="4071"/>
                </a:cubicBezTo>
                <a:cubicBezTo>
                  <a:pt x="5270" y="4099"/>
                  <a:pt x="5269" y="4128"/>
                  <a:pt x="5267" y="4156"/>
                </a:cubicBezTo>
                <a:cubicBezTo>
                  <a:pt x="5286" y="4177"/>
                  <a:pt x="5305" y="4198"/>
                  <a:pt x="5323" y="4220"/>
                </a:cubicBezTo>
                <a:cubicBezTo>
                  <a:pt x="5322" y="4234"/>
                  <a:pt x="5321" y="4249"/>
                  <a:pt x="5320" y="4264"/>
                </a:cubicBezTo>
                <a:cubicBezTo>
                  <a:pt x="5307" y="4277"/>
                  <a:pt x="5288" y="4267"/>
                  <a:pt x="5270" y="4265"/>
                </a:cubicBezTo>
                <a:cubicBezTo>
                  <a:pt x="5253" y="4297"/>
                  <a:pt x="5258" y="4368"/>
                  <a:pt x="5246" y="4412"/>
                </a:cubicBezTo>
                <a:cubicBezTo>
                  <a:pt x="5232" y="4464"/>
                  <a:pt x="5202" y="4465"/>
                  <a:pt x="5200" y="4546"/>
                </a:cubicBezTo>
                <a:cubicBezTo>
                  <a:pt x="5187" y="4562"/>
                  <a:pt x="5163" y="4577"/>
                  <a:pt x="5147" y="4584"/>
                </a:cubicBezTo>
                <a:cubicBezTo>
                  <a:pt x="5134" y="4561"/>
                  <a:pt x="5077" y="4451"/>
                  <a:pt x="5073" y="4425"/>
                </a:cubicBezTo>
                <a:cubicBezTo>
                  <a:pt x="5069" y="4404"/>
                  <a:pt x="5077" y="4375"/>
                  <a:pt x="5080" y="4361"/>
                </a:cubicBezTo>
                <a:cubicBezTo>
                  <a:pt x="5091" y="4362"/>
                  <a:pt x="5102" y="4362"/>
                  <a:pt x="5113" y="4363"/>
                </a:cubicBezTo>
                <a:cubicBezTo>
                  <a:pt x="5123" y="4277"/>
                  <a:pt x="5074" y="4172"/>
                  <a:pt x="5033" y="4166"/>
                </a:cubicBezTo>
                <a:cubicBezTo>
                  <a:pt x="4997" y="4217"/>
                  <a:pt x="5008" y="4336"/>
                  <a:pt x="4955" y="4355"/>
                </a:cubicBezTo>
                <a:cubicBezTo>
                  <a:pt x="4955" y="4306"/>
                  <a:pt x="4955" y="4255"/>
                  <a:pt x="4944" y="4224"/>
                </a:cubicBezTo>
                <a:cubicBezTo>
                  <a:pt x="4937" y="4203"/>
                  <a:pt x="4924" y="4197"/>
                  <a:pt x="4919" y="4170"/>
                </a:cubicBezTo>
                <a:cubicBezTo>
                  <a:pt x="4929" y="4151"/>
                  <a:pt x="4937" y="4142"/>
                  <a:pt x="4944" y="4117"/>
                </a:cubicBezTo>
                <a:cubicBezTo>
                  <a:pt x="4934" y="4102"/>
                  <a:pt x="4904" y="4068"/>
                  <a:pt x="4883" y="4080"/>
                </a:cubicBezTo>
                <a:cubicBezTo>
                  <a:pt x="4874" y="4086"/>
                  <a:pt x="4867" y="4099"/>
                  <a:pt x="4851" y="4091"/>
                </a:cubicBezTo>
                <a:cubicBezTo>
                  <a:pt x="4837" y="4084"/>
                  <a:pt x="4828" y="4065"/>
                  <a:pt x="4808" y="4062"/>
                </a:cubicBezTo>
                <a:cubicBezTo>
                  <a:pt x="4812" y="4044"/>
                  <a:pt x="4816" y="4024"/>
                  <a:pt x="4819" y="4006"/>
                </a:cubicBezTo>
                <a:cubicBezTo>
                  <a:pt x="4831" y="3988"/>
                  <a:pt x="4840" y="3981"/>
                  <a:pt x="4862" y="3981"/>
                </a:cubicBezTo>
                <a:cubicBezTo>
                  <a:pt x="4865" y="3970"/>
                  <a:pt x="4868" y="3960"/>
                  <a:pt x="4871" y="3949"/>
                </a:cubicBezTo>
                <a:cubicBezTo>
                  <a:pt x="4858" y="3921"/>
                  <a:pt x="4799" y="3821"/>
                  <a:pt x="4782" y="3806"/>
                </a:cubicBezTo>
                <a:cubicBezTo>
                  <a:pt x="4778" y="3773"/>
                  <a:pt x="4790" y="3738"/>
                  <a:pt x="4780" y="3703"/>
                </a:cubicBezTo>
                <a:cubicBezTo>
                  <a:pt x="4770" y="3662"/>
                  <a:pt x="4726" y="3607"/>
                  <a:pt x="4680" y="3596"/>
                </a:cubicBezTo>
                <a:close/>
                <a:moveTo>
                  <a:pt x="6251" y="8768"/>
                </a:moveTo>
                <a:cubicBezTo>
                  <a:pt x="6251" y="8766"/>
                  <a:pt x="6251" y="8763"/>
                  <a:pt x="6251" y="8761"/>
                </a:cubicBezTo>
                <a:cubicBezTo>
                  <a:pt x="6251" y="8761"/>
                  <a:pt x="6251" y="8761"/>
                  <a:pt x="6250" y="8761"/>
                </a:cubicBezTo>
                <a:cubicBezTo>
                  <a:pt x="6251" y="8763"/>
                  <a:pt x="6251" y="8766"/>
                  <a:pt x="6251" y="8768"/>
                </a:cubicBezTo>
                <a:close/>
                <a:moveTo>
                  <a:pt x="6250" y="8761"/>
                </a:moveTo>
                <a:cubicBezTo>
                  <a:pt x="6249" y="8756"/>
                  <a:pt x="6249" y="8747"/>
                  <a:pt x="6247" y="8741"/>
                </a:cubicBezTo>
                <a:cubicBezTo>
                  <a:pt x="6243" y="8739"/>
                  <a:pt x="6240" y="8738"/>
                  <a:pt x="6236" y="8736"/>
                </a:cubicBezTo>
                <a:cubicBezTo>
                  <a:pt x="6236" y="8737"/>
                  <a:pt x="6236" y="8738"/>
                  <a:pt x="6236" y="8738"/>
                </a:cubicBezTo>
                <a:cubicBezTo>
                  <a:pt x="6239" y="8746"/>
                  <a:pt x="6242" y="8754"/>
                  <a:pt x="6245" y="8761"/>
                </a:cubicBezTo>
                <a:cubicBezTo>
                  <a:pt x="6246" y="8761"/>
                  <a:pt x="6248" y="8761"/>
                  <a:pt x="6250" y="8761"/>
                </a:cubicBezTo>
                <a:close/>
                <a:moveTo>
                  <a:pt x="5873" y="9487"/>
                </a:moveTo>
                <a:cubicBezTo>
                  <a:pt x="5873" y="9488"/>
                  <a:pt x="5873" y="9489"/>
                  <a:pt x="5873" y="9490"/>
                </a:cubicBezTo>
                <a:cubicBezTo>
                  <a:pt x="5873" y="9489"/>
                  <a:pt x="5873" y="9487"/>
                  <a:pt x="5873" y="9485"/>
                </a:cubicBezTo>
                <a:cubicBezTo>
                  <a:pt x="5873" y="9486"/>
                  <a:pt x="5873" y="9486"/>
                  <a:pt x="5873" y="9487"/>
                </a:cubicBezTo>
                <a:close/>
                <a:moveTo>
                  <a:pt x="5873" y="9490"/>
                </a:moveTo>
                <a:cubicBezTo>
                  <a:pt x="5873" y="9492"/>
                  <a:pt x="5874" y="9494"/>
                  <a:pt x="5874" y="9496"/>
                </a:cubicBezTo>
                <a:cubicBezTo>
                  <a:pt x="5875" y="9496"/>
                  <a:pt x="5875" y="9496"/>
                  <a:pt x="5876" y="9496"/>
                </a:cubicBezTo>
                <a:cubicBezTo>
                  <a:pt x="5876" y="9492"/>
                  <a:pt x="5874" y="9494"/>
                  <a:pt x="5873" y="9490"/>
                </a:cubicBezTo>
                <a:close/>
                <a:moveTo>
                  <a:pt x="9224" y="3607"/>
                </a:moveTo>
                <a:cubicBezTo>
                  <a:pt x="9224" y="3629"/>
                  <a:pt x="9224" y="3650"/>
                  <a:pt x="9224" y="3672"/>
                </a:cubicBezTo>
                <a:cubicBezTo>
                  <a:pt x="9196" y="3709"/>
                  <a:pt x="9157" y="3690"/>
                  <a:pt x="9119" y="3681"/>
                </a:cubicBezTo>
                <a:cubicBezTo>
                  <a:pt x="9124" y="3702"/>
                  <a:pt x="9130" y="3717"/>
                  <a:pt x="9129" y="3740"/>
                </a:cubicBezTo>
                <a:cubicBezTo>
                  <a:pt x="9109" y="3740"/>
                  <a:pt x="9094" y="3718"/>
                  <a:pt x="9088" y="3692"/>
                </a:cubicBezTo>
                <a:cubicBezTo>
                  <a:pt x="9074" y="3673"/>
                  <a:pt x="9054" y="3688"/>
                  <a:pt x="9040" y="3708"/>
                </a:cubicBezTo>
                <a:cubicBezTo>
                  <a:pt x="9042" y="3722"/>
                  <a:pt x="9045" y="3735"/>
                  <a:pt x="9048" y="3749"/>
                </a:cubicBezTo>
                <a:cubicBezTo>
                  <a:pt x="9048" y="3749"/>
                  <a:pt x="9048" y="3750"/>
                  <a:pt x="9048" y="3751"/>
                </a:cubicBezTo>
                <a:cubicBezTo>
                  <a:pt x="9044" y="3754"/>
                  <a:pt x="9040" y="3757"/>
                  <a:pt x="9036" y="3760"/>
                </a:cubicBezTo>
                <a:cubicBezTo>
                  <a:pt x="9020" y="3740"/>
                  <a:pt x="9004" y="3710"/>
                  <a:pt x="8997" y="3674"/>
                </a:cubicBezTo>
                <a:cubicBezTo>
                  <a:pt x="8996" y="3674"/>
                  <a:pt x="8996" y="3674"/>
                  <a:pt x="8996" y="3674"/>
                </a:cubicBezTo>
                <a:cubicBezTo>
                  <a:pt x="8992" y="3679"/>
                  <a:pt x="8988" y="3683"/>
                  <a:pt x="8985" y="3687"/>
                </a:cubicBezTo>
                <a:cubicBezTo>
                  <a:pt x="8978" y="3709"/>
                  <a:pt x="8983" y="3745"/>
                  <a:pt x="8983" y="3779"/>
                </a:cubicBezTo>
                <a:cubicBezTo>
                  <a:pt x="8973" y="3798"/>
                  <a:pt x="8959" y="3796"/>
                  <a:pt x="8946" y="3810"/>
                </a:cubicBezTo>
                <a:cubicBezTo>
                  <a:pt x="8939" y="3822"/>
                  <a:pt x="8933" y="3834"/>
                  <a:pt x="8926" y="3846"/>
                </a:cubicBezTo>
                <a:cubicBezTo>
                  <a:pt x="8918" y="3826"/>
                  <a:pt x="8910" y="3806"/>
                  <a:pt x="8903" y="3787"/>
                </a:cubicBezTo>
                <a:cubicBezTo>
                  <a:pt x="8898" y="3770"/>
                  <a:pt x="8919" y="3748"/>
                  <a:pt x="8915" y="3715"/>
                </a:cubicBezTo>
                <a:cubicBezTo>
                  <a:pt x="8908" y="3650"/>
                  <a:pt x="8858" y="3635"/>
                  <a:pt x="8825" y="3618"/>
                </a:cubicBezTo>
                <a:cubicBezTo>
                  <a:pt x="8822" y="3625"/>
                  <a:pt x="8819" y="3632"/>
                  <a:pt x="8816" y="3638"/>
                </a:cubicBezTo>
                <a:cubicBezTo>
                  <a:pt x="8815" y="3640"/>
                  <a:pt x="8814" y="3642"/>
                  <a:pt x="8813" y="3643"/>
                </a:cubicBezTo>
                <a:cubicBezTo>
                  <a:pt x="8822" y="3655"/>
                  <a:pt x="8831" y="3672"/>
                  <a:pt x="8835" y="3695"/>
                </a:cubicBezTo>
                <a:cubicBezTo>
                  <a:pt x="8835" y="3696"/>
                  <a:pt x="8835" y="3696"/>
                  <a:pt x="8835" y="3697"/>
                </a:cubicBezTo>
                <a:cubicBezTo>
                  <a:pt x="8805" y="3736"/>
                  <a:pt x="8782" y="3628"/>
                  <a:pt x="8764" y="3699"/>
                </a:cubicBezTo>
                <a:cubicBezTo>
                  <a:pt x="8770" y="3713"/>
                  <a:pt x="8775" y="3727"/>
                  <a:pt x="8781" y="3740"/>
                </a:cubicBezTo>
                <a:cubicBezTo>
                  <a:pt x="8782" y="3743"/>
                  <a:pt x="8784" y="3746"/>
                  <a:pt x="8785" y="3749"/>
                </a:cubicBezTo>
                <a:cubicBezTo>
                  <a:pt x="8768" y="3755"/>
                  <a:pt x="8742" y="3757"/>
                  <a:pt x="8728" y="3769"/>
                </a:cubicBezTo>
                <a:cubicBezTo>
                  <a:pt x="8727" y="3781"/>
                  <a:pt x="8727" y="3789"/>
                  <a:pt x="8730" y="3798"/>
                </a:cubicBezTo>
                <a:cubicBezTo>
                  <a:pt x="8752" y="3865"/>
                  <a:pt x="8791" y="3789"/>
                  <a:pt x="8828" y="3800"/>
                </a:cubicBezTo>
                <a:cubicBezTo>
                  <a:pt x="8850" y="3807"/>
                  <a:pt x="8865" y="3818"/>
                  <a:pt x="8881" y="3830"/>
                </a:cubicBezTo>
                <a:cubicBezTo>
                  <a:pt x="8882" y="3839"/>
                  <a:pt x="8882" y="3848"/>
                  <a:pt x="8884" y="3857"/>
                </a:cubicBezTo>
                <a:cubicBezTo>
                  <a:pt x="8882" y="3865"/>
                  <a:pt x="8881" y="3872"/>
                  <a:pt x="8880" y="3880"/>
                </a:cubicBezTo>
                <a:cubicBezTo>
                  <a:pt x="8856" y="3912"/>
                  <a:pt x="8775" y="3907"/>
                  <a:pt x="8763" y="3947"/>
                </a:cubicBezTo>
                <a:cubicBezTo>
                  <a:pt x="8763" y="3950"/>
                  <a:pt x="8762" y="3952"/>
                  <a:pt x="8762" y="3954"/>
                </a:cubicBezTo>
                <a:cubicBezTo>
                  <a:pt x="8764" y="3959"/>
                  <a:pt x="8766" y="3964"/>
                  <a:pt x="8768" y="3970"/>
                </a:cubicBezTo>
                <a:cubicBezTo>
                  <a:pt x="8785" y="3983"/>
                  <a:pt x="8824" y="3961"/>
                  <a:pt x="8843" y="3954"/>
                </a:cubicBezTo>
                <a:cubicBezTo>
                  <a:pt x="8859" y="3989"/>
                  <a:pt x="8866" y="4004"/>
                  <a:pt x="8899" y="4011"/>
                </a:cubicBezTo>
                <a:cubicBezTo>
                  <a:pt x="8880" y="4062"/>
                  <a:pt x="8856" y="4065"/>
                  <a:pt x="8835" y="4105"/>
                </a:cubicBezTo>
                <a:cubicBezTo>
                  <a:pt x="8857" y="4156"/>
                  <a:pt x="8937" y="4111"/>
                  <a:pt x="8970" y="4134"/>
                </a:cubicBezTo>
                <a:cubicBezTo>
                  <a:pt x="8980" y="4148"/>
                  <a:pt x="8991" y="4161"/>
                  <a:pt x="9002" y="4175"/>
                </a:cubicBezTo>
                <a:cubicBezTo>
                  <a:pt x="9019" y="4194"/>
                  <a:pt x="9048" y="4200"/>
                  <a:pt x="9070" y="4206"/>
                </a:cubicBezTo>
                <a:cubicBezTo>
                  <a:pt x="9128" y="4224"/>
                  <a:pt x="9126" y="4154"/>
                  <a:pt x="9150" y="4137"/>
                </a:cubicBezTo>
                <a:cubicBezTo>
                  <a:pt x="9172" y="4131"/>
                  <a:pt x="9194" y="4125"/>
                  <a:pt x="9216" y="4120"/>
                </a:cubicBezTo>
                <a:cubicBezTo>
                  <a:pt x="9246" y="4102"/>
                  <a:pt x="9272" y="4060"/>
                  <a:pt x="9296" y="4029"/>
                </a:cubicBezTo>
                <a:cubicBezTo>
                  <a:pt x="9323" y="4052"/>
                  <a:pt x="9347" y="4029"/>
                  <a:pt x="9353" y="3982"/>
                </a:cubicBezTo>
                <a:cubicBezTo>
                  <a:pt x="9354" y="3972"/>
                  <a:pt x="9354" y="3962"/>
                  <a:pt x="9355" y="3952"/>
                </a:cubicBezTo>
                <a:cubicBezTo>
                  <a:pt x="9368" y="3946"/>
                  <a:pt x="9382" y="3939"/>
                  <a:pt x="9396" y="3934"/>
                </a:cubicBezTo>
                <a:cubicBezTo>
                  <a:pt x="9405" y="3904"/>
                  <a:pt x="9413" y="3832"/>
                  <a:pt x="9399" y="3798"/>
                </a:cubicBezTo>
                <a:cubicBezTo>
                  <a:pt x="9391" y="3779"/>
                  <a:pt x="9366" y="3790"/>
                  <a:pt x="9351" y="3781"/>
                </a:cubicBezTo>
                <a:cubicBezTo>
                  <a:pt x="9345" y="3775"/>
                  <a:pt x="9339" y="3768"/>
                  <a:pt x="9333" y="3761"/>
                </a:cubicBezTo>
                <a:cubicBezTo>
                  <a:pt x="9329" y="3746"/>
                  <a:pt x="9332" y="3725"/>
                  <a:pt x="9335" y="3708"/>
                </a:cubicBezTo>
                <a:cubicBezTo>
                  <a:pt x="9334" y="3702"/>
                  <a:pt x="9332" y="3695"/>
                  <a:pt x="9330" y="3689"/>
                </a:cubicBezTo>
                <a:cubicBezTo>
                  <a:pt x="9300" y="3664"/>
                  <a:pt x="9275" y="3676"/>
                  <a:pt x="9262" y="3620"/>
                </a:cubicBezTo>
                <a:cubicBezTo>
                  <a:pt x="9253" y="3610"/>
                  <a:pt x="9239" y="3606"/>
                  <a:pt x="9224" y="3607"/>
                </a:cubicBezTo>
                <a:close/>
                <a:moveTo>
                  <a:pt x="4465" y="3894"/>
                </a:moveTo>
                <a:cubicBezTo>
                  <a:pt x="4458" y="3897"/>
                  <a:pt x="4450" y="3899"/>
                  <a:pt x="4443" y="3901"/>
                </a:cubicBezTo>
                <a:cubicBezTo>
                  <a:pt x="4435" y="3926"/>
                  <a:pt x="4433" y="3990"/>
                  <a:pt x="4420" y="4007"/>
                </a:cubicBezTo>
                <a:cubicBezTo>
                  <a:pt x="4402" y="4030"/>
                  <a:pt x="4377" y="4029"/>
                  <a:pt x="4368" y="4068"/>
                </a:cubicBezTo>
                <a:cubicBezTo>
                  <a:pt x="4366" y="4071"/>
                  <a:pt x="4365" y="4074"/>
                  <a:pt x="4364" y="4077"/>
                </a:cubicBezTo>
                <a:cubicBezTo>
                  <a:pt x="4379" y="4093"/>
                  <a:pt x="4397" y="4088"/>
                  <a:pt x="4416" y="4099"/>
                </a:cubicBezTo>
                <a:cubicBezTo>
                  <a:pt x="4449" y="4118"/>
                  <a:pt x="4518" y="4191"/>
                  <a:pt x="4563" y="4168"/>
                </a:cubicBezTo>
                <a:cubicBezTo>
                  <a:pt x="4578" y="4150"/>
                  <a:pt x="4593" y="4133"/>
                  <a:pt x="4607" y="4115"/>
                </a:cubicBezTo>
                <a:cubicBezTo>
                  <a:pt x="4608" y="4113"/>
                  <a:pt x="4608" y="4112"/>
                  <a:pt x="4609" y="4110"/>
                </a:cubicBezTo>
                <a:cubicBezTo>
                  <a:pt x="4588" y="4064"/>
                  <a:pt x="4583" y="4081"/>
                  <a:pt x="4567" y="4012"/>
                </a:cubicBezTo>
                <a:cubicBezTo>
                  <a:pt x="4561" y="3996"/>
                  <a:pt x="4479" y="3901"/>
                  <a:pt x="4465" y="3894"/>
                </a:cubicBezTo>
                <a:close/>
                <a:moveTo>
                  <a:pt x="5903" y="4193"/>
                </a:moveTo>
                <a:cubicBezTo>
                  <a:pt x="5889" y="4199"/>
                  <a:pt x="5875" y="4205"/>
                  <a:pt x="5861" y="4211"/>
                </a:cubicBezTo>
                <a:cubicBezTo>
                  <a:pt x="5837" y="4237"/>
                  <a:pt x="5797" y="4353"/>
                  <a:pt x="5832" y="4402"/>
                </a:cubicBezTo>
                <a:cubicBezTo>
                  <a:pt x="5866" y="4449"/>
                  <a:pt x="5943" y="4397"/>
                  <a:pt x="5952" y="4347"/>
                </a:cubicBezTo>
                <a:cubicBezTo>
                  <a:pt x="5953" y="4312"/>
                  <a:pt x="5954" y="4278"/>
                  <a:pt x="5954" y="4242"/>
                </a:cubicBezTo>
                <a:cubicBezTo>
                  <a:pt x="5943" y="4220"/>
                  <a:pt x="5922" y="4199"/>
                  <a:pt x="5903" y="4193"/>
                </a:cubicBezTo>
                <a:close/>
                <a:moveTo>
                  <a:pt x="5268" y="4793"/>
                </a:moveTo>
                <a:cubicBezTo>
                  <a:pt x="5252" y="4889"/>
                  <a:pt x="5209" y="5015"/>
                  <a:pt x="5237" y="5124"/>
                </a:cubicBezTo>
                <a:cubicBezTo>
                  <a:pt x="5210" y="5148"/>
                  <a:pt x="5181" y="5168"/>
                  <a:pt x="5171" y="5225"/>
                </a:cubicBezTo>
                <a:cubicBezTo>
                  <a:pt x="5171" y="5228"/>
                  <a:pt x="5171" y="5231"/>
                  <a:pt x="5171" y="5235"/>
                </a:cubicBezTo>
                <a:cubicBezTo>
                  <a:pt x="5204" y="5223"/>
                  <a:pt x="5236" y="5213"/>
                  <a:pt x="5268" y="5202"/>
                </a:cubicBezTo>
                <a:cubicBezTo>
                  <a:pt x="5275" y="5231"/>
                  <a:pt x="5276" y="5254"/>
                  <a:pt x="5275" y="5301"/>
                </a:cubicBezTo>
                <a:cubicBezTo>
                  <a:pt x="5337" y="5301"/>
                  <a:pt x="5342" y="5210"/>
                  <a:pt x="5400" y="5202"/>
                </a:cubicBezTo>
                <a:cubicBezTo>
                  <a:pt x="5401" y="5199"/>
                  <a:pt x="5403" y="5196"/>
                  <a:pt x="5405" y="5194"/>
                </a:cubicBezTo>
                <a:cubicBezTo>
                  <a:pt x="5403" y="5177"/>
                  <a:pt x="5401" y="5159"/>
                  <a:pt x="5399" y="5142"/>
                </a:cubicBezTo>
                <a:cubicBezTo>
                  <a:pt x="5401" y="5134"/>
                  <a:pt x="5404" y="5127"/>
                  <a:pt x="5406" y="5119"/>
                </a:cubicBezTo>
                <a:cubicBezTo>
                  <a:pt x="5464" y="5120"/>
                  <a:pt x="5454" y="5172"/>
                  <a:pt x="5484" y="5211"/>
                </a:cubicBezTo>
                <a:cubicBezTo>
                  <a:pt x="5507" y="5240"/>
                  <a:pt x="5549" y="5234"/>
                  <a:pt x="5579" y="5248"/>
                </a:cubicBezTo>
                <a:cubicBezTo>
                  <a:pt x="5587" y="5227"/>
                  <a:pt x="5597" y="5217"/>
                  <a:pt x="5609" y="5203"/>
                </a:cubicBezTo>
                <a:cubicBezTo>
                  <a:pt x="5610" y="5203"/>
                  <a:pt x="5612" y="5203"/>
                  <a:pt x="5613" y="5202"/>
                </a:cubicBezTo>
                <a:cubicBezTo>
                  <a:pt x="5602" y="5190"/>
                  <a:pt x="5592" y="5177"/>
                  <a:pt x="5582" y="5165"/>
                </a:cubicBezTo>
                <a:cubicBezTo>
                  <a:pt x="5560" y="5148"/>
                  <a:pt x="5530" y="5158"/>
                  <a:pt x="5504" y="5153"/>
                </a:cubicBezTo>
                <a:cubicBezTo>
                  <a:pt x="5511" y="4994"/>
                  <a:pt x="5478" y="5039"/>
                  <a:pt x="5427" y="4985"/>
                </a:cubicBezTo>
                <a:cubicBezTo>
                  <a:pt x="5397" y="4953"/>
                  <a:pt x="5380" y="4909"/>
                  <a:pt x="5344" y="4885"/>
                </a:cubicBezTo>
                <a:cubicBezTo>
                  <a:pt x="5340" y="4898"/>
                  <a:pt x="5336" y="4911"/>
                  <a:pt x="5331" y="4923"/>
                </a:cubicBezTo>
                <a:cubicBezTo>
                  <a:pt x="5312" y="4921"/>
                  <a:pt x="5305" y="4906"/>
                  <a:pt x="5293" y="4891"/>
                </a:cubicBezTo>
                <a:cubicBezTo>
                  <a:pt x="5296" y="4876"/>
                  <a:pt x="5299" y="4860"/>
                  <a:pt x="5302" y="4844"/>
                </a:cubicBezTo>
                <a:cubicBezTo>
                  <a:pt x="5290" y="4827"/>
                  <a:pt x="5280" y="4810"/>
                  <a:pt x="5268" y="4793"/>
                </a:cubicBezTo>
                <a:close/>
                <a:moveTo>
                  <a:pt x="7781" y="5093"/>
                </a:moveTo>
                <a:cubicBezTo>
                  <a:pt x="7779" y="5105"/>
                  <a:pt x="7761" y="5111"/>
                  <a:pt x="7758" y="5129"/>
                </a:cubicBezTo>
                <a:cubicBezTo>
                  <a:pt x="7758" y="5130"/>
                  <a:pt x="7758" y="5129"/>
                  <a:pt x="7758" y="5130"/>
                </a:cubicBezTo>
                <a:cubicBezTo>
                  <a:pt x="7774" y="5126"/>
                  <a:pt x="7784" y="5116"/>
                  <a:pt x="7792" y="5105"/>
                </a:cubicBezTo>
                <a:cubicBezTo>
                  <a:pt x="7792" y="5099"/>
                  <a:pt x="7791" y="5097"/>
                  <a:pt x="7789" y="5093"/>
                </a:cubicBezTo>
                <a:cubicBezTo>
                  <a:pt x="7786" y="5092"/>
                  <a:pt x="7785" y="5091"/>
                  <a:pt x="7781" y="5093"/>
                </a:cubicBezTo>
                <a:close/>
                <a:moveTo>
                  <a:pt x="9930" y="5105"/>
                </a:moveTo>
                <a:cubicBezTo>
                  <a:pt x="9925" y="5115"/>
                  <a:pt x="9921" y="5126"/>
                  <a:pt x="9917" y="5136"/>
                </a:cubicBezTo>
                <a:cubicBezTo>
                  <a:pt x="9921" y="5148"/>
                  <a:pt x="9925" y="5160"/>
                  <a:pt x="9930" y="5172"/>
                </a:cubicBezTo>
                <a:cubicBezTo>
                  <a:pt x="9921" y="5177"/>
                  <a:pt x="9912" y="5183"/>
                  <a:pt x="9903" y="5188"/>
                </a:cubicBezTo>
                <a:cubicBezTo>
                  <a:pt x="9909" y="5208"/>
                  <a:pt x="9914" y="5228"/>
                  <a:pt x="9920" y="5249"/>
                </a:cubicBezTo>
                <a:cubicBezTo>
                  <a:pt x="9909" y="5250"/>
                  <a:pt x="9902" y="5248"/>
                  <a:pt x="9892" y="5242"/>
                </a:cubicBezTo>
                <a:cubicBezTo>
                  <a:pt x="9884" y="5246"/>
                  <a:pt x="9880" y="5257"/>
                  <a:pt x="9876" y="5269"/>
                </a:cubicBezTo>
                <a:cubicBezTo>
                  <a:pt x="9882" y="5282"/>
                  <a:pt x="9888" y="5296"/>
                  <a:pt x="9895" y="5309"/>
                </a:cubicBezTo>
                <a:cubicBezTo>
                  <a:pt x="9890" y="5321"/>
                  <a:pt x="9882" y="5319"/>
                  <a:pt x="9878" y="5328"/>
                </a:cubicBezTo>
                <a:cubicBezTo>
                  <a:pt x="9880" y="5344"/>
                  <a:pt x="9882" y="5361"/>
                  <a:pt x="9884" y="5377"/>
                </a:cubicBezTo>
                <a:cubicBezTo>
                  <a:pt x="9884" y="5377"/>
                  <a:pt x="9861" y="5451"/>
                  <a:pt x="9858" y="5459"/>
                </a:cubicBezTo>
                <a:cubicBezTo>
                  <a:pt x="9863" y="5464"/>
                  <a:pt x="9868" y="5468"/>
                  <a:pt x="9873" y="5472"/>
                </a:cubicBezTo>
                <a:cubicBezTo>
                  <a:pt x="9880" y="5463"/>
                  <a:pt x="9883" y="5453"/>
                  <a:pt x="9889" y="5440"/>
                </a:cubicBezTo>
                <a:cubicBezTo>
                  <a:pt x="9889" y="5438"/>
                  <a:pt x="9890" y="5436"/>
                  <a:pt x="9891" y="5434"/>
                </a:cubicBezTo>
                <a:cubicBezTo>
                  <a:pt x="9896" y="5441"/>
                  <a:pt x="9901" y="5447"/>
                  <a:pt x="9907" y="5454"/>
                </a:cubicBezTo>
                <a:cubicBezTo>
                  <a:pt x="9900" y="5490"/>
                  <a:pt x="9878" y="5540"/>
                  <a:pt x="9888" y="5578"/>
                </a:cubicBezTo>
                <a:cubicBezTo>
                  <a:pt x="9888" y="5580"/>
                  <a:pt x="9888" y="5581"/>
                  <a:pt x="9888" y="5583"/>
                </a:cubicBezTo>
                <a:cubicBezTo>
                  <a:pt x="9906" y="5564"/>
                  <a:pt x="9924" y="5545"/>
                  <a:pt x="9939" y="5522"/>
                </a:cubicBezTo>
                <a:cubicBezTo>
                  <a:pt x="9941" y="5522"/>
                  <a:pt x="9943" y="5522"/>
                  <a:pt x="9944" y="5522"/>
                </a:cubicBezTo>
                <a:cubicBezTo>
                  <a:pt x="9946" y="5533"/>
                  <a:pt x="9948" y="5544"/>
                  <a:pt x="9949" y="5555"/>
                </a:cubicBezTo>
                <a:cubicBezTo>
                  <a:pt x="9945" y="5566"/>
                  <a:pt x="9940" y="5574"/>
                  <a:pt x="9932" y="5578"/>
                </a:cubicBezTo>
                <a:cubicBezTo>
                  <a:pt x="9930" y="5601"/>
                  <a:pt x="9934" y="5619"/>
                  <a:pt x="9943" y="5629"/>
                </a:cubicBezTo>
                <a:cubicBezTo>
                  <a:pt x="9951" y="5654"/>
                  <a:pt x="9921" y="5703"/>
                  <a:pt x="9917" y="5743"/>
                </a:cubicBezTo>
                <a:cubicBezTo>
                  <a:pt x="9928" y="5748"/>
                  <a:pt x="9939" y="5753"/>
                  <a:pt x="9950" y="5758"/>
                </a:cubicBezTo>
                <a:cubicBezTo>
                  <a:pt x="9955" y="5751"/>
                  <a:pt x="9958" y="5748"/>
                  <a:pt x="9959" y="5733"/>
                </a:cubicBezTo>
                <a:cubicBezTo>
                  <a:pt x="9967" y="5737"/>
                  <a:pt x="9975" y="5741"/>
                  <a:pt x="9983" y="5745"/>
                </a:cubicBezTo>
                <a:cubicBezTo>
                  <a:pt x="10013" y="5742"/>
                  <a:pt x="10002" y="5714"/>
                  <a:pt x="10042" y="5733"/>
                </a:cubicBezTo>
                <a:cubicBezTo>
                  <a:pt x="10032" y="5756"/>
                  <a:pt x="10019" y="5769"/>
                  <a:pt x="10016" y="5804"/>
                </a:cubicBezTo>
                <a:cubicBezTo>
                  <a:pt x="10021" y="5825"/>
                  <a:pt x="10027" y="5832"/>
                  <a:pt x="10035" y="5848"/>
                </a:cubicBezTo>
                <a:cubicBezTo>
                  <a:pt x="10042" y="5846"/>
                  <a:pt x="10051" y="5842"/>
                  <a:pt x="10059" y="5840"/>
                </a:cubicBezTo>
                <a:cubicBezTo>
                  <a:pt x="10059" y="5840"/>
                  <a:pt x="10059" y="5840"/>
                  <a:pt x="10060" y="5840"/>
                </a:cubicBezTo>
                <a:cubicBezTo>
                  <a:pt x="10059" y="5903"/>
                  <a:pt x="10043" y="5933"/>
                  <a:pt x="10057" y="5984"/>
                </a:cubicBezTo>
                <a:cubicBezTo>
                  <a:pt x="10057" y="5985"/>
                  <a:pt x="10057" y="5986"/>
                  <a:pt x="10057" y="5986"/>
                </a:cubicBezTo>
                <a:cubicBezTo>
                  <a:pt x="10010" y="5987"/>
                  <a:pt x="9966" y="5996"/>
                  <a:pt x="9950" y="6056"/>
                </a:cubicBezTo>
                <a:cubicBezTo>
                  <a:pt x="9950" y="6057"/>
                  <a:pt x="9950" y="6058"/>
                  <a:pt x="9950" y="6059"/>
                </a:cubicBezTo>
                <a:cubicBezTo>
                  <a:pt x="9960" y="6059"/>
                  <a:pt x="9970" y="6059"/>
                  <a:pt x="9979" y="6059"/>
                </a:cubicBezTo>
                <a:cubicBezTo>
                  <a:pt x="9979" y="6060"/>
                  <a:pt x="9979" y="6062"/>
                  <a:pt x="9979" y="6063"/>
                </a:cubicBezTo>
                <a:cubicBezTo>
                  <a:pt x="9984" y="6078"/>
                  <a:pt x="9981" y="6104"/>
                  <a:pt x="9981" y="6127"/>
                </a:cubicBezTo>
                <a:cubicBezTo>
                  <a:pt x="9964" y="6172"/>
                  <a:pt x="9922" y="6175"/>
                  <a:pt x="9915" y="6199"/>
                </a:cubicBezTo>
                <a:cubicBezTo>
                  <a:pt x="9913" y="6203"/>
                  <a:pt x="9911" y="6208"/>
                  <a:pt x="9909" y="6212"/>
                </a:cubicBezTo>
                <a:cubicBezTo>
                  <a:pt x="9914" y="6221"/>
                  <a:pt x="9920" y="6230"/>
                  <a:pt x="9925" y="6239"/>
                </a:cubicBezTo>
                <a:cubicBezTo>
                  <a:pt x="9944" y="6240"/>
                  <a:pt x="9962" y="6239"/>
                  <a:pt x="9981" y="6240"/>
                </a:cubicBezTo>
                <a:cubicBezTo>
                  <a:pt x="9994" y="6252"/>
                  <a:pt x="10008" y="6264"/>
                  <a:pt x="10021" y="6276"/>
                </a:cubicBezTo>
                <a:cubicBezTo>
                  <a:pt x="10021" y="6276"/>
                  <a:pt x="10022" y="6276"/>
                  <a:pt x="10022" y="6276"/>
                </a:cubicBezTo>
                <a:cubicBezTo>
                  <a:pt x="10023" y="6276"/>
                  <a:pt x="10023" y="6276"/>
                  <a:pt x="10024" y="6276"/>
                </a:cubicBezTo>
                <a:cubicBezTo>
                  <a:pt x="10043" y="6274"/>
                  <a:pt x="10054" y="6257"/>
                  <a:pt x="10068" y="6246"/>
                </a:cubicBezTo>
                <a:cubicBezTo>
                  <a:pt x="10062" y="6270"/>
                  <a:pt x="10050" y="6285"/>
                  <a:pt x="10049" y="6314"/>
                </a:cubicBezTo>
                <a:cubicBezTo>
                  <a:pt x="10020" y="6328"/>
                  <a:pt x="9998" y="6297"/>
                  <a:pt x="9974" y="6318"/>
                </a:cubicBezTo>
                <a:cubicBezTo>
                  <a:pt x="9966" y="6334"/>
                  <a:pt x="9969" y="6351"/>
                  <a:pt x="9953" y="6346"/>
                </a:cubicBezTo>
                <a:cubicBezTo>
                  <a:pt x="9950" y="6400"/>
                  <a:pt x="9902" y="6460"/>
                  <a:pt x="9876" y="6474"/>
                </a:cubicBezTo>
                <a:cubicBezTo>
                  <a:pt x="9876" y="6476"/>
                  <a:pt x="9876" y="6477"/>
                  <a:pt x="9876" y="6479"/>
                </a:cubicBezTo>
                <a:cubicBezTo>
                  <a:pt x="9883" y="6483"/>
                  <a:pt x="9889" y="6486"/>
                  <a:pt x="9897" y="6490"/>
                </a:cubicBezTo>
                <a:cubicBezTo>
                  <a:pt x="9900" y="6496"/>
                  <a:pt x="9903" y="6501"/>
                  <a:pt x="9906" y="6508"/>
                </a:cubicBezTo>
                <a:cubicBezTo>
                  <a:pt x="9917" y="6480"/>
                  <a:pt x="9933" y="6458"/>
                  <a:pt x="9953" y="6445"/>
                </a:cubicBezTo>
                <a:cubicBezTo>
                  <a:pt x="9963" y="6454"/>
                  <a:pt x="9968" y="6448"/>
                  <a:pt x="9974" y="6442"/>
                </a:cubicBezTo>
                <a:cubicBezTo>
                  <a:pt x="9997" y="6466"/>
                  <a:pt x="10018" y="6485"/>
                  <a:pt x="10020" y="6404"/>
                </a:cubicBezTo>
                <a:cubicBezTo>
                  <a:pt x="10063" y="6395"/>
                  <a:pt x="10074" y="6404"/>
                  <a:pt x="10115" y="6410"/>
                </a:cubicBezTo>
                <a:cubicBezTo>
                  <a:pt x="10114" y="6404"/>
                  <a:pt x="10114" y="6398"/>
                  <a:pt x="10113" y="6392"/>
                </a:cubicBezTo>
                <a:cubicBezTo>
                  <a:pt x="10131" y="6387"/>
                  <a:pt x="10149" y="6382"/>
                  <a:pt x="10168" y="6377"/>
                </a:cubicBezTo>
                <a:cubicBezTo>
                  <a:pt x="10179" y="6374"/>
                  <a:pt x="10181" y="6387"/>
                  <a:pt x="10188" y="6389"/>
                </a:cubicBezTo>
                <a:cubicBezTo>
                  <a:pt x="10197" y="6385"/>
                  <a:pt x="10207" y="6381"/>
                  <a:pt x="10217" y="6377"/>
                </a:cubicBezTo>
                <a:cubicBezTo>
                  <a:pt x="10230" y="6380"/>
                  <a:pt x="10243" y="6383"/>
                  <a:pt x="10257" y="6386"/>
                </a:cubicBezTo>
                <a:cubicBezTo>
                  <a:pt x="10273" y="6381"/>
                  <a:pt x="10278" y="6358"/>
                  <a:pt x="10301" y="6362"/>
                </a:cubicBezTo>
                <a:cubicBezTo>
                  <a:pt x="10302" y="6338"/>
                  <a:pt x="10320" y="6330"/>
                  <a:pt x="10330" y="6325"/>
                </a:cubicBezTo>
                <a:cubicBezTo>
                  <a:pt x="10330" y="6313"/>
                  <a:pt x="10330" y="6301"/>
                  <a:pt x="10330" y="6289"/>
                </a:cubicBezTo>
                <a:cubicBezTo>
                  <a:pt x="10329" y="6289"/>
                  <a:pt x="10328" y="6289"/>
                  <a:pt x="10328" y="6289"/>
                </a:cubicBezTo>
                <a:cubicBezTo>
                  <a:pt x="10325" y="6285"/>
                  <a:pt x="10276" y="6277"/>
                  <a:pt x="10263" y="6276"/>
                </a:cubicBezTo>
                <a:cubicBezTo>
                  <a:pt x="10263" y="6275"/>
                  <a:pt x="10263" y="6274"/>
                  <a:pt x="10263" y="6274"/>
                </a:cubicBezTo>
                <a:cubicBezTo>
                  <a:pt x="10286" y="6262"/>
                  <a:pt x="10343" y="6192"/>
                  <a:pt x="10350" y="6153"/>
                </a:cubicBezTo>
                <a:cubicBezTo>
                  <a:pt x="10348" y="6131"/>
                  <a:pt x="10347" y="6108"/>
                  <a:pt x="10346" y="6086"/>
                </a:cubicBezTo>
                <a:cubicBezTo>
                  <a:pt x="10327" y="6059"/>
                  <a:pt x="10286" y="6019"/>
                  <a:pt x="10265" y="6074"/>
                </a:cubicBezTo>
                <a:cubicBezTo>
                  <a:pt x="10257" y="6072"/>
                  <a:pt x="10250" y="6068"/>
                  <a:pt x="10243" y="6066"/>
                </a:cubicBezTo>
                <a:cubicBezTo>
                  <a:pt x="10272" y="5985"/>
                  <a:pt x="10255" y="5996"/>
                  <a:pt x="10226" y="5938"/>
                </a:cubicBezTo>
                <a:cubicBezTo>
                  <a:pt x="10226" y="5938"/>
                  <a:pt x="10228" y="5876"/>
                  <a:pt x="10221" y="5856"/>
                </a:cubicBezTo>
                <a:cubicBezTo>
                  <a:pt x="10210" y="5830"/>
                  <a:pt x="10199" y="5803"/>
                  <a:pt x="10188" y="5777"/>
                </a:cubicBezTo>
                <a:cubicBezTo>
                  <a:pt x="10176" y="5765"/>
                  <a:pt x="10164" y="5776"/>
                  <a:pt x="10156" y="5758"/>
                </a:cubicBezTo>
                <a:cubicBezTo>
                  <a:pt x="10141" y="5724"/>
                  <a:pt x="10143" y="5678"/>
                  <a:pt x="10135" y="5637"/>
                </a:cubicBezTo>
                <a:cubicBezTo>
                  <a:pt x="10128" y="5615"/>
                  <a:pt x="10083" y="5545"/>
                  <a:pt x="10065" y="5547"/>
                </a:cubicBezTo>
                <a:cubicBezTo>
                  <a:pt x="10036" y="5550"/>
                  <a:pt x="10035" y="5577"/>
                  <a:pt x="9999" y="5549"/>
                </a:cubicBezTo>
                <a:cubicBezTo>
                  <a:pt x="9999" y="5547"/>
                  <a:pt x="9998" y="5546"/>
                  <a:pt x="9998" y="5544"/>
                </a:cubicBezTo>
                <a:cubicBezTo>
                  <a:pt x="10024" y="5545"/>
                  <a:pt x="10053" y="5541"/>
                  <a:pt x="10065" y="5514"/>
                </a:cubicBezTo>
                <a:cubicBezTo>
                  <a:pt x="10066" y="5514"/>
                  <a:pt x="10067" y="5512"/>
                  <a:pt x="10068" y="5511"/>
                </a:cubicBezTo>
                <a:cubicBezTo>
                  <a:pt x="10061" y="5503"/>
                  <a:pt x="10054" y="5495"/>
                  <a:pt x="10046" y="5488"/>
                </a:cubicBezTo>
                <a:cubicBezTo>
                  <a:pt x="10046" y="5486"/>
                  <a:pt x="10045" y="5484"/>
                  <a:pt x="10044" y="5482"/>
                </a:cubicBezTo>
                <a:cubicBezTo>
                  <a:pt x="10088" y="5481"/>
                  <a:pt x="10105" y="5367"/>
                  <a:pt x="10117" y="5310"/>
                </a:cubicBezTo>
                <a:cubicBezTo>
                  <a:pt x="10120" y="5300"/>
                  <a:pt x="10117" y="5302"/>
                  <a:pt x="10114" y="5290"/>
                </a:cubicBezTo>
                <a:cubicBezTo>
                  <a:pt x="10092" y="5260"/>
                  <a:pt x="10013" y="5279"/>
                  <a:pt x="9978" y="5279"/>
                </a:cubicBezTo>
                <a:cubicBezTo>
                  <a:pt x="9976" y="5276"/>
                  <a:pt x="9975" y="5273"/>
                  <a:pt x="9974" y="5269"/>
                </a:cubicBezTo>
                <a:cubicBezTo>
                  <a:pt x="9977" y="5190"/>
                  <a:pt x="10029" y="5199"/>
                  <a:pt x="10044" y="5143"/>
                </a:cubicBezTo>
                <a:cubicBezTo>
                  <a:pt x="10052" y="5131"/>
                  <a:pt x="10047" y="5130"/>
                  <a:pt x="10043" y="5114"/>
                </a:cubicBezTo>
                <a:cubicBezTo>
                  <a:pt x="10015" y="5094"/>
                  <a:pt x="9981" y="5147"/>
                  <a:pt x="9955" y="5134"/>
                </a:cubicBezTo>
                <a:cubicBezTo>
                  <a:pt x="9947" y="5124"/>
                  <a:pt x="9938" y="5114"/>
                  <a:pt x="9930" y="5105"/>
                </a:cubicBezTo>
                <a:close/>
                <a:moveTo>
                  <a:pt x="9712" y="5704"/>
                </a:moveTo>
                <a:cubicBezTo>
                  <a:pt x="9679" y="5710"/>
                  <a:pt x="9669" y="5734"/>
                  <a:pt x="9661" y="5786"/>
                </a:cubicBezTo>
                <a:cubicBezTo>
                  <a:pt x="9656" y="5789"/>
                  <a:pt x="9651" y="5792"/>
                  <a:pt x="9645" y="5794"/>
                </a:cubicBezTo>
                <a:cubicBezTo>
                  <a:pt x="9644" y="5798"/>
                  <a:pt x="9643" y="5801"/>
                  <a:pt x="9641" y="5804"/>
                </a:cubicBezTo>
                <a:cubicBezTo>
                  <a:pt x="9655" y="5804"/>
                  <a:pt x="9668" y="5804"/>
                  <a:pt x="9681" y="5804"/>
                </a:cubicBezTo>
                <a:cubicBezTo>
                  <a:pt x="9676" y="5830"/>
                  <a:pt x="9666" y="5841"/>
                  <a:pt x="9652" y="5848"/>
                </a:cubicBezTo>
                <a:cubicBezTo>
                  <a:pt x="9651" y="5857"/>
                  <a:pt x="9654" y="5864"/>
                  <a:pt x="9656" y="5874"/>
                </a:cubicBezTo>
                <a:cubicBezTo>
                  <a:pt x="9628" y="5869"/>
                  <a:pt x="9597" y="5868"/>
                  <a:pt x="9574" y="5853"/>
                </a:cubicBezTo>
                <a:cubicBezTo>
                  <a:pt x="9565" y="5867"/>
                  <a:pt x="9560" y="5881"/>
                  <a:pt x="9556" y="5907"/>
                </a:cubicBezTo>
                <a:cubicBezTo>
                  <a:pt x="9556" y="5913"/>
                  <a:pt x="9556" y="5916"/>
                  <a:pt x="9556" y="5922"/>
                </a:cubicBezTo>
                <a:cubicBezTo>
                  <a:pt x="9569" y="5915"/>
                  <a:pt x="9576" y="5913"/>
                  <a:pt x="9584" y="5928"/>
                </a:cubicBezTo>
                <a:cubicBezTo>
                  <a:pt x="9585" y="5928"/>
                  <a:pt x="9586" y="5928"/>
                  <a:pt x="9587" y="5928"/>
                </a:cubicBezTo>
                <a:cubicBezTo>
                  <a:pt x="9579" y="5944"/>
                  <a:pt x="9576" y="5942"/>
                  <a:pt x="9578" y="5970"/>
                </a:cubicBezTo>
                <a:cubicBezTo>
                  <a:pt x="9572" y="5972"/>
                  <a:pt x="9565" y="5974"/>
                  <a:pt x="9559" y="5977"/>
                </a:cubicBezTo>
                <a:cubicBezTo>
                  <a:pt x="9561" y="5980"/>
                  <a:pt x="9563" y="5983"/>
                  <a:pt x="9565" y="5986"/>
                </a:cubicBezTo>
                <a:cubicBezTo>
                  <a:pt x="9562" y="5993"/>
                  <a:pt x="9559" y="6000"/>
                  <a:pt x="9556" y="6007"/>
                </a:cubicBezTo>
                <a:cubicBezTo>
                  <a:pt x="9567" y="6017"/>
                  <a:pt x="9620" y="6034"/>
                  <a:pt x="9631" y="6023"/>
                </a:cubicBezTo>
                <a:cubicBezTo>
                  <a:pt x="9632" y="6029"/>
                  <a:pt x="9634" y="6037"/>
                  <a:pt x="9635" y="6044"/>
                </a:cubicBezTo>
                <a:cubicBezTo>
                  <a:pt x="9617" y="6058"/>
                  <a:pt x="9607" y="6048"/>
                  <a:pt x="9599" y="6081"/>
                </a:cubicBezTo>
                <a:cubicBezTo>
                  <a:pt x="9597" y="6090"/>
                  <a:pt x="9599" y="6087"/>
                  <a:pt x="9602" y="6097"/>
                </a:cubicBezTo>
                <a:cubicBezTo>
                  <a:pt x="9600" y="6105"/>
                  <a:pt x="9597" y="6112"/>
                  <a:pt x="9594" y="6120"/>
                </a:cubicBezTo>
                <a:cubicBezTo>
                  <a:pt x="9593" y="6122"/>
                  <a:pt x="9592" y="6124"/>
                  <a:pt x="9591" y="6126"/>
                </a:cubicBezTo>
                <a:cubicBezTo>
                  <a:pt x="9601" y="6123"/>
                  <a:pt x="9611" y="6120"/>
                  <a:pt x="9621" y="6117"/>
                </a:cubicBezTo>
                <a:cubicBezTo>
                  <a:pt x="9617" y="6145"/>
                  <a:pt x="9601" y="6144"/>
                  <a:pt x="9587" y="6149"/>
                </a:cubicBezTo>
                <a:cubicBezTo>
                  <a:pt x="9582" y="6159"/>
                  <a:pt x="9582" y="6180"/>
                  <a:pt x="9577" y="6189"/>
                </a:cubicBezTo>
                <a:cubicBezTo>
                  <a:pt x="9570" y="6199"/>
                  <a:pt x="9548" y="6195"/>
                  <a:pt x="9537" y="6194"/>
                </a:cubicBezTo>
                <a:cubicBezTo>
                  <a:pt x="9536" y="6201"/>
                  <a:pt x="9536" y="6207"/>
                  <a:pt x="9536" y="6213"/>
                </a:cubicBezTo>
                <a:cubicBezTo>
                  <a:pt x="9546" y="6214"/>
                  <a:pt x="9556" y="6214"/>
                  <a:pt x="9566" y="6215"/>
                </a:cubicBezTo>
                <a:cubicBezTo>
                  <a:pt x="9566" y="6216"/>
                  <a:pt x="9566" y="6217"/>
                  <a:pt x="9566" y="6218"/>
                </a:cubicBezTo>
                <a:cubicBezTo>
                  <a:pt x="9561" y="6222"/>
                  <a:pt x="9555" y="6225"/>
                  <a:pt x="9550" y="6228"/>
                </a:cubicBezTo>
                <a:cubicBezTo>
                  <a:pt x="9549" y="6241"/>
                  <a:pt x="9552" y="6249"/>
                  <a:pt x="9554" y="6264"/>
                </a:cubicBezTo>
                <a:cubicBezTo>
                  <a:pt x="9562" y="6262"/>
                  <a:pt x="9569" y="6261"/>
                  <a:pt x="9577" y="6259"/>
                </a:cubicBezTo>
                <a:cubicBezTo>
                  <a:pt x="9581" y="6279"/>
                  <a:pt x="9581" y="6293"/>
                  <a:pt x="9580" y="6318"/>
                </a:cubicBezTo>
                <a:cubicBezTo>
                  <a:pt x="9606" y="6315"/>
                  <a:pt x="9622" y="6298"/>
                  <a:pt x="9639" y="6289"/>
                </a:cubicBezTo>
                <a:cubicBezTo>
                  <a:pt x="9647" y="6288"/>
                  <a:pt x="9654" y="6289"/>
                  <a:pt x="9661" y="6288"/>
                </a:cubicBezTo>
                <a:cubicBezTo>
                  <a:pt x="9678" y="6266"/>
                  <a:pt x="9695" y="6243"/>
                  <a:pt x="9712" y="6221"/>
                </a:cubicBezTo>
                <a:cubicBezTo>
                  <a:pt x="9728" y="6218"/>
                  <a:pt x="9744" y="6216"/>
                  <a:pt x="9760" y="6213"/>
                </a:cubicBezTo>
                <a:cubicBezTo>
                  <a:pt x="9762" y="6208"/>
                  <a:pt x="9764" y="6203"/>
                  <a:pt x="9766" y="6198"/>
                </a:cubicBezTo>
                <a:cubicBezTo>
                  <a:pt x="9776" y="6197"/>
                  <a:pt x="9787" y="6196"/>
                  <a:pt x="9797" y="6194"/>
                </a:cubicBezTo>
                <a:cubicBezTo>
                  <a:pt x="9801" y="6151"/>
                  <a:pt x="9815" y="6132"/>
                  <a:pt x="9819" y="6102"/>
                </a:cubicBezTo>
                <a:cubicBezTo>
                  <a:pt x="9828" y="6052"/>
                  <a:pt x="9805" y="5955"/>
                  <a:pt x="9793" y="5925"/>
                </a:cubicBezTo>
                <a:cubicBezTo>
                  <a:pt x="9821" y="5910"/>
                  <a:pt x="9830" y="5903"/>
                  <a:pt x="9843" y="5862"/>
                </a:cubicBezTo>
                <a:cubicBezTo>
                  <a:pt x="9840" y="5812"/>
                  <a:pt x="9829" y="5772"/>
                  <a:pt x="9821" y="5729"/>
                </a:cubicBezTo>
                <a:cubicBezTo>
                  <a:pt x="9801" y="5702"/>
                  <a:pt x="9759" y="5714"/>
                  <a:pt x="9734" y="5734"/>
                </a:cubicBezTo>
                <a:cubicBezTo>
                  <a:pt x="9720" y="5734"/>
                  <a:pt x="9715" y="5725"/>
                  <a:pt x="9712" y="5704"/>
                </a:cubicBezTo>
                <a:close/>
                <a:moveTo>
                  <a:pt x="9871" y="5704"/>
                </a:moveTo>
                <a:cubicBezTo>
                  <a:pt x="9868" y="5706"/>
                  <a:pt x="9864" y="5708"/>
                  <a:pt x="9860" y="5710"/>
                </a:cubicBezTo>
                <a:cubicBezTo>
                  <a:pt x="9858" y="5730"/>
                  <a:pt x="9858" y="5739"/>
                  <a:pt x="9860" y="5758"/>
                </a:cubicBezTo>
                <a:cubicBezTo>
                  <a:pt x="9862" y="5759"/>
                  <a:pt x="9864" y="5760"/>
                  <a:pt x="9867" y="5761"/>
                </a:cubicBezTo>
                <a:cubicBezTo>
                  <a:pt x="9869" y="5756"/>
                  <a:pt x="9871" y="5750"/>
                  <a:pt x="9874" y="5745"/>
                </a:cubicBezTo>
                <a:cubicBezTo>
                  <a:pt x="9873" y="5731"/>
                  <a:pt x="9872" y="5718"/>
                  <a:pt x="9871" y="5704"/>
                </a:cubicBezTo>
                <a:close/>
                <a:moveTo>
                  <a:pt x="11054" y="5704"/>
                </a:moveTo>
                <a:cubicBezTo>
                  <a:pt x="11048" y="5716"/>
                  <a:pt x="11045" y="5756"/>
                  <a:pt x="11042" y="5771"/>
                </a:cubicBezTo>
                <a:cubicBezTo>
                  <a:pt x="11030" y="5761"/>
                  <a:pt x="11024" y="5751"/>
                  <a:pt x="11020" y="5725"/>
                </a:cubicBezTo>
                <a:cubicBezTo>
                  <a:pt x="11019" y="5724"/>
                  <a:pt x="11017" y="5723"/>
                  <a:pt x="11016" y="5722"/>
                </a:cubicBezTo>
                <a:cubicBezTo>
                  <a:pt x="11000" y="5762"/>
                  <a:pt x="10977" y="5761"/>
                  <a:pt x="11000" y="5830"/>
                </a:cubicBezTo>
                <a:cubicBezTo>
                  <a:pt x="11005" y="5844"/>
                  <a:pt x="11021" y="5839"/>
                  <a:pt x="11032" y="5838"/>
                </a:cubicBezTo>
                <a:cubicBezTo>
                  <a:pt x="11035" y="5850"/>
                  <a:pt x="11038" y="5861"/>
                  <a:pt x="11042" y="5874"/>
                </a:cubicBezTo>
                <a:cubicBezTo>
                  <a:pt x="11054" y="5868"/>
                  <a:pt x="11064" y="5844"/>
                  <a:pt x="11070" y="5828"/>
                </a:cubicBezTo>
                <a:cubicBezTo>
                  <a:pt x="11073" y="5824"/>
                  <a:pt x="11071" y="5828"/>
                  <a:pt x="11073" y="5823"/>
                </a:cubicBezTo>
                <a:cubicBezTo>
                  <a:pt x="11068" y="5818"/>
                  <a:pt x="11063" y="5813"/>
                  <a:pt x="11058" y="5807"/>
                </a:cubicBezTo>
                <a:cubicBezTo>
                  <a:pt x="11058" y="5806"/>
                  <a:pt x="11057" y="5803"/>
                  <a:pt x="11057" y="5801"/>
                </a:cubicBezTo>
                <a:cubicBezTo>
                  <a:pt x="11072" y="5780"/>
                  <a:pt x="11077" y="5753"/>
                  <a:pt x="11073" y="5707"/>
                </a:cubicBezTo>
                <a:cubicBezTo>
                  <a:pt x="11066" y="5706"/>
                  <a:pt x="11061" y="5705"/>
                  <a:pt x="11054" y="5704"/>
                </a:cubicBezTo>
                <a:close/>
                <a:moveTo>
                  <a:pt x="19299" y="6003"/>
                </a:moveTo>
                <a:cubicBezTo>
                  <a:pt x="19282" y="6037"/>
                  <a:pt x="19249" y="6037"/>
                  <a:pt x="19239" y="6062"/>
                </a:cubicBezTo>
                <a:cubicBezTo>
                  <a:pt x="19260" y="6142"/>
                  <a:pt x="19227" y="6175"/>
                  <a:pt x="19234" y="6253"/>
                </a:cubicBezTo>
                <a:cubicBezTo>
                  <a:pt x="19239" y="6299"/>
                  <a:pt x="19256" y="6315"/>
                  <a:pt x="19263" y="6355"/>
                </a:cubicBezTo>
                <a:cubicBezTo>
                  <a:pt x="19276" y="6430"/>
                  <a:pt x="19267" y="6710"/>
                  <a:pt x="19243" y="6744"/>
                </a:cubicBezTo>
                <a:cubicBezTo>
                  <a:pt x="19246" y="6780"/>
                  <a:pt x="19269" y="6833"/>
                  <a:pt x="19262" y="6875"/>
                </a:cubicBezTo>
                <a:cubicBezTo>
                  <a:pt x="19259" y="6897"/>
                  <a:pt x="19245" y="6910"/>
                  <a:pt x="19243" y="6937"/>
                </a:cubicBezTo>
                <a:cubicBezTo>
                  <a:pt x="19246" y="6961"/>
                  <a:pt x="19250" y="6983"/>
                  <a:pt x="19254" y="7007"/>
                </a:cubicBezTo>
                <a:cubicBezTo>
                  <a:pt x="19247" y="7031"/>
                  <a:pt x="19241" y="7055"/>
                  <a:pt x="19234" y="7078"/>
                </a:cubicBezTo>
                <a:cubicBezTo>
                  <a:pt x="19231" y="7112"/>
                  <a:pt x="19245" y="7152"/>
                  <a:pt x="19250" y="7173"/>
                </a:cubicBezTo>
                <a:cubicBezTo>
                  <a:pt x="19251" y="7174"/>
                  <a:pt x="19251" y="7175"/>
                  <a:pt x="19252" y="7176"/>
                </a:cubicBezTo>
                <a:cubicBezTo>
                  <a:pt x="19269" y="7135"/>
                  <a:pt x="19274" y="7093"/>
                  <a:pt x="19295" y="7060"/>
                </a:cubicBezTo>
                <a:cubicBezTo>
                  <a:pt x="19323" y="7067"/>
                  <a:pt x="19336" y="7113"/>
                  <a:pt x="19341" y="7160"/>
                </a:cubicBezTo>
                <a:cubicBezTo>
                  <a:pt x="19341" y="7160"/>
                  <a:pt x="19342" y="7160"/>
                  <a:pt x="19342" y="7160"/>
                </a:cubicBezTo>
                <a:cubicBezTo>
                  <a:pt x="19369" y="7055"/>
                  <a:pt x="19314" y="7020"/>
                  <a:pt x="19298" y="6947"/>
                </a:cubicBezTo>
                <a:cubicBezTo>
                  <a:pt x="19279" y="6860"/>
                  <a:pt x="19306" y="6769"/>
                  <a:pt x="19313" y="6695"/>
                </a:cubicBezTo>
                <a:cubicBezTo>
                  <a:pt x="19356" y="6651"/>
                  <a:pt x="19390" y="6720"/>
                  <a:pt x="19422" y="6752"/>
                </a:cubicBezTo>
                <a:cubicBezTo>
                  <a:pt x="19410" y="6713"/>
                  <a:pt x="19400" y="6675"/>
                  <a:pt x="19388" y="6636"/>
                </a:cubicBezTo>
                <a:cubicBezTo>
                  <a:pt x="19375" y="6567"/>
                  <a:pt x="19360" y="6497"/>
                  <a:pt x="19346" y="6427"/>
                </a:cubicBezTo>
                <a:cubicBezTo>
                  <a:pt x="19338" y="6391"/>
                  <a:pt x="19325" y="6360"/>
                  <a:pt x="19320" y="6317"/>
                </a:cubicBezTo>
                <a:cubicBezTo>
                  <a:pt x="19306" y="6204"/>
                  <a:pt x="19350" y="6160"/>
                  <a:pt x="19318" y="6048"/>
                </a:cubicBezTo>
                <a:cubicBezTo>
                  <a:pt x="19313" y="6031"/>
                  <a:pt x="19309" y="6011"/>
                  <a:pt x="19299" y="6003"/>
                </a:cubicBezTo>
                <a:close/>
                <a:moveTo>
                  <a:pt x="2102" y="6290"/>
                </a:moveTo>
                <a:cubicBezTo>
                  <a:pt x="2095" y="6333"/>
                  <a:pt x="2121" y="6419"/>
                  <a:pt x="2134" y="6450"/>
                </a:cubicBezTo>
                <a:cubicBezTo>
                  <a:pt x="2134" y="6452"/>
                  <a:pt x="2134" y="6453"/>
                  <a:pt x="2134" y="6455"/>
                </a:cubicBezTo>
                <a:cubicBezTo>
                  <a:pt x="2134" y="6455"/>
                  <a:pt x="2134" y="6455"/>
                  <a:pt x="2135" y="6455"/>
                </a:cubicBezTo>
                <a:cubicBezTo>
                  <a:pt x="2148" y="6372"/>
                  <a:pt x="2139" y="6387"/>
                  <a:pt x="2130" y="6306"/>
                </a:cubicBezTo>
                <a:cubicBezTo>
                  <a:pt x="2121" y="6301"/>
                  <a:pt x="2112" y="6295"/>
                  <a:pt x="2102" y="6290"/>
                </a:cubicBezTo>
                <a:close/>
                <a:moveTo>
                  <a:pt x="2263" y="6890"/>
                </a:moveTo>
                <a:cubicBezTo>
                  <a:pt x="2257" y="6953"/>
                  <a:pt x="2280" y="6978"/>
                  <a:pt x="2294" y="7012"/>
                </a:cubicBezTo>
                <a:cubicBezTo>
                  <a:pt x="2305" y="7007"/>
                  <a:pt x="2311" y="6998"/>
                  <a:pt x="2326" y="6997"/>
                </a:cubicBezTo>
                <a:cubicBezTo>
                  <a:pt x="2330" y="6962"/>
                  <a:pt x="2333" y="6938"/>
                  <a:pt x="2340" y="6914"/>
                </a:cubicBezTo>
                <a:cubicBezTo>
                  <a:pt x="2326" y="6889"/>
                  <a:pt x="2286" y="6891"/>
                  <a:pt x="2263" y="6890"/>
                </a:cubicBezTo>
                <a:close/>
                <a:moveTo>
                  <a:pt x="13546" y="6902"/>
                </a:moveTo>
                <a:cubicBezTo>
                  <a:pt x="13567" y="6905"/>
                  <a:pt x="13575" y="6934"/>
                  <a:pt x="13591" y="6940"/>
                </a:cubicBezTo>
                <a:cubicBezTo>
                  <a:pt x="13608" y="6947"/>
                  <a:pt x="13614" y="6926"/>
                  <a:pt x="13622" y="6921"/>
                </a:cubicBezTo>
                <a:cubicBezTo>
                  <a:pt x="13634" y="6926"/>
                  <a:pt x="13645" y="6925"/>
                  <a:pt x="13657" y="6931"/>
                </a:cubicBezTo>
                <a:cubicBezTo>
                  <a:pt x="13661" y="6941"/>
                  <a:pt x="13664" y="6958"/>
                  <a:pt x="13667" y="6968"/>
                </a:cubicBezTo>
                <a:cubicBezTo>
                  <a:pt x="13663" y="6974"/>
                  <a:pt x="13661" y="6980"/>
                  <a:pt x="13657" y="6987"/>
                </a:cubicBezTo>
                <a:cubicBezTo>
                  <a:pt x="13668" y="7053"/>
                  <a:pt x="13657" y="7068"/>
                  <a:pt x="13637" y="7118"/>
                </a:cubicBezTo>
                <a:cubicBezTo>
                  <a:pt x="13638" y="7142"/>
                  <a:pt x="13653" y="7150"/>
                  <a:pt x="13663" y="7155"/>
                </a:cubicBezTo>
                <a:cubicBezTo>
                  <a:pt x="13663" y="7157"/>
                  <a:pt x="13667" y="7163"/>
                  <a:pt x="13667" y="7165"/>
                </a:cubicBezTo>
                <a:cubicBezTo>
                  <a:pt x="13637" y="7160"/>
                  <a:pt x="13606" y="7151"/>
                  <a:pt x="13576" y="7146"/>
                </a:cubicBezTo>
                <a:cubicBezTo>
                  <a:pt x="13568" y="7148"/>
                  <a:pt x="13563" y="7156"/>
                  <a:pt x="13551" y="7155"/>
                </a:cubicBezTo>
                <a:cubicBezTo>
                  <a:pt x="13548" y="7169"/>
                  <a:pt x="13549" y="7188"/>
                  <a:pt x="13546" y="7202"/>
                </a:cubicBezTo>
                <a:cubicBezTo>
                  <a:pt x="13539" y="7216"/>
                  <a:pt x="13530" y="7207"/>
                  <a:pt x="13526" y="7230"/>
                </a:cubicBezTo>
                <a:cubicBezTo>
                  <a:pt x="13532" y="7245"/>
                  <a:pt x="13540" y="7252"/>
                  <a:pt x="13551" y="7258"/>
                </a:cubicBezTo>
                <a:cubicBezTo>
                  <a:pt x="13552" y="7262"/>
                  <a:pt x="13555" y="7273"/>
                  <a:pt x="13556" y="7276"/>
                </a:cubicBezTo>
                <a:cubicBezTo>
                  <a:pt x="13543" y="7295"/>
                  <a:pt x="13512" y="7264"/>
                  <a:pt x="13486" y="7267"/>
                </a:cubicBezTo>
                <a:cubicBezTo>
                  <a:pt x="13484" y="7269"/>
                  <a:pt x="13482" y="7274"/>
                  <a:pt x="13480" y="7276"/>
                </a:cubicBezTo>
                <a:cubicBezTo>
                  <a:pt x="13480" y="7288"/>
                  <a:pt x="13480" y="7294"/>
                  <a:pt x="13480" y="7305"/>
                </a:cubicBezTo>
                <a:cubicBezTo>
                  <a:pt x="13489" y="7316"/>
                  <a:pt x="13510" y="7320"/>
                  <a:pt x="13521" y="7323"/>
                </a:cubicBezTo>
                <a:cubicBezTo>
                  <a:pt x="13527" y="7386"/>
                  <a:pt x="13547" y="7406"/>
                  <a:pt x="13546" y="7473"/>
                </a:cubicBezTo>
                <a:cubicBezTo>
                  <a:pt x="13552" y="7473"/>
                  <a:pt x="13559" y="7473"/>
                  <a:pt x="13566" y="7473"/>
                </a:cubicBezTo>
                <a:cubicBezTo>
                  <a:pt x="13574" y="7484"/>
                  <a:pt x="13582" y="7501"/>
                  <a:pt x="13586" y="7519"/>
                </a:cubicBezTo>
                <a:cubicBezTo>
                  <a:pt x="13606" y="7524"/>
                  <a:pt x="13622" y="7518"/>
                  <a:pt x="13637" y="7548"/>
                </a:cubicBezTo>
                <a:cubicBezTo>
                  <a:pt x="13629" y="7574"/>
                  <a:pt x="13622" y="7609"/>
                  <a:pt x="13617" y="7633"/>
                </a:cubicBezTo>
                <a:cubicBezTo>
                  <a:pt x="13622" y="7649"/>
                  <a:pt x="13617" y="7661"/>
                  <a:pt x="13622" y="7679"/>
                </a:cubicBezTo>
                <a:cubicBezTo>
                  <a:pt x="13624" y="7681"/>
                  <a:pt x="13629" y="7686"/>
                  <a:pt x="13632" y="7688"/>
                </a:cubicBezTo>
                <a:cubicBezTo>
                  <a:pt x="13632" y="7696"/>
                  <a:pt x="13627" y="7699"/>
                  <a:pt x="13627" y="7707"/>
                </a:cubicBezTo>
                <a:cubicBezTo>
                  <a:pt x="13630" y="7718"/>
                  <a:pt x="13642" y="7740"/>
                  <a:pt x="13647" y="7755"/>
                </a:cubicBezTo>
                <a:cubicBezTo>
                  <a:pt x="13651" y="7723"/>
                  <a:pt x="13648" y="7671"/>
                  <a:pt x="13652" y="7642"/>
                </a:cubicBezTo>
                <a:cubicBezTo>
                  <a:pt x="13671" y="7635"/>
                  <a:pt x="13691" y="7621"/>
                  <a:pt x="13712" y="7624"/>
                </a:cubicBezTo>
                <a:cubicBezTo>
                  <a:pt x="13716" y="7647"/>
                  <a:pt x="13717" y="7699"/>
                  <a:pt x="13723" y="7716"/>
                </a:cubicBezTo>
                <a:cubicBezTo>
                  <a:pt x="13733" y="7745"/>
                  <a:pt x="13757" y="7741"/>
                  <a:pt x="13768" y="7782"/>
                </a:cubicBezTo>
                <a:cubicBezTo>
                  <a:pt x="13765" y="7795"/>
                  <a:pt x="13759" y="7805"/>
                  <a:pt x="13753" y="7811"/>
                </a:cubicBezTo>
                <a:cubicBezTo>
                  <a:pt x="13744" y="7807"/>
                  <a:pt x="13742" y="7795"/>
                  <a:pt x="13733" y="7792"/>
                </a:cubicBezTo>
                <a:cubicBezTo>
                  <a:pt x="13735" y="7802"/>
                  <a:pt x="13741" y="7818"/>
                  <a:pt x="13743" y="7829"/>
                </a:cubicBezTo>
                <a:cubicBezTo>
                  <a:pt x="13737" y="7834"/>
                  <a:pt x="13737" y="7818"/>
                  <a:pt x="13728" y="7821"/>
                </a:cubicBezTo>
                <a:cubicBezTo>
                  <a:pt x="13721" y="7825"/>
                  <a:pt x="13710" y="7825"/>
                  <a:pt x="13703" y="7829"/>
                </a:cubicBezTo>
                <a:cubicBezTo>
                  <a:pt x="13702" y="7820"/>
                  <a:pt x="13698" y="7811"/>
                  <a:pt x="13698" y="7801"/>
                </a:cubicBezTo>
                <a:cubicBezTo>
                  <a:pt x="13695" y="7800"/>
                  <a:pt x="13695" y="7803"/>
                  <a:pt x="13692" y="7801"/>
                </a:cubicBezTo>
                <a:cubicBezTo>
                  <a:pt x="13691" y="7808"/>
                  <a:pt x="13688" y="7814"/>
                  <a:pt x="13687" y="7821"/>
                </a:cubicBezTo>
                <a:cubicBezTo>
                  <a:pt x="13677" y="7816"/>
                  <a:pt x="13679" y="7808"/>
                  <a:pt x="13667" y="7811"/>
                </a:cubicBezTo>
                <a:cubicBezTo>
                  <a:pt x="13663" y="7798"/>
                  <a:pt x="13656" y="7786"/>
                  <a:pt x="13652" y="7773"/>
                </a:cubicBezTo>
                <a:cubicBezTo>
                  <a:pt x="13638" y="7803"/>
                  <a:pt x="13635" y="7883"/>
                  <a:pt x="13642" y="7923"/>
                </a:cubicBezTo>
                <a:cubicBezTo>
                  <a:pt x="13651" y="7931"/>
                  <a:pt x="13674" y="7923"/>
                  <a:pt x="13692" y="7923"/>
                </a:cubicBezTo>
                <a:cubicBezTo>
                  <a:pt x="13689" y="7930"/>
                  <a:pt x="13685" y="7944"/>
                  <a:pt x="13682" y="7952"/>
                </a:cubicBezTo>
                <a:cubicBezTo>
                  <a:pt x="13683" y="7957"/>
                  <a:pt x="13681" y="7955"/>
                  <a:pt x="13682" y="7960"/>
                </a:cubicBezTo>
                <a:cubicBezTo>
                  <a:pt x="13685" y="7969"/>
                  <a:pt x="13692" y="7976"/>
                  <a:pt x="13698" y="7979"/>
                </a:cubicBezTo>
                <a:cubicBezTo>
                  <a:pt x="13698" y="7982"/>
                  <a:pt x="13698" y="7986"/>
                  <a:pt x="13698" y="7989"/>
                </a:cubicBezTo>
                <a:cubicBezTo>
                  <a:pt x="13688" y="7987"/>
                  <a:pt x="13681" y="7991"/>
                  <a:pt x="13672" y="7989"/>
                </a:cubicBezTo>
                <a:cubicBezTo>
                  <a:pt x="13669" y="7995"/>
                  <a:pt x="13665" y="7991"/>
                  <a:pt x="13663" y="7997"/>
                </a:cubicBezTo>
                <a:cubicBezTo>
                  <a:pt x="13663" y="8003"/>
                  <a:pt x="13663" y="8010"/>
                  <a:pt x="13663" y="8016"/>
                </a:cubicBezTo>
                <a:cubicBezTo>
                  <a:pt x="13672" y="8005"/>
                  <a:pt x="13679" y="8012"/>
                  <a:pt x="13692" y="8016"/>
                </a:cubicBezTo>
                <a:cubicBezTo>
                  <a:pt x="13698" y="8044"/>
                  <a:pt x="13711" y="8050"/>
                  <a:pt x="13718" y="8073"/>
                </a:cubicBezTo>
                <a:cubicBezTo>
                  <a:pt x="13721" y="8095"/>
                  <a:pt x="13707" y="8122"/>
                  <a:pt x="13707" y="8157"/>
                </a:cubicBezTo>
                <a:cubicBezTo>
                  <a:pt x="13707" y="8173"/>
                  <a:pt x="13702" y="8186"/>
                  <a:pt x="13703" y="8194"/>
                </a:cubicBezTo>
                <a:cubicBezTo>
                  <a:pt x="13707" y="8235"/>
                  <a:pt x="13726" y="8336"/>
                  <a:pt x="13707" y="8362"/>
                </a:cubicBezTo>
                <a:cubicBezTo>
                  <a:pt x="13694" y="8381"/>
                  <a:pt x="13666" y="8373"/>
                  <a:pt x="13647" y="8382"/>
                </a:cubicBezTo>
                <a:cubicBezTo>
                  <a:pt x="13579" y="8410"/>
                  <a:pt x="13485" y="8427"/>
                  <a:pt x="13460" y="8307"/>
                </a:cubicBezTo>
                <a:cubicBezTo>
                  <a:pt x="13434" y="8294"/>
                  <a:pt x="13406" y="8283"/>
                  <a:pt x="13385" y="8270"/>
                </a:cubicBezTo>
                <a:cubicBezTo>
                  <a:pt x="13373" y="8190"/>
                  <a:pt x="13400" y="8112"/>
                  <a:pt x="13399" y="8044"/>
                </a:cubicBezTo>
                <a:cubicBezTo>
                  <a:pt x="13401" y="8047"/>
                  <a:pt x="13403" y="8047"/>
                  <a:pt x="13404" y="8054"/>
                </a:cubicBezTo>
                <a:cubicBezTo>
                  <a:pt x="13405" y="8055"/>
                  <a:pt x="13408" y="8061"/>
                  <a:pt x="13409" y="8063"/>
                </a:cubicBezTo>
                <a:cubicBezTo>
                  <a:pt x="13411" y="8051"/>
                  <a:pt x="13413" y="8037"/>
                  <a:pt x="13414" y="8025"/>
                </a:cubicBezTo>
                <a:cubicBezTo>
                  <a:pt x="13419" y="8021"/>
                  <a:pt x="13420" y="8014"/>
                  <a:pt x="13425" y="8016"/>
                </a:cubicBezTo>
                <a:cubicBezTo>
                  <a:pt x="13422" y="7948"/>
                  <a:pt x="13427" y="7840"/>
                  <a:pt x="13486" y="7885"/>
                </a:cubicBezTo>
                <a:cubicBezTo>
                  <a:pt x="13487" y="7881"/>
                  <a:pt x="13486" y="7870"/>
                  <a:pt x="13486" y="7866"/>
                </a:cubicBezTo>
                <a:cubicBezTo>
                  <a:pt x="13474" y="7815"/>
                  <a:pt x="13446" y="7858"/>
                  <a:pt x="13434" y="7829"/>
                </a:cubicBezTo>
                <a:cubicBezTo>
                  <a:pt x="13428" y="7812"/>
                  <a:pt x="13419" y="7790"/>
                  <a:pt x="13414" y="7773"/>
                </a:cubicBezTo>
                <a:cubicBezTo>
                  <a:pt x="13409" y="7753"/>
                  <a:pt x="13410" y="7741"/>
                  <a:pt x="13404" y="7726"/>
                </a:cubicBezTo>
                <a:cubicBezTo>
                  <a:pt x="13395" y="7704"/>
                  <a:pt x="13380" y="7668"/>
                  <a:pt x="13369" y="7651"/>
                </a:cubicBezTo>
                <a:cubicBezTo>
                  <a:pt x="13365" y="7649"/>
                  <a:pt x="13363" y="7644"/>
                  <a:pt x="13359" y="7642"/>
                </a:cubicBezTo>
                <a:cubicBezTo>
                  <a:pt x="13348" y="7613"/>
                  <a:pt x="13343" y="7570"/>
                  <a:pt x="13329" y="7548"/>
                </a:cubicBezTo>
                <a:cubicBezTo>
                  <a:pt x="13325" y="7546"/>
                  <a:pt x="13322" y="7550"/>
                  <a:pt x="13318" y="7548"/>
                </a:cubicBezTo>
                <a:cubicBezTo>
                  <a:pt x="13312" y="7529"/>
                  <a:pt x="13320" y="7514"/>
                  <a:pt x="13309" y="7502"/>
                </a:cubicBezTo>
                <a:cubicBezTo>
                  <a:pt x="13296" y="7470"/>
                  <a:pt x="13306" y="7418"/>
                  <a:pt x="13314" y="7380"/>
                </a:cubicBezTo>
                <a:cubicBezTo>
                  <a:pt x="13314" y="7377"/>
                  <a:pt x="13314" y="7373"/>
                  <a:pt x="13314" y="7370"/>
                </a:cubicBezTo>
                <a:cubicBezTo>
                  <a:pt x="13312" y="7370"/>
                  <a:pt x="13306" y="7370"/>
                  <a:pt x="13304" y="7370"/>
                </a:cubicBezTo>
                <a:cubicBezTo>
                  <a:pt x="13301" y="7386"/>
                  <a:pt x="13301" y="7401"/>
                  <a:pt x="13298" y="7417"/>
                </a:cubicBezTo>
                <a:cubicBezTo>
                  <a:pt x="13297" y="7371"/>
                  <a:pt x="13295" y="7329"/>
                  <a:pt x="13273" y="7305"/>
                </a:cubicBezTo>
                <a:cubicBezTo>
                  <a:pt x="13266" y="7298"/>
                  <a:pt x="13256" y="7300"/>
                  <a:pt x="13253" y="7286"/>
                </a:cubicBezTo>
                <a:cubicBezTo>
                  <a:pt x="13253" y="7282"/>
                  <a:pt x="13253" y="7271"/>
                  <a:pt x="13253" y="7267"/>
                </a:cubicBezTo>
                <a:cubicBezTo>
                  <a:pt x="13254" y="7237"/>
                  <a:pt x="13271" y="7239"/>
                  <a:pt x="13278" y="7220"/>
                </a:cubicBezTo>
                <a:cubicBezTo>
                  <a:pt x="13292" y="7183"/>
                  <a:pt x="13297" y="7135"/>
                  <a:pt x="13304" y="7099"/>
                </a:cubicBezTo>
                <a:cubicBezTo>
                  <a:pt x="13304" y="7096"/>
                  <a:pt x="13308" y="7101"/>
                  <a:pt x="13309" y="7099"/>
                </a:cubicBezTo>
                <a:cubicBezTo>
                  <a:pt x="13331" y="7119"/>
                  <a:pt x="13352" y="7080"/>
                  <a:pt x="13369" y="7061"/>
                </a:cubicBezTo>
                <a:cubicBezTo>
                  <a:pt x="13372" y="7065"/>
                  <a:pt x="13376" y="7068"/>
                  <a:pt x="13379" y="7071"/>
                </a:cubicBezTo>
                <a:cubicBezTo>
                  <a:pt x="13383" y="7063"/>
                  <a:pt x="13385" y="7059"/>
                  <a:pt x="13385" y="7042"/>
                </a:cubicBezTo>
                <a:cubicBezTo>
                  <a:pt x="13407" y="7033"/>
                  <a:pt x="13412" y="7000"/>
                  <a:pt x="13430" y="6987"/>
                </a:cubicBezTo>
                <a:cubicBezTo>
                  <a:pt x="13439" y="6986"/>
                  <a:pt x="13447" y="6988"/>
                  <a:pt x="13455" y="6987"/>
                </a:cubicBezTo>
                <a:cubicBezTo>
                  <a:pt x="13483" y="6971"/>
                  <a:pt x="13509" y="6896"/>
                  <a:pt x="13546" y="6902"/>
                </a:cubicBezTo>
                <a:close/>
                <a:moveTo>
                  <a:pt x="12637" y="6940"/>
                </a:moveTo>
                <a:cubicBezTo>
                  <a:pt x="12639" y="6949"/>
                  <a:pt x="12645" y="6959"/>
                  <a:pt x="12647" y="6968"/>
                </a:cubicBezTo>
                <a:cubicBezTo>
                  <a:pt x="12637" y="6982"/>
                  <a:pt x="12624" y="6996"/>
                  <a:pt x="12609" y="7007"/>
                </a:cubicBezTo>
                <a:cubicBezTo>
                  <a:pt x="12595" y="7018"/>
                  <a:pt x="12579" y="7027"/>
                  <a:pt x="12562" y="7028"/>
                </a:cubicBezTo>
                <a:cubicBezTo>
                  <a:pt x="12562" y="7029"/>
                  <a:pt x="12561" y="7030"/>
                  <a:pt x="12561" y="7030"/>
                </a:cubicBezTo>
                <a:cubicBezTo>
                  <a:pt x="12559" y="7031"/>
                  <a:pt x="12557" y="7033"/>
                  <a:pt x="12556" y="7033"/>
                </a:cubicBezTo>
                <a:cubicBezTo>
                  <a:pt x="12554" y="7037"/>
                  <a:pt x="12552" y="7038"/>
                  <a:pt x="12550" y="7042"/>
                </a:cubicBezTo>
                <a:cubicBezTo>
                  <a:pt x="12566" y="7063"/>
                  <a:pt x="12579" y="7085"/>
                  <a:pt x="12589" y="7114"/>
                </a:cubicBezTo>
                <a:cubicBezTo>
                  <a:pt x="12583" y="7118"/>
                  <a:pt x="12577" y="7121"/>
                  <a:pt x="12567" y="7120"/>
                </a:cubicBezTo>
                <a:cubicBezTo>
                  <a:pt x="12567" y="7122"/>
                  <a:pt x="12566" y="7124"/>
                  <a:pt x="12566" y="7126"/>
                </a:cubicBezTo>
                <a:cubicBezTo>
                  <a:pt x="12564" y="7126"/>
                  <a:pt x="12563" y="7128"/>
                  <a:pt x="12561" y="7128"/>
                </a:cubicBezTo>
                <a:cubicBezTo>
                  <a:pt x="12560" y="7134"/>
                  <a:pt x="12559" y="7141"/>
                  <a:pt x="12557" y="7147"/>
                </a:cubicBezTo>
                <a:cubicBezTo>
                  <a:pt x="12555" y="7145"/>
                  <a:pt x="12552" y="7143"/>
                  <a:pt x="12551" y="7144"/>
                </a:cubicBezTo>
                <a:cubicBezTo>
                  <a:pt x="12548" y="7145"/>
                  <a:pt x="12545" y="7147"/>
                  <a:pt x="12541" y="7148"/>
                </a:cubicBezTo>
                <a:cubicBezTo>
                  <a:pt x="12543" y="7161"/>
                  <a:pt x="12544" y="7173"/>
                  <a:pt x="12546" y="7186"/>
                </a:cubicBezTo>
                <a:cubicBezTo>
                  <a:pt x="12546" y="7187"/>
                  <a:pt x="12547" y="7188"/>
                  <a:pt x="12547" y="7189"/>
                </a:cubicBezTo>
                <a:cubicBezTo>
                  <a:pt x="12545" y="7198"/>
                  <a:pt x="12542" y="7206"/>
                  <a:pt x="12541" y="7218"/>
                </a:cubicBezTo>
                <a:cubicBezTo>
                  <a:pt x="12530" y="7225"/>
                  <a:pt x="12513" y="7229"/>
                  <a:pt x="12502" y="7233"/>
                </a:cubicBezTo>
                <a:cubicBezTo>
                  <a:pt x="12502" y="7234"/>
                  <a:pt x="12503" y="7235"/>
                  <a:pt x="12503" y="7236"/>
                </a:cubicBezTo>
                <a:cubicBezTo>
                  <a:pt x="12501" y="7236"/>
                  <a:pt x="12497" y="7238"/>
                  <a:pt x="12495" y="7239"/>
                </a:cubicBezTo>
                <a:cubicBezTo>
                  <a:pt x="12503" y="7259"/>
                  <a:pt x="12514" y="7286"/>
                  <a:pt x="12525" y="7308"/>
                </a:cubicBezTo>
                <a:cubicBezTo>
                  <a:pt x="12501" y="7337"/>
                  <a:pt x="12453" y="7334"/>
                  <a:pt x="12430" y="7319"/>
                </a:cubicBezTo>
                <a:cubicBezTo>
                  <a:pt x="12429" y="7319"/>
                  <a:pt x="12428" y="7321"/>
                  <a:pt x="12427" y="7322"/>
                </a:cubicBezTo>
                <a:cubicBezTo>
                  <a:pt x="12432" y="7333"/>
                  <a:pt x="12436" y="7344"/>
                  <a:pt x="12440" y="7355"/>
                </a:cubicBezTo>
                <a:cubicBezTo>
                  <a:pt x="12441" y="7363"/>
                  <a:pt x="12442" y="7370"/>
                  <a:pt x="12442" y="7379"/>
                </a:cubicBezTo>
                <a:cubicBezTo>
                  <a:pt x="12460" y="7369"/>
                  <a:pt x="12481" y="7370"/>
                  <a:pt x="12501" y="7382"/>
                </a:cubicBezTo>
                <a:cubicBezTo>
                  <a:pt x="12506" y="7400"/>
                  <a:pt x="12511" y="7402"/>
                  <a:pt x="12518" y="7403"/>
                </a:cubicBezTo>
                <a:cubicBezTo>
                  <a:pt x="12529" y="7448"/>
                  <a:pt x="12539" y="7488"/>
                  <a:pt x="12567" y="7425"/>
                </a:cubicBezTo>
                <a:cubicBezTo>
                  <a:pt x="12605" y="7467"/>
                  <a:pt x="12611" y="7486"/>
                  <a:pt x="12641" y="7537"/>
                </a:cubicBezTo>
                <a:cubicBezTo>
                  <a:pt x="12642" y="7531"/>
                  <a:pt x="12643" y="7525"/>
                  <a:pt x="12644" y="7519"/>
                </a:cubicBezTo>
                <a:cubicBezTo>
                  <a:pt x="12661" y="7536"/>
                  <a:pt x="12677" y="7553"/>
                  <a:pt x="12693" y="7570"/>
                </a:cubicBezTo>
                <a:cubicBezTo>
                  <a:pt x="12702" y="7579"/>
                  <a:pt x="12700" y="7594"/>
                  <a:pt x="12705" y="7603"/>
                </a:cubicBezTo>
                <a:cubicBezTo>
                  <a:pt x="12714" y="7610"/>
                  <a:pt x="12723" y="7616"/>
                  <a:pt x="12731" y="7624"/>
                </a:cubicBezTo>
                <a:cubicBezTo>
                  <a:pt x="12741" y="7641"/>
                  <a:pt x="12751" y="7660"/>
                  <a:pt x="12760" y="7678"/>
                </a:cubicBezTo>
                <a:cubicBezTo>
                  <a:pt x="12770" y="7687"/>
                  <a:pt x="12779" y="7689"/>
                  <a:pt x="12789" y="7694"/>
                </a:cubicBezTo>
                <a:cubicBezTo>
                  <a:pt x="12800" y="7798"/>
                  <a:pt x="12766" y="7835"/>
                  <a:pt x="12718" y="7857"/>
                </a:cubicBezTo>
                <a:cubicBezTo>
                  <a:pt x="12689" y="7870"/>
                  <a:pt x="12672" y="7839"/>
                  <a:pt x="12647" y="7847"/>
                </a:cubicBezTo>
                <a:cubicBezTo>
                  <a:pt x="12635" y="7854"/>
                  <a:pt x="12624" y="7859"/>
                  <a:pt x="12612" y="7866"/>
                </a:cubicBezTo>
                <a:cubicBezTo>
                  <a:pt x="12591" y="7875"/>
                  <a:pt x="12554" y="7854"/>
                  <a:pt x="12531" y="7847"/>
                </a:cubicBezTo>
                <a:cubicBezTo>
                  <a:pt x="12504" y="7839"/>
                  <a:pt x="12496" y="7799"/>
                  <a:pt x="12465" y="7821"/>
                </a:cubicBezTo>
                <a:cubicBezTo>
                  <a:pt x="12448" y="7806"/>
                  <a:pt x="12450" y="7793"/>
                  <a:pt x="12440" y="7764"/>
                </a:cubicBezTo>
                <a:cubicBezTo>
                  <a:pt x="12434" y="7756"/>
                  <a:pt x="12415" y="7771"/>
                  <a:pt x="12399" y="7764"/>
                </a:cubicBezTo>
                <a:cubicBezTo>
                  <a:pt x="12382" y="7756"/>
                  <a:pt x="12384" y="7730"/>
                  <a:pt x="12374" y="7707"/>
                </a:cubicBezTo>
                <a:cubicBezTo>
                  <a:pt x="12336" y="7751"/>
                  <a:pt x="12306" y="7695"/>
                  <a:pt x="12258" y="7716"/>
                </a:cubicBezTo>
                <a:cubicBezTo>
                  <a:pt x="12215" y="7735"/>
                  <a:pt x="12185" y="7788"/>
                  <a:pt x="12147" y="7811"/>
                </a:cubicBezTo>
                <a:cubicBezTo>
                  <a:pt x="12147" y="7818"/>
                  <a:pt x="12146" y="7822"/>
                  <a:pt x="12147" y="7829"/>
                </a:cubicBezTo>
                <a:cubicBezTo>
                  <a:pt x="12116" y="7859"/>
                  <a:pt x="12101" y="7837"/>
                  <a:pt x="12076" y="7829"/>
                </a:cubicBezTo>
                <a:cubicBezTo>
                  <a:pt x="12072" y="7832"/>
                  <a:pt x="12070" y="7835"/>
                  <a:pt x="12066" y="7837"/>
                </a:cubicBezTo>
                <a:cubicBezTo>
                  <a:pt x="12046" y="7834"/>
                  <a:pt x="12026" y="7833"/>
                  <a:pt x="12005" y="7829"/>
                </a:cubicBezTo>
                <a:cubicBezTo>
                  <a:pt x="12003" y="7839"/>
                  <a:pt x="11998" y="7846"/>
                  <a:pt x="11996" y="7857"/>
                </a:cubicBezTo>
                <a:cubicBezTo>
                  <a:pt x="12002" y="7869"/>
                  <a:pt x="12008" y="7876"/>
                  <a:pt x="12011" y="7895"/>
                </a:cubicBezTo>
                <a:cubicBezTo>
                  <a:pt x="12001" y="7897"/>
                  <a:pt x="11994" y="7903"/>
                  <a:pt x="11985" y="7903"/>
                </a:cubicBezTo>
                <a:cubicBezTo>
                  <a:pt x="11982" y="7913"/>
                  <a:pt x="11980" y="7912"/>
                  <a:pt x="11980" y="7923"/>
                </a:cubicBezTo>
                <a:cubicBezTo>
                  <a:pt x="11986" y="7925"/>
                  <a:pt x="11990" y="7930"/>
                  <a:pt x="11996" y="7932"/>
                </a:cubicBezTo>
                <a:cubicBezTo>
                  <a:pt x="11997" y="7934"/>
                  <a:pt x="11999" y="7940"/>
                  <a:pt x="12000" y="7942"/>
                </a:cubicBezTo>
                <a:cubicBezTo>
                  <a:pt x="11999" y="7945"/>
                  <a:pt x="11997" y="7948"/>
                  <a:pt x="11996" y="7952"/>
                </a:cubicBezTo>
                <a:cubicBezTo>
                  <a:pt x="11971" y="7944"/>
                  <a:pt x="11952" y="7939"/>
                  <a:pt x="11925" y="7942"/>
                </a:cubicBezTo>
                <a:cubicBezTo>
                  <a:pt x="11927" y="7937"/>
                  <a:pt x="11927" y="7937"/>
                  <a:pt x="11930" y="7932"/>
                </a:cubicBezTo>
                <a:cubicBezTo>
                  <a:pt x="11922" y="7926"/>
                  <a:pt x="11917" y="7929"/>
                  <a:pt x="11909" y="7932"/>
                </a:cubicBezTo>
                <a:cubicBezTo>
                  <a:pt x="11912" y="7935"/>
                  <a:pt x="11917" y="7939"/>
                  <a:pt x="11920" y="7942"/>
                </a:cubicBezTo>
                <a:cubicBezTo>
                  <a:pt x="11920" y="7945"/>
                  <a:pt x="11920" y="7949"/>
                  <a:pt x="11920" y="7952"/>
                </a:cubicBezTo>
                <a:cubicBezTo>
                  <a:pt x="11905" y="7961"/>
                  <a:pt x="11888" y="7954"/>
                  <a:pt x="11884" y="7932"/>
                </a:cubicBezTo>
                <a:cubicBezTo>
                  <a:pt x="11868" y="7936"/>
                  <a:pt x="11849" y="7946"/>
                  <a:pt x="11837" y="7961"/>
                </a:cubicBezTo>
                <a:cubicBezTo>
                  <a:pt x="11841" y="7952"/>
                  <a:pt x="11845" y="7943"/>
                  <a:pt x="11851" y="7936"/>
                </a:cubicBezTo>
                <a:cubicBezTo>
                  <a:pt x="11856" y="7931"/>
                  <a:pt x="11862" y="7925"/>
                  <a:pt x="11868" y="7919"/>
                </a:cubicBezTo>
                <a:lnTo>
                  <a:pt x="11869" y="7918"/>
                </a:lnTo>
                <a:cubicBezTo>
                  <a:pt x="11874" y="7913"/>
                  <a:pt x="11879" y="7908"/>
                  <a:pt x="11884" y="7903"/>
                </a:cubicBezTo>
                <a:cubicBezTo>
                  <a:pt x="11885" y="7900"/>
                  <a:pt x="11886" y="7896"/>
                  <a:pt x="11887" y="7893"/>
                </a:cubicBezTo>
                <a:lnTo>
                  <a:pt x="11894" y="7883"/>
                </a:lnTo>
                <a:cubicBezTo>
                  <a:pt x="11896" y="7877"/>
                  <a:pt x="11897" y="7871"/>
                  <a:pt x="11899" y="7865"/>
                </a:cubicBezTo>
                <a:cubicBezTo>
                  <a:pt x="11907" y="7861"/>
                  <a:pt x="11915" y="7864"/>
                  <a:pt x="11925" y="7857"/>
                </a:cubicBezTo>
                <a:cubicBezTo>
                  <a:pt x="11955" y="7835"/>
                  <a:pt x="11950" y="7865"/>
                  <a:pt x="11985" y="7866"/>
                </a:cubicBezTo>
                <a:cubicBezTo>
                  <a:pt x="11991" y="7854"/>
                  <a:pt x="11996" y="7845"/>
                  <a:pt x="12000" y="7829"/>
                </a:cubicBezTo>
                <a:cubicBezTo>
                  <a:pt x="11991" y="7807"/>
                  <a:pt x="11974" y="7806"/>
                  <a:pt x="11960" y="7795"/>
                </a:cubicBezTo>
                <a:lnTo>
                  <a:pt x="11965" y="7788"/>
                </a:lnTo>
                <a:cubicBezTo>
                  <a:pt x="11964" y="7787"/>
                  <a:pt x="11962" y="7787"/>
                  <a:pt x="11961" y="7786"/>
                </a:cubicBezTo>
                <a:cubicBezTo>
                  <a:pt x="11942" y="7766"/>
                  <a:pt x="11920" y="7659"/>
                  <a:pt x="11900" y="7664"/>
                </a:cubicBezTo>
                <a:cubicBezTo>
                  <a:pt x="11900" y="7658"/>
                  <a:pt x="11900" y="7652"/>
                  <a:pt x="11900" y="7645"/>
                </a:cubicBezTo>
                <a:cubicBezTo>
                  <a:pt x="11908" y="7631"/>
                  <a:pt x="11914" y="7626"/>
                  <a:pt x="11926" y="7618"/>
                </a:cubicBezTo>
                <a:cubicBezTo>
                  <a:pt x="11929" y="7583"/>
                  <a:pt x="11933" y="7552"/>
                  <a:pt x="11936" y="7524"/>
                </a:cubicBezTo>
                <a:cubicBezTo>
                  <a:pt x="11943" y="7520"/>
                  <a:pt x="11953" y="7518"/>
                  <a:pt x="11955" y="7512"/>
                </a:cubicBezTo>
                <a:cubicBezTo>
                  <a:pt x="11955" y="7511"/>
                  <a:pt x="11955" y="7510"/>
                  <a:pt x="11955" y="7510"/>
                </a:cubicBezTo>
                <a:cubicBezTo>
                  <a:pt x="11957" y="7508"/>
                  <a:pt x="11960" y="7507"/>
                  <a:pt x="11961" y="7505"/>
                </a:cubicBezTo>
                <a:cubicBezTo>
                  <a:pt x="11962" y="7488"/>
                  <a:pt x="11960" y="7474"/>
                  <a:pt x="11961" y="7458"/>
                </a:cubicBezTo>
                <a:cubicBezTo>
                  <a:pt x="11966" y="7401"/>
                  <a:pt x="11973" y="7348"/>
                  <a:pt x="11994" y="7320"/>
                </a:cubicBezTo>
                <a:cubicBezTo>
                  <a:pt x="12001" y="7312"/>
                  <a:pt x="12009" y="7306"/>
                  <a:pt x="12020" y="7305"/>
                </a:cubicBezTo>
                <a:cubicBezTo>
                  <a:pt x="12021" y="7304"/>
                  <a:pt x="12021" y="7303"/>
                  <a:pt x="12021" y="7302"/>
                </a:cubicBezTo>
                <a:cubicBezTo>
                  <a:pt x="12023" y="7301"/>
                  <a:pt x="12024" y="7300"/>
                  <a:pt x="12027" y="7299"/>
                </a:cubicBezTo>
                <a:cubicBezTo>
                  <a:pt x="12032" y="7280"/>
                  <a:pt x="12037" y="7262"/>
                  <a:pt x="12042" y="7243"/>
                </a:cubicBezTo>
                <a:cubicBezTo>
                  <a:pt x="12038" y="7231"/>
                  <a:pt x="12035" y="7225"/>
                  <a:pt x="12031" y="7215"/>
                </a:cubicBezTo>
                <a:cubicBezTo>
                  <a:pt x="12029" y="7199"/>
                  <a:pt x="12031" y="7192"/>
                  <a:pt x="12036" y="7186"/>
                </a:cubicBezTo>
                <a:cubicBezTo>
                  <a:pt x="12042" y="7183"/>
                  <a:pt x="12050" y="7181"/>
                  <a:pt x="12056" y="7174"/>
                </a:cubicBezTo>
                <a:cubicBezTo>
                  <a:pt x="12057" y="7173"/>
                  <a:pt x="12057" y="7172"/>
                  <a:pt x="12058" y="7171"/>
                </a:cubicBezTo>
                <a:cubicBezTo>
                  <a:pt x="12059" y="7170"/>
                  <a:pt x="12061" y="7170"/>
                  <a:pt x="12062" y="7168"/>
                </a:cubicBezTo>
                <a:cubicBezTo>
                  <a:pt x="12093" y="7134"/>
                  <a:pt x="12092" y="7079"/>
                  <a:pt x="12122" y="7053"/>
                </a:cubicBezTo>
                <a:cubicBezTo>
                  <a:pt x="12133" y="7046"/>
                  <a:pt x="12147" y="7041"/>
                  <a:pt x="12167" y="7042"/>
                </a:cubicBezTo>
                <a:cubicBezTo>
                  <a:pt x="12168" y="7041"/>
                  <a:pt x="12168" y="7040"/>
                  <a:pt x="12168" y="7039"/>
                </a:cubicBezTo>
                <a:cubicBezTo>
                  <a:pt x="12170" y="7039"/>
                  <a:pt x="12171" y="7037"/>
                  <a:pt x="12173" y="7037"/>
                </a:cubicBezTo>
                <a:cubicBezTo>
                  <a:pt x="12175" y="7033"/>
                  <a:pt x="12176" y="7029"/>
                  <a:pt x="12177" y="7024"/>
                </a:cubicBezTo>
                <a:cubicBezTo>
                  <a:pt x="12182" y="7034"/>
                  <a:pt x="12187" y="7041"/>
                  <a:pt x="12192" y="7052"/>
                </a:cubicBezTo>
                <a:cubicBezTo>
                  <a:pt x="12187" y="7061"/>
                  <a:pt x="12182" y="7071"/>
                  <a:pt x="12177" y="7080"/>
                </a:cubicBezTo>
                <a:cubicBezTo>
                  <a:pt x="12177" y="7081"/>
                  <a:pt x="12177" y="7088"/>
                  <a:pt x="12177" y="7089"/>
                </a:cubicBezTo>
                <a:cubicBezTo>
                  <a:pt x="12198" y="7143"/>
                  <a:pt x="12236" y="7126"/>
                  <a:pt x="12278" y="7128"/>
                </a:cubicBezTo>
                <a:cubicBezTo>
                  <a:pt x="12280" y="7138"/>
                  <a:pt x="12280" y="7145"/>
                  <a:pt x="12283" y="7155"/>
                </a:cubicBezTo>
                <a:cubicBezTo>
                  <a:pt x="12278" y="7165"/>
                  <a:pt x="12268" y="7172"/>
                  <a:pt x="12260" y="7179"/>
                </a:cubicBezTo>
                <a:cubicBezTo>
                  <a:pt x="12245" y="7192"/>
                  <a:pt x="12229" y="7205"/>
                  <a:pt x="12219" y="7224"/>
                </a:cubicBezTo>
                <a:cubicBezTo>
                  <a:pt x="12217" y="7226"/>
                  <a:pt x="12214" y="7227"/>
                  <a:pt x="12212" y="7230"/>
                </a:cubicBezTo>
                <a:cubicBezTo>
                  <a:pt x="12213" y="7233"/>
                  <a:pt x="12216" y="7236"/>
                  <a:pt x="12217" y="7239"/>
                </a:cubicBezTo>
                <a:cubicBezTo>
                  <a:pt x="12261" y="7255"/>
                  <a:pt x="12298" y="7235"/>
                  <a:pt x="12273" y="7343"/>
                </a:cubicBezTo>
                <a:cubicBezTo>
                  <a:pt x="12273" y="7345"/>
                  <a:pt x="12273" y="7350"/>
                  <a:pt x="12273" y="7352"/>
                </a:cubicBezTo>
                <a:cubicBezTo>
                  <a:pt x="12309" y="7364"/>
                  <a:pt x="12316" y="7357"/>
                  <a:pt x="12322" y="7345"/>
                </a:cubicBezTo>
                <a:cubicBezTo>
                  <a:pt x="12326" y="7338"/>
                  <a:pt x="12334" y="7326"/>
                  <a:pt x="12345" y="7315"/>
                </a:cubicBezTo>
                <a:cubicBezTo>
                  <a:pt x="12356" y="7314"/>
                  <a:pt x="12368" y="7316"/>
                  <a:pt x="12379" y="7315"/>
                </a:cubicBezTo>
                <a:cubicBezTo>
                  <a:pt x="12380" y="7313"/>
                  <a:pt x="12381" y="7310"/>
                  <a:pt x="12383" y="7308"/>
                </a:cubicBezTo>
                <a:cubicBezTo>
                  <a:pt x="12383" y="7308"/>
                  <a:pt x="12384" y="7308"/>
                  <a:pt x="12385" y="7308"/>
                </a:cubicBezTo>
                <a:cubicBezTo>
                  <a:pt x="12391" y="7299"/>
                  <a:pt x="12396" y="7288"/>
                  <a:pt x="12401" y="7278"/>
                </a:cubicBezTo>
                <a:cubicBezTo>
                  <a:pt x="12413" y="7273"/>
                  <a:pt x="12421" y="7283"/>
                  <a:pt x="12430" y="7286"/>
                </a:cubicBezTo>
                <a:cubicBezTo>
                  <a:pt x="12438" y="7283"/>
                  <a:pt x="12446" y="7289"/>
                  <a:pt x="12455" y="7286"/>
                </a:cubicBezTo>
                <a:cubicBezTo>
                  <a:pt x="12455" y="7284"/>
                  <a:pt x="12455" y="7282"/>
                  <a:pt x="12456" y="7280"/>
                </a:cubicBezTo>
                <a:cubicBezTo>
                  <a:pt x="12458" y="7280"/>
                  <a:pt x="12459" y="7281"/>
                  <a:pt x="12461" y="7280"/>
                </a:cubicBezTo>
                <a:cubicBezTo>
                  <a:pt x="12466" y="7267"/>
                  <a:pt x="12468" y="7250"/>
                  <a:pt x="12471" y="7233"/>
                </a:cubicBezTo>
                <a:cubicBezTo>
                  <a:pt x="12457" y="7230"/>
                  <a:pt x="12445" y="7227"/>
                  <a:pt x="12431" y="7224"/>
                </a:cubicBezTo>
                <a:cubicBezTo>
                  <a:pt x="12415" y="7227"/>
                  <a:pt x="12400" y="7243"/>
                  <a:pt x="12380" y="7233"/>
                </a:cubicBezTo>
                <a:cubicBezTo>
                  <a:pt x="12375" y="7185"/>
                  <a:pt x="12342" y="7136"/>
                  <a:pt x="12313" y="7117"/>
                </a:cubicBezTo>
                <a:cubicBezTo>
                  <a:pt x="12330" y="7112"/>
                  <a:pt x="12345" y="7109"/>
                  <a:pt x="12364" y="7108"/>
                </a:cubicBezTo>
                <a:cubicBezTo>
                  <a:pt x="12365" y="7107"/>
                  <a:pt x="12365" y="7105"/>
                  <a:pt x="12366" y="7104"/>
                </a:cubicBezTo>
                <a:cubicBezTo>
                  <a:pt x="12367" y="7103"/>
                  <a:pt x="12368" y="7102"/>
                  <a:pt x="12370" y="7102"/>
                </a:cubicBezTo>
                <a:cubicBezTo>
                  <a:pt x="12377" y="7088"/>
                  <a:pt x="12385" y="7073"/>
                  <a:pt x="12389" y="7052"/>
                </a:cubicBezTo>
                <a:cubicBezTo>
                  <a:pt x="12392" y="7057"/>
                  <a:pt x="12391" y="7066"/>
                  <a:pt x="12394" y="7071"/>
                </a:cubicBezTo>
                <a:cubicBezTo>
                  <a:pt x="12399" y="7076"/>
                  <a:pt x="12399" y="7074"/>
                  <a:pt x="12405" y="7071"/>
                </a:cubicBezTo>
                <a:cubicBezTo>
                  <a:pt x="12407" y="7070"/>
                  <a:pt x="12408" y="7067"/>
                  <a:pt x="12410" y="7065"/>
                </a:cubicBezTo>
                <a:cubicBezTo>
                  <a:pt x="12420" y="7060"/>
                  <a:pt x="12425" y="7048"/>
                  <a:pt x="12432" y="7041"/>
                </a:cubicBezTo>
                <a:cubicBezTo>
                  <a:pt x="12458" y="7032"/>
                  <a:pt x="12484" y="7024"/>
                  <a:pt x="12511" y="7015"/>
                </a:cubicBezTo>
                <a:cubicBezTo>
                  <a:pt x="12512" y="7013"/>
                  <a:pt x="12513" y="7012"/>
                  <a:pt x="12514" y="7010"/>
                </a:cubicBezTo>
                <a:cubicBezTo>
                  <a:pt x="12515" y="7009"/>
                  <a:pt x="12516" y="7009"/>
                  <a:pt x="12517" y="7009"/>
                </a:cubicBezTo>
                <a:cubicBezTo>
                  <a:pt x="12521" y="7001"/>
                  <a:pt x="12525" y="6994"/>
                  <a:pt x="12528" y="6987"/>
                </a:cubicBezTo>
                <a:cubicBezTo>
                  <a:pt x="12544" y="6984"/>
                  <a:pt x="12561" y="6980"/>
                  <a:pt x="12576" y="6977"/>
                </a:cubicBezTo>
                <a:cubicBezTo>
                  <a:pt x="12578" y="6975"/>
                  <a:pt x="12577" y="6973"/>
                  <a:pt x="12576" y="6973"/>
                </a:cubicBezTo>
                <a:cubicBezTo>
                  <a:pt x="12578" y="6972"/>
                  <a:pt x="12580" y="6972"/>
                  <a:pt x="12582" y="6971"/>
                </a:cubicBezTo>
                <a:cubicBezTo>
                  <a:pt x="12584" y="6968"/>
                  <a:pt x="12583" y="6967"/>
                  <a:pt x="12582" y="6965"/>
                </a:cubicBezTo>
                <a:cubicBezTo>
                  <a:pt x="12601" y="6958"/>
                  <a:pt x="12618" y="6947"/>
                  <a:pt x="12637" y="6940"/>
                </a:cubicBezTo>
                <a:close/>
                <a:moveTo>
                  <a:pt x="2614" y="7191"/>
                </a:moveTo>
                <a:cubicBezTo>
                  <a:pt x="2615" y="7191"/>
                  <a:pt x="2616" y="7191"/>
                  <a:pt x="2616" y="7191"/>
                </a:cubicBezTo>
                <a:cubicBezTo>
                  <a:pt x="2616" y="7192"/>
                  <a:pt x="2615" y="7192"/>
                  <a:pt x="2615" y="7192"/>
                </a:cubicBezTo>
                <a:cubicBezTo>
                  <a:pt x="2615" y="7192"/>
                  <a:pt x="2614" y="7191"/>
                  <a:pt x="2614" y="7191"/>
                </a:cubicBezTo>
                <a:close/>
                <a:moveTo>
                  <a:pt x="19206" y="7202"/>
                </a:moveTo>
                <a:cubicBezTo>
                  <a:pt x="19172" y="7259"/>
                  <a:pt x="19195" y="7252"/>
                  <a:pt x="19201" y="7317"/>
                </a:cubicBezTo>
                <a:cubicBezTo>
                  <a:pt x="19200" y="7352"/>
                  <a:pt x="19199" y="7386"/>
                  <a:pt x="19198" y="7421"/>
                </a:cubicBezTo>
                <a:cubicBezTo>
                  <a:pt x="19191" y="7434"/>
                  <a:pt x="19182" y="7443"/>
                  <a:pt x="19171" y="7448"/>
                </a:cubicBezTo>
                <a:cubicBezTo>
                  <a:pt x="19171" y="7476"/>
                  <a:pt x="19171" y="7503"/>
                  <a:pt x="19171" y="7531"/>
                </a:cubicBezTo>
                <a:cubicBezTo>
                  <a:pt x="19149" y="7543"/>
                  <a:pt x="19141" y="7527"/>
                  <a:pt x="19127" y="7507"/>
                </a:cubicBezTo>
                <a:cubicBezTo>
                  <a:pt x="19118" y="7510"/>
                  <a:pt x="19119" y="7514"/>
                  <a:pt x="19114" y="7523"/>
                </a:cubicBezTo>
                <a:cubicBezTo>
                  <a:pt x="19115" y="7534"/>
                  <a:pt x="19117" y="7538"/>
                  <a:pt x="19123" y="7546"/>
                </a:cubicBezTo>
                <a:cubicBezTo>
                  <a:pt x="19122" y="7552"/>
                  <a:pt x="19122" y="7560"/>
                  <a:pt x="19121" y="7567"/>
                </a:cubicBezTo>
                <a:cubicBezTo>
                  <a:pt x="19105" y="7587"/>
                  <a:pt x="19088" y="7606"/>
                  <a:pt x="19072" y="7626"/>
                </a:cubicBezTo>
                <a:cubicBezTo>
                  <a:pt x="19073" y="7645"/>
                  <a:pt x="19073" y="7664"/>
                  <a:pt x="19074" y="7682"/>
                </a:cubicBezTo>
                <a:cubicBezTo>
                  <a:pt x="19081" y="7692"/>
                  <a:pt x="19086" y="7699"/>
                  <a:pt x="19096" y="7703"/>
                </a:cubicBezTo>
                <a:cubicBezTo>
                  <a:pt x="19101" y="7740"/>
                  <a:pt x="19082" y="7765"/>
                  <a:pt x="19096" y="7795"/>
                </a:cubicBezTo>
                <a:cubicBezTo>
                  <a:pt x="19096" y="7797"/>
                  <a:pt x="19096" y="7798"/>
                  <a:pt x="19096" y="7800"/>
                </a:cubicBezTo>
                <a:cubicBezTo>
                  <a:pt x="19111" y="7789"/>
                  <a:pt x="19120" y="7764"/>
                  <a:pt x="19129" y="7741"/>
                </a:cubicBezTo>
                <a:cubicBezTo>
                  <a:pt x="19143" y="7743"/>
                  <a:pt x="19149" y="7747"/>
                  <a:pt x="19160" y="7739"/>
                </a:cubicBezTo>
                <a:cubicBezTo>
                  <a:pt x="19161" y="7736"/>
                  <a:pt x="19162" y="7735"/>
                  <a:pt x="19163" y="7732"/>
                </a:cubicBezTo>
                <a:cubicBezTo>
                  <a:pt x="19151" y="7702"/>
                  <a:pt x="19125" y="7682"/>
                  <a:pt x="19107" y="7664"/>
                </a:cubicBezTo>
                <a:cubicBezTo>
                  <a:pt x="19106" y="7662"/>
                  <a:pt x="19105" y="7660"/>
                  <a:pt x="19105" y="7657"/>
                </a:cubicBezTo>
                <a:cubicBezTo>
                  <a:pt x="19106" y="7632"/>
                  <a:pt x="19120" y="7624"/>
                  <a:pt x="19132" y="7618"/>
                </a:cubicBezTo>
                <a:cubicBezTo>
                  <a:pt x="19139" y="7633"/>
                  <a:pt x="19145" y="7640"/>
                  <a:pt x="19148" y="7662"/>
                </a:cubicBezTo>
                <a:cubicBezTo>
                  <a:pt x="19158" y="7649"/>
                  <a:pt x="19168" y="7636"/>
                  <a:pt x="19177" y="7624"/>
                </a:cubicBezTo>
                <a:cubicBezTo>
                  <a:pt x="19214" y="7592"/>
                  <a:pt x="19262" y="7698"/>
                  <a:pt x="19295" y="7708"/>
                </a:cubicBezTo>
                <a:cubicBezTo>
                  <a:pt x="19303" y="7651"/>
                  <a:pt x="19325" y="7586"/>
                  <a:pt x="19353" y="7565"/>
                </a:cubicBezTo>
                <a:cubicBezTo>
                  <a:pt x="19366" y="7555"/>
                  <a:pt x="19373" y="7572"/>
                  <a:pt x="19381" y="7577"/>
                </a:cubicBezTo>
                <a:cubicBezTo>
                  <a:pt x="19403" y="7564"/>
                  <a:pt x="19420" y="7558"/>
                  <a:pt x="19435" y="7531"/>
                </a:cubicBezTo>
                <a:cubicBezTo>
                  <a:pt x="19440" y="7518"/>
                  <a:pt x="19415" y="7463"/>
                  <a:pt x="19412" y="7437"/>
                </a:cubicBezTo>
                <a:cubicBezTo>
                  <a:pt x="19418" y="7419"/>
                  <a:pt x="19424" y="7403"/>
                  <a:pt x="19429" y="7385"/>
                </a:cubicBezTo>
                <a:cubicBezTo>
                  <a:pt x="19429" y="7382"/>
                  <a:pt x="19429" y="7379"/>
                  <a:pt x="19429" y="7376"/>
                </a:cubicBezTo>
                <a:cubicBezTo>
                  <a:pt x="19410" y="7384"/>
                  <a:pt x="19406" y="7414"/>
                  <a:pt x="19390" y="7428"/>
                </a:cubicBezTo>
                <a:cubicBezTo>
                  <a:pt x="19326" y="7478"/>
                  <a:pt x="19241" y="7240"/>
                  <a:pt x="19206" y="7202"/>
                </a:cubicBezTo>
                <a:close/>
                <a:moveTo>
                  <a:pt x="6836" y="7788"/>
                </a:moveTo>
                <a:cubicBezTo>
                  <a:pt x="6826" y="7829"/>
                  <a:pt x="6781" y="7896"/>
                  <a:pt x="6788" y="7955"/>
                </a:cubicBezTo>
                <a:cubicBezTo>
                  <a:pt x="6799" y="8039"/>
                  <a:pt x="6881" y="8012"/>
                  <a:pt x="6891" y="7944"/>
                </a:cubicBezTo>
                <a:cubicBezTo>
                  <a:pt x="6859" y="7863"/>
                  <a:pt x="6849" y="7961"/>
                  <a:pt x="6823" y="7976"/>
                </a:cubicBezTo>
                <a:cubicBezTo>
                  <a:pt x="6820" y="7971"/>
                  <a:pt x="6816" y="7968"/>
                  <a:pt x="6812" y="7964"/>
                </a:cubicBezTo>
                <a:cubicBezTo>
                  <a:pt x="6810" y="7923"/>
                  <a:pt x="6831" y="7925"/>
                  <a:pt x="6841" y="7903"/>
                </a:cubicBezTo>
                <a:cubicBezTo>
                  <a:pt x="6851" y="7884"/>
                  <a:pt x="6855" y="7842"/>
                  <a:pt x="6862" y="7822"/>
                </a:cubicBezTo>
                <a:cubicBezTo>
                  <a:pt x="6853" y="7811"/>
                  <a:pt x="6845" y="7799"/>
                  <a:pt x="6836" y="7788"/>
                </a:cubicBezTo>
                <a:close/>
                <a:moveTo>
                  <a:pt x="10738" y="7801"/>
                </a:moveTo>
                <a:cubicBezTo>
                  <a:pt x="10719" y="7834"/>
                  <a:pt x="10702" y="7836"/>
                  <a:pt x="10670" y="7847"/>
                </a:cubicBezTo>
                <a:cubicBezTo>
                  <a:pt x="10669" y="7848"/>
                  <a:pt x="10668" y="7851"/>
                  <a:pt x="10667" y="7853"/>
                </a:cubicBezTo>
                <a:cubicBezTo>
                  <a:pt x="10671" y="7886"/>
                  <a:pt x="10684" y="7895"/>
                  <a:pt x="10688" y="7932"/>
                </a:cubicBezTo>
                <a:cubicBezTo>
                  <a:pt x="10696" y="8008"/>
                  <a:pt x="10661" y="8088"/>
                  <a:pt x="10709" y="8106"/>
                </a:cubicBezTo>
                <a:cubicBezTo>
                  <a:pt x="10713" y="8096"/>
                  <a:pt x="10717" y="8085"/>
                  <a:pt x="10721" y="8075"/>
                </a:cubicBezTo>
                <a:cubicBezTo>
                  <a:pt x="10733" y="8065"/>
                  <a:pt x="10742" y="8076"/>
                  <a:pt x="10753" y="8081"/>
                </a:cubicBezTo>
                <a:cubicBezTo>
                  <a:pt x="10757" y="8058"/>
                  <a:pt x="10767" y="8035"/>
                  <a:pt x="10765" y="8001"/>
                </a:cubicBezTo>
                <a:cubicBezTo>
                  <a:pt x="10764" y="7982"/>
                  <a:pt x="10762" y="7963"/>
                  <a:pt x="10761" y="7944"/>
                </a:cubicBezTo>
                <a:cubicBezTo>
                  <a:pt x="10762" y="7930"/>
                  <a:pt x="10769" y="7916"/>
                  <a:pt x="10771" y="7906"/>
                </a:cubicBezTo>
                <a:cubicBezTo>
                  <a:pt x="10778" y="7867"/>
                  <a:pt x="10750" y="7809"/>
                  <a:pt x="10738" y="7801"/>
                </a:cubicBezTo>
                <a:close/>
                <a:moveTo>
                  <a:pt x="19241" y="7801"/>
                </a:moveTo>
                <a:cubicBezTo>
                  <a:pt x="19236" y="7807"/>
                  <a:pt x="19232" y="7813"/>
                  <a:pt x="19228" y="7819"/>
                </a:cubicBezTo>
                <a:cubicBezTo>
                  <a:pt x="19227" y="7823"/>
                  <a:pt x="19225" y="7826"/>
                  <a:pt x="19225" y="7829"/>
                </a:cubicBezTo>
                <a:cubicBezTo>
                  <a:pt x="19229" y="7841"/>
                  <a:pt x="19231" y="7847"/>
                  <a:pt x="19243" y="7847"/>
                </a:cubicBezTo>
                <a:cubicBezTo>
                  <a:pt x="19244" y="7858"/>
                  <a:pt x="19246" y="7868"/>
                  <a:pt x="19248" y="7879"/>
                </a:cubicBezTo>
                <a:cubicBezTo>
                  <a:pt x="19241" y="7892"/>
                  <a:pt x="19227" y="7896"/>
                  <a:pt x="19216" y="7901"/>
                </a:cubicBezTo>
                <a:cubicBezTo>
                  <a:pt x="19212" y="7889"/>
                  <a:pt x="19209" y="7877"/>
                  <a:pt x="19205" y="7865"/>
                </a:cubicBezTo>
                <a:cubicBezTo>
                  <a:pt x="19203" y="7865"/>
                  <a:pt x="19201" y="7865"/>
                  <a:pt x="19199" y="7865"/>
                </a:cubicBezTo>
                <a:cubicBezTo>
                  <a:pt x="19188" y="7882"/>
                  <a:pt x="19184" y="7907"/>
                  <a:pt x="19170" y="7919"/>
                </a:cubicBezTo>
                <a:cubicBezTo>
                  <a:pt x="19171" y="7942"/>
                  <a:pt x="19172" y="7966"/>
                  <a:pt x="19173" y="7989"/>
                </a:cubicBezTo>
                <a:cubicBezTo>
                  <a:pt x="19170" y="7998"/>
                  <a:pt x="19167" y="8007"/>
                  <a:pt x="19164" y="8016"/>
                </a:cubicBezTo>
                <a:cubicBezTo>
                  <a:pt x="19163" y="8019"/>
                  <a:pt x="19162" y="8022"/>
                  <a:pt x="19162" y="8025"/>
                </a:cubicBezTo>
                <a:cubicBezTo>
                  <a:pt x="19166" y="8032"/>
                  <a:pt x="19171" y="8038"/>
                  <a:pt x="19175" y="8045"/>
                </a:cubicBezTo>
                <a:cubicBezTo>
                  <a:pt x="19175" y="8129"/>
                  <a:pt x="19146" y="8248"/>
                  <a:pt x="19125" y="8289"/>
                </a:cubicBezTo>
                <a:cubicBezTo>
                  <a:pt x="19117" y="8298"/>
                  <a:pt x="19109" y="8305"/>
                  <a:pt x="19101" y="8314"/>
                </a:cubicBezTo>
                <a:cubicBezTo>
                  <a:pt x="19092" y="8334"/>
                  <a:pt x="19091" y="8360"/>
                  <a:pt x="19079" y="8376"/>
                </a:cubicBezTo>
                <a:cubicBezTo>
                  <a:pt x="19052" y="8410"/>
                  <a:pt x="19019" y="8424"/>
                  <a:pt x="18996" y="8464"/>
                </a:cubicBezTo>
                <a:cubicBezTo>
                  <a:pt x="18993" y="8464"/>
                  <a:pt x="18989" y="8461"/>
                  <a:pt x="18985" y="8461"/>
                </a:cubicBezTo>
                <a:cubicBezTo>
                  <a:pt x="18984" y="8443"/>
                  <a:pt x="18984" y="8433"/>
                  <a:pt x="18985" y="8413"/>
                </a:cubicBezTo>
                <a:cubicBezTo>
                  <a:pt x="18990" y="8399"/>
                  <a:pt x="18995" y="8388"/>
                  <a:pt x="19004" y="8382"/>
                </a:cubicBezTo>
                <a:cubicBezTo>
                  <a:pt x="19003" y="8374"/>
                  <a:pt x="19003" y="8366"/>
                  <a:pt x="19003" y="8359"/>
                </a:cubicBezTo>
                <a:cubicBezTo>
                  <a:pt x="18986" y="8362"/>
                  <a:pt x="18971" y="8371"/>
                  <a:pt x="18961" y="8386"/>
                </a:cubicBezTo>
                <a:cubicBezTo>
                  <a:pt x="18960" y="8414"/>
                  <a:pt x="18960" y="8442"/>
                  <a:pt x="18959" y="8469"/>
                </a:cubicBezTo>
                <a:cubicBezTo>
                  <a:pt x="18945" y="8523"/>
                  <a:pt x="18915" y="8516"/>
                  <a:pt x="18915" y="8605"/>
                </a:cubicBezTo>
                <a:cubicBezTo>
                  <a:pt x="18904" y="8619"/>
                  <a:pt x="18892" y="8631"/>
                  <a:pt x="18878" y="8641"/>
                </a:cubicBezTo>
                <a:cubicBezTo>
                  <a:pt x="18869" y="8630"/>
                  <a:pt x="18867" y="8621"/>
                  <a:pt x="18865" y="8597"/>
                </a:cubicBezTo>
                <a:cubicBezTo>
                  <a:pt x="18826" y="8618"/>
                  <a:pt x="18773" y="8639"/>
                  <a:pt x="18728" y="8648"/>
                </a:cubicBezTo>
                <a:cubicBezTo>
                  <a:pt x="18727" y="8622"/>
                  <a:pt x="18720" y="8622"/>
                  <a:pt x="18706" y="8634"/>
                </a:cubicBezTo>
                <a:cubicBezTo>
                  <a:pt x="18681" y="8655"/>
                  <a:pt x="18667" y="8709"/>
                  <a:pt x="18644" y="8747"/>
                </a:cubicBezTo>
                <a:cubicBezTo>
                  <a:pt x="18639" y="8745"/>
                  <a:pt x="18634" y="8741"/>
                  <a:pt x="18628" y="8735"/>
                </a:cubicBezTo>
                <a:cubicBezTo>
                  <a:pt x="18624" y="8749"/>
                  <a:pt x="18620" y="8764"/>
                  <a:pt x="18614" y="8776"/>
                </a:cubicBezTo>
                <a:cubicBezTo>
                  <a:pt x="18607" y="8779"/>
                  <a:pt x="18602" y="8784"/>
                  <a:pt x="18594" y="8784"/>
                </a:cubicBezTo>
                <a:cubicBezTo>
                  <a:pt x="18593" y="8791"/>
                  <a:pt x="18591" y="8799"/>
                  <a:pt x="18589" y="8806"/>
                </a:cubicBezTo>
                <a:cubicBezTo>
                  <a:pt x="18589" y="8806"/>
                  <a:pt x="18589" y="8808"/>
                  <a:pt x="18588" y="8808"/>
                </a:cubicBezTo>
                <a:cubicBezTo>
                  <a:pt x="18588" y="8810"/>
                  <a:pt x="18587" y="8811"/>
                  <a:pt x="18587" y="8813"/>
                </a:cubicBezTo>
                <a:cubicBezTo>
                  <a:pt x="18587" y="8814"/>
                  <a:pt x="18588" y="8815"/>
                  <a:pt x="18588" y="8816"/>
                </a:cubicBezTo>
                <a:cubicBezTo>
                  <a:pt x="18588" y="8818"/>
                  <a:pt x="18587" y="8819"/>
                  <a:pt x="18587" y="8821"/>
                </a:cubicBezTo>
                <a:cubicBezTo>
                  <a:pt x="18589" y="8825"/>
                  <a:pt x="18591" y="8827"/>
                  <a:pt x="18593" y="8831"/>
                </a:cubicBezTo>
                <a:cubicBezTo>
                  <a:pt x="18604" y="8860"/>
                  <a:pt x="18609" y="8897"/>
                  <a:pt x="18624" y="8918"/>
                </a:cubicBezTo>
                <a:cubicBezTo>
                  <a:pt x="18642" y="8895"/>
                  <a:pt x="18644" y="8865"/>
                  <a:pt x="18653" y="8839"/>
                </a:cubicBezTo>
                <a:cubicBezTo>
                  <a:pt x="18657" y="8841"/>
                  <a:pt x="18661" y="8841"/>
                  <a:pt x="18665" y="8844"/>
                </a:cubicBezTo>
                <a:cubicBezTo>
                  <a:pt x="18667" y="8831"/>
                  <a:pt x="18668" y="8822"/>
                  <a:pt x="18668" y="8813"/>
                </a:cubicBezTo>
                <a:cubicBezTo>
                  <a:pt x="18671" y="8810"/>
                  <a:pt x="18671" y="8807"/>
                  <a:pt x="18674" y="8804"/>
                </a:cubicBezTo>
                <a:cubicBezTo>
                  <a:pt x="18690" y="8805"/>
                  <a:pt x="18699" y="8817"/>
                  <a:pt x="18704" y="8838"/>
                </a:cubicBezTo>
                <a:cubicBezTo>
                  <a:pt x="18715" y="8828"/>
                  <a:pt x="18726" y="8804"/>
                  <a:pt x="18735" y="8777"/>
                </a:cubicBezTo>
                <a:cubicBezTo>
                  <a:pt x="18744" y="8771"/>
                  <a:pt x="18753" y="8766"/>
                  <a:pt x="18762" y="8761"/>
                </a:cubicBezTo>
                <a:cubicBezTo>
                  <a:pt x="18770" y="8758"/>
                  <a:pt x="18778" y="8771"/>
                  <a:pt x="18781" y="8770"/>
                </a:cubicBezTo>
                <a:cubicBezTo>
                  <a:pt x="18793" y="8758"/>
                  <a:pt x="18806" y="8747"/>
                  <a:pt x="18818" y="8736"/>
                </a:cubicBezTo>
                <a:cubicBezTo>
                  <a:pt x="18837" y="8732"/>
                  <a:pt x="18851" y="8749"/>
                  <a:pt x="18869" y="8736"/>
                </a:cubicBezTo>
                <a:cubicBezTo>
                  <a:pt x="18871" y="8737"/>
                  <a:pt x="18874" y="8740"/>
                  <a:pt x="18875" y="8742"/>
                </a:cubicBezTo>
                <a:cubicBezTo>
                  <a:pt x="18877" y="8769"/>
                  <a:pt x="18864" y="8782"/>
                  <a:pt x="18854" y="8795"/>
                </a:cubicBezTo>
                <a:cubicBezTo>
                  <a:pt x="18855" y="8816"/>
                  <a:pt x="18857" y="8838"/>
                  <a:pt x="18858" y="8860"/>
                </a:cubicBezTo>
                <a:cubicBezTo>
                  <a:pt x="18874" y="8874"/>
                  <a:pt x="18890" y="8888"/>
                  <a:pt x="18906" y="8903"/>
                </a:cubicBezTo>
                <a:cubicBezTo>
                  <a:pt x="18917" y="8840"/>
                  <a:pt x="18936" y="8813"/>
                  <a:pt x="18972" y="8792"/>
                </a:cubicBezTo>
                <a:cubicBezTo>
                  <a:pt x="18974" y="8789"/>
                  <a:pt x="18975" y="8786"/>
                  <a:pt x="18976" y="8783"/>
                </a:cubicBezTo>
                <a:cubicBezTo>
                  <a:pt x="18970" y="8769"/>
                  <a:pt x="18963" y="8761"/>
                  <a:pt x="18953" y="8754"/>
                </a:cubicBezTo>
                <a:cubicBezTo>
                  <a:pt x="18956" y="8739"/>
                  <a:pt x="18959" y="8724"/>
                  <a:pt x="18963" y="8708"/>
                </a:cubicBezTo>
                <a:cubicBezTo>
                  <a:pt x="18976" y="8698"/>
                  <a:pt x="18993" y="8730"/>
                  <a:pt x="18997" y="8754"/>
                </a:cubicBezTo>
                <a:cubicBezTo>
                  <a:pt x="19017" y="8751"/>
                  <a:pt x="19032" y="8746"/>
                  <a:pt x="19055" y="8747"/>
                </a:cubicBezTo>
                <a:cubicBezTo>
                  <a:pt x="19068" y="8724"/>
                  <a:pt x="19070" y="8698"/>
                  <a:pt x="19090" y="8687"/>
                </a:cubicBezTo>
                <a:cubicBezTo>
                  <a:pt x="19091" y="8688"/>
                  <a:pt x="19092" y="8689"/>
                  <a:pt x="19092" y="8690"/>
                </a:cubicBezTo>
                <a:cubicBezTo>
                  <a:pt x="19093" y="8706"/>
                  <a:pt x="19094" y="8721"/>
                  <a:pt x="19094" y="8736"/>
                </a:cubicBezTo>
                <a:cubicBezTo>
                  <a:pt x="19097" y="8739"/>
                  <a:pt x="19098" y="8741"/>
                  <a:pt x="19101" y="8743"/>
                </a:cubicBezTo>
                <a:cubicBezTo>
                  <a:pt x="19111" y="8730"/>
                  <a:pt x="19114" y="8715"/>
                  <a:pt x="19113" y="8682"/>
                </a:cubicBezTo>
                <a:cubicBezTo>
                  <a:pt x="19125" y="8665"/>
                  <a:pt x="19158" y="8620"/>
                  <a:pt x="19170" y="8612"/>
                </a:cubicBezTo>
                <a:cubicBezTo>
                  <a:pt x="19172" y="8615"/>
                  <a:pt x="19173" y="8618"/>
                  <a:pt x="19175" y="8621"/>
                </a:cubicBezTo>
                <a:cubicBezTo>
                  <a:pt x="19169" y="8644"/>
                  <a:pt x="19159" y="8673"/>
                  <a:pt x="19162" y="8702"/>
                </a:cubicBezTo>
                <a:cubicBezTo>
                  <a:pt x="19162" y="8704"/>
                  <a:pt x="19163" y="8706"/>
                  <a:pt x="19164" y="8708"/>
                </a:cubicBezTo>
                <a:cubicBezTo>
                  <a:pt x="19174" y="8699"/>
                  <a:pt x="19184" y="8690"/>
                  <a:pt x="19194" y="8682"/>
                </a:cubicBezTo>
                <a:cubicBezTo>
                  <a:pt x="19201" y="8633"/>
                  <a:pt x="19201" y="8611"/>
                  <a:pt x="19226" y="8597"/>
                </a:cubicBezTo>
                <a:cubicBezTo>
                  <a:pt x="19226" y="8595"/>
                  <a:pt x="19227" y="8593"/>
                  <a:pt x="19228" y="8592"/>
                </a:cubicBezTo>
                <a:cubicBezTo>
                  <a:pt x="19182" y="8530"/>
                  <a:pt x="19226" y="8472"/>
                  <a:pt x="19236" y="8422"/>
                </a:cubicBezTo>
                <a:cubicBezTo>
                  <a:pt x="19254" y="8323"/>
                  <a:pt x="19197" y="8264"/>
                  <a:pt x="19269" y="8224"/>
                </a:cubicBezTo>
                <a:cubicBezTo>
                  <a:pt x="19270" y="8209"/>
                  <a:pt x="19271" y="8194"/>
                  <a:pt x="19272" y="8179"/>
                </a:cubicBezTo>
                <a:cubicBezTo>
                  <a:pt x="19280" y="8145"/>
                  <a:pt x="19297" y="8128"/>
                  <a:pt x="19302" y="8086"/>
                </a:cubicBezTo>
                <a:cubicBezTo>
                  <a:pt x="19307" y="8045"/>
                  <a:pt x="19290" y="7980"/>
                  <a:pt x="19281" y="7955"/>
                </a:cubicBezTo>
                <a:cubicBezTo>
                  <a:pt x="19276" y="7947"/>
                  <a:pt x="19272" y="7940"/>
                  <a:pt x="19267" y="7932"/>
                </a:cubicBezTo>
                <a:cubicBezTo>
                  <a:pt x="19267" y="7897"/>
                  <a:pt x="19267" y="7862"/>
                  <a:pt x="19266" y="7827"/>
                </a:cubicBezTo>
                <a:cubicBezTo>
                  <a:pt x="19260" y="7814"/>
                  <a:pt x="19251" y="7805"/>
                  <a:pt x="19241" y="7801"/>
                </a:cubicBezTo>
                <a:close/>
                <a:moveTo>
                  <a:pt x="11046" y="8400"/>
                </a:moveTo>
                <a:cubicBezTo>
                  <a:pt x="11026" y="8432"/>
                  <a:pt x="11000" y="8403"/>
                  <a:pt x="10990" y="8462"/>
                </a:cubicBezTo>
                <a:cubicBezTo>
                  <a:pt x="10999" y="8497"/>
                  <a:pt x="11013" y="8486"/>
                  <a:pt x="11032" y="8503"/>
                </a:cubicBezTo>
                <a:cubicBezTo>
                  <a:pt x="11071" y="8537"/>
                  <a:pt x="11107" y="8582"/>
                  <a:pt x="11150" y="8605"/>
                </a:cubicBezTo>
                <a:cubicBezTo>
                  <a:pt x="11157" y="8594"/>
                  <a:pt x="11162" y="8576"/>
                  <a:pt x="11170" y="8568"/>
                </a:cubicBezTo>
                <a:cubicBezTo>
                  <a:pt x="11173" y="8553"/>
                  <a:pt x="11164" y="8546"/>
                  <a:pt x="11160" y="8529"/>
                </a:cubicBezTo>
                <a:cubicBezTo>
                  <a:pt x="11152" y="8491"/>
                  <a:pt x="11176" y="8438"/>
                  <a:pt x="11182" y="8410"/>
                </a:cubicBezTo>
                <a:cubicBezTo>
                  <a:pt x="11182" y="8410"/>
                  <a:pt x="11182" y="8409"/>
                  <a:pt x="11182" y="8408"/>
                </a:cubicBezTo>
                <a:cubicBezTo>
                  <a:pt x="11170" y="8403"/>
                  <a:pt x="11157" y="8412"/>
                  <a:pt x="11145" y="8418"/>
                </a:cubicBezTo>
                <a:cubicBezTo>
                  <a:pt x="11099" y="8439"/>
                  <a:pt x="11080" y="8441"/>
                  <a:pt x="11046" y="8400"/>
                </a:cubicBezTo>
                <a:close/>
                <a:moveTo>
                  <a:pt x="11650" y="8700"/>
                </a:moveTo>
                <a:cubicBezTo>
                  <a:pt x="11648" y="8705"/>
                  <a:pt x="11649" y="8705"/>
                  <a:pt x="11648" y="8715"/>
                </a:cubicBezTo>
                <a:cubicBezTo>
                  <a:pt x="11646" y="8715"/>
                  <a:pt x="11643" y="8715"/>
                  <a:pt x="11641" y="8715"/>
                </a:cubicBezTo>
                <a:cubicBezTo>
                  <a:pt x="11639" y="8728"/>
                  <a:pt x="11638" y="8741"/>
                  <a:pt x="11637" y="8754"/>
                </a:cubicBezTo>
                <a:cubicBezTo>
                  <a:pt x="11656" y="8770"/>
                  <a:pt x="11694" y="8767"/>
                  <a:pt x="11714" y="8783"/>
                </a:cubicBezTo>
                <a:cubicBezTo>
                  <a:pt x="11714" y="8789"/>
                  <a:pt x="11714" y="8793"/>
                  <a:pt x="11714" y="8800"/>
                </a:cubicBezTo>
                <a:cubicBezTo>
                  <a:pt x="11745" y="8796"/>
                  <a:pt x="11776" y="8793"/>
                  <a:pt x="11807" y="8790"/>
                </a:cubicBezTo>
                <a:cubicBezTo>
                  <a:pt x="11811" y="8779"/>
                  <a:pt x="11813" y="8766"/>
                  <a:pt x="11814" y="8749"/>
                </a:cubicBezTo>
                <a:cubicBezTo>
                  <a:pt x="11805" y="8761"/>
                  <a:pt x="11793" y="8763"/>
                  <a:pt x="11782" y="8774"/>
                </a:cubicBezTo>
                <a:cubicBezTo>
                  <a:pt x="11781" y="8773"/>
                  <a:pt x="11778" y="8770"/>
                  <a:pt x="11777" y="8768"/>
                </a:cubicBezTo>
                <a:cubicBezTo>
                  <a:pt x="11778" y="8761"/>
                  <a:pt x="11779" y="8756"/>
                  <a:pt x="11780" y="8749"/>
                </a:cubicBezTo>
                <a:cubicBezTo>
                  <a:pt x="11779" y="8748"/>
                  <a:pt x="11778" y="8746"/>
                  <a:pt x="11778" y="8745"/>
                </a:cubicBezTo>
                <a:cubicBezTo>
                  <a:pt x="11757" y="8750"/>
                  <a:pt x="11748" y="8747"/>
                  <a:pt x="11732" y="8733"/>
                </a:cubicBezTo>
                <a:cubicBezTo>
                  <a:pt x="11717" y="8736"/>
                  <a:pt x="11702" y="8738"/>
                  <a:pt x="11687" y="8741"/>
                </a:cubicBezTo>
                <a:cubicBezTo>
                  <a:pt x="11682" y="8733"/>
                  <a:pt x="11684" y="8730"/>
                  <a:pt x="11676" y="8727"/>
                </a:cubicBezTo>
                <a:cubicBezTo>
                  <a:pt x="11677" y="8724"/>
                  <a:pt x="11678" y="8721"/>
                  <a:pt x="11679" y="8718"/>
                </a:cubicBezTo>
                <a:cubicBezTo>
                  <a:pt x="11678" y="8715"/>
                  <a:pt x="11678" y="8712"/>
                  <a:pt x="11677" y="8709"/>
                </a:cubicBezTo>
                <a:cubicBezTo>
                  <a:pt x="11674" y="8713"/>
                  <a:pt x="11670" y="8717"/>
                  <a:pt x="11667" y="8720"/>
                </a:cubicBezTo>
                <a:cubicBezTo>
                  <a:pt x="11660" y="8716"/>
                  <a:pt x="11655" y="8715"/>
                  <a:pt x="11650" y="8705"/>
                </a:cubicBezTo>
                <a:cubicBezTo>
                  <a:pt x="11650" y="8703"/>
                  <a:pt x="11650" y="8702"/>
                  <a:pt x="11650" y="8700"/>
                </a:cubicBezTo>
                <a:close/>
                <a:moveTo>
                  <a:pt x="18504" y="8999"/>
                </a:moveTo>
                <a:cubicBezTo>
                  <a:pt x="18502" y="9000"/>
                  <a:pt x="18499" y="9002"/>
                  <a:pt x="18496" y="9003"/>
                </a:cubicBezTo>
                <a:cubicBezTo>
                  <a:pt x="18489" y="9014"/>
                  <a:pt x="18484" y="9030"/>
                  <a:pt x="18481" y="9048"/>
                </a:cubicBezTo>
                <a:cubicBezTo>
                  <a:pt x="18460" y="9059"/>
                  <a:pt x="18437" y="9047"/>
                  <a:pt x="18425" y="9075"/>
                </a:cubicBezTo>
                <a:cubicBezTo>
                  <a:pt x="18434" y="9094"/>
                  <a:pt x="18445" y="9139"/>
                  <a:pt x="18460" y="9145"/>
                </a:cubicBezTo>
                <a:cubicBezTo>
                  <a:pt x="18465" y="9132"/>
                  <a:pt x="18470" y="9118"/>
                  <a:pt x="18475" y="9105"/>
                </a:cubicBezTo>
                <a:cubicBezTo>
                  <a:pt x="18478" y="9105"/>
                  <a:pt x="18481" y="9105"/>
                  <a:pt x="18484" y="9105"/>
                </a:cubicBezTo>
                <a:cubicBezTo>
                  <a:pt x="18491" y="9126"/>
                  <a:pt x="18499" y="9140"/>
                  <a:pt x="18499" y="9177"/>
                </a:cubicBezTo>
                <a:cubicBezTo>
                  <a:pt x="18490" y="9193"/>
                  <a:pt x="18481" y="9208"/>
                  <a:pt x="18472" y="9225"/>
                </a:cubicBezTo>
                <a:cubicBezTo>
                  <a:pt x="18475" y="9241"/>
                  <a:pt x="18478" y="9258"/>
                  <a:pt x="18481" y="9274"/>
                </a:cubicBezTo>
                <a:cubicBezTo>
                  <a:pt x="18484" y="9304"/>
                  <a:pt x="18471" y="9314"/>
                  <a:pt x="18474" y="9336"/>
                </a:cubicBezTo>
                <a:cubicBezTo>
                  <a:pt x="18476" y="9343"/>
                  <a:pt x="18474" y="9339"/>
                  <a:pt x="18478" y="9344"/>
                </a:cubicBezTo>
                <a:cubicBezTo>
                  <a:pt x="18480" y="9345"/>
                  <a:pt x="18482" y="9347"/>
                  <a:pt x="18484" y="9348"/>
                </a:cubicBezTo>
                <a:cubicBezTo>
                  <a:pt x="18488" y="9331"/>
                  <a:pt x="18494" y="9314"/>
                  <a:pt x="18499" y="9292"/>
                </a:cubicBezTo>
                <a:cubicBezTo>
                  <a:pt x="18501" y="9290"/>
                  <a:pt x="18504" y="9289"/>
                  <a:pt x="18506" y="9287"/>
                </a:cubicBezTo>
                <a:cubicBezTo>
                  <a:pt x="18509" y="9289"/>
                  <a:pt x="18512" y="9290"/>
                  <a:pt x="18514" y="9292"/>
                </a:cubicBezTo>
                <a:cubicBezTo>
                  <a:pt x="18511" y="9316"/>
                  <a:pt x="18508" y="9340"/>
                  <a:pt x="18504" y="9364"/>
                </a:cubicBezTo>
                <a:cubicBezTo>
                  <a:pt x="18507" y="9369"/>
                  <a:pt x="18509" y="9369"/>
                  <a:pt x="18512" y="9371"/>
                </a:cubicBezTo>
                <a:cubicBezTo>
                  <a:pt x="18513" y="9370"/>
                  <a:pt x="18551" y="9290"/>
                  <a:pt x="18551" y="9290"/>
                </a:cubicBezTo>
                <a:cubicBezTo>
                  <a:pt x="18564" y="9221"/>
                  <a:pt x="18556" y="9173"/>
                  <a:pt x="18583" y="9135"/>
                </a:cubicBezTo>
                <a:cubicBezTo>
                  <a:pt x="18582" y="9109"/>
                  <a:pt x="18569" y="9089"/>
                  <a:pt x="18558" y="9082"/>
                </a:cubicBezTo>
                <a:cubicBezTo>
                  <a:pt x="18561" y="9070"/>
                  <a:pt x="18567" y="9061"/>
                  <a:pt x="18573" y="9055"/>
                </a:cubicBezTo>
                <a:cubicBezTo>
                  <a:pt x="18572" y="9047"/>
                  <a:pt x="18571" y="9039"/>
                  <a:pt x="18569" y="9030"/>
                </a:cubicBezTo>
                <a:cubicBezTo>
                  <a:pt x="18548" y="9034"/>
                  <a:pt x="18535" y="9049"/>
                  <a:pt x="18522" y="9003"/>
                </a:cubicBezTo>
                <a:cubicBezTo>
                  <a:pt x="18516" y="9002"/>
                  <a:pt x="18511" y="9000"/>
                  <a:pt x="18504" y="8999"/>
                </a:cubicBezTo>
                <a:close/>
                <a:moveTo>
                  <a:pt x="5798" y="9213"/>
                </a:moveTo>
                <a:cubicBezTo>
                  <a:pt x="5795" y="9218"/>
                  <a:pt x="5791" y="9225"/>
                  <a:pt x="5787" y="9231"/>
                </a:cubicBezTo>
                <a:cubicBezTo>
                  <a:pt x="5787" y="9227"/>
                  <a:pt x="5786" y="9224"/>
                  <a:pt x="5787" y="9219"/>
                </a:cubicBezTo>
                <a:cubicBezTo>
                  <a:pt x="5791" y="9217"/>
                  <a:pt x="5795" y="9214"/>
                  <a:pt x="5798" y="9213"/>
                </a:cubicBezTo>
                <a:close/>
                <a:moveTo>
                  <a:pt x="5978" y="9286"/>
                </a:moveTo>
                <a:cubicBezTo>
                  <a:pt x="5978" y="9289"/>
                  <a:pt x="5978" y="9292"/>
                  <a:pt x="5978" y="9294"/>
                </a:cubicBezTo>
                <a:cubicBezTo>
                  <a:pt x="5978" y="9292"/>
                  <a:pt x="5978" y="9289"/>
                  <a:pt x="5978" y="9286"/>
                </a:cubicBezTo>
                <a:close/>
                <a:moveTo>
                  <a:pt x="5979" y="9286"/>
                </a:moveTo>
                <a:cubicBezTo>
                  <a:pt x="5981" y="9311"/>
                  <a:pt x="5987" y="9324"/>
                  <a:pt x="5991" y="9342"/>
                </a:cubicBezTo>
                <a:cubicBezTo>
                  <a:pt x="5992" y="9344"/>
                  <a:pt x="5994" y="9346"/>
                  <a:pt x="5995" y="9347"/>
                </a:cubicBezTo>
                <a:cubicBezTo>
                  <a:pt x="5990" y="9327"/>
                  <a:pt x="5985" y="9306"/>
                  <a:pt x="5979" y="9286"/>
                </a:cubicBezTo>
                <a:close/>
                <a:moveTo>
                  <a:pt x="5979" y="9286"/>
                </a:moveTo>
                <a:cubicBezTo>
                  <a:pt x="5980" y="9292"/>
                  <a:pt x="5980" y="9298"/>
                  <a:pt x="5981" y="9304"/>
                </a:cubicBezTo>
                <a:cubicBezTo>
                  <a:pt x="5981" y="9304"/>
                  <a:pt x="5982" y="9304"/>
                  <a:pt x="5983" y="9304"/>
                </a:cubicBezTo>
                <a:cubicBezTo>
                  <a:pt x="5982" y="9298"/>
                  <a:pt x="5980" y="9292"/>
                  <a:pt x="5979" y="9286"/>
                </a:cubicBezTo>
                <a:close/>
                <a:moveTo>
                  <a:pt x="17872" y="9899"/>
                </a:moveTo>
                <a:cubicBezTo>
                  <a:pt x="17863" y="9919"/>
                  <a:pt x="17853" y="9918"/>
                  <a:pt x="17840" y="9933"/>
                </a:cubicBezTo>
                <a:cubicBezTo>
                  <a:pt x="17825" y="9952"/>
                  <a:pt x="17773" y="10107"/>
                  <a:pt x="17779" y="10154"/>
                </a:cubicBezTo>
                <a:cubicBezTo>
                  <a:pt x="17787" y="10216"/>
                  <a:pt x="17807" y="10251"/>
                  <a:pt x="17819" y="10301"/>
                </a:cubicBezTo>
                <a:cubicBezTo>
                  <a:pt x="17835" y="10292"/>
                  <a:pt x="17835" y="10235"/>
                  <a:pt x="17841" y="10208"/>
                </a:cubicBezTo>
                <a:cubicBezTo>
                  <a:pt x="17849" y="10179"/>
                  <a:pt x="17863" y="10152"/>
                  <a:pt x="17868" y="10116"/>
                </a:cubicBezTo>
                <a:cubicBezTo>
                  <a:pt x="17878" y="10047"/>
                  <a:pt x="17877" y="9982"/>
                  <a:pt x="17895" y="9931"/>
                </a:cubicBezTo>
                <a:cubicBezTo>
                  <a:pt x="17889" y="9917"/>
                  <a:pt x="17881" y="9907"/>
                  <a:pt x="17872" y="9899"/>
                </a:cubicBezTo>
                <a:close/>
                <a:moveTo>
                  <a:pt x="17256" y="10497"/>
                </a:moveTo>
                <a:cubicBezTo>
                  <a:pt x="17243" y="10508"/>
                  <a:pt x="17226" y="10503"/>
                  <a:pt x="17218" y="10523"/>
                </a:cubicBezTo>
                <a:cubicBezTo>
                  <a:pt x="17212" y="10519"/>
                  <a:pt x="17206" y="10514"/>
                  <a:pt x="17200" y="10510"/>
                </a:cubicBezTo>
                <a:cubicBezTo>
                  <a:pt x="17189" y="10512"/>
                  <a:pt x="17187" y="10520"/>
                  <a:pt x="17186" y="10538"/>
                </a:cubicBezTo>
                <a:cubicBezTo>
                  <a:pt x="17159" y="10551"/>
                  <a:pt x="17161" y="10571"/>
                  <a:pt x="17138" y="10584"/>
                </a:cubicBezTo>
                <a:cubicBezTo>
                  <a:pt x="17127" y="10612"/>
                  <a:pt x="17134" y="10648"/>
                  <a:pt x="17136" y="10687"/>
                </a:cubicBezTo>
                <a:cubicBezTo>
                  <a:pt x="17152" y="10701"/>
                  <a:pt x="17169" y="10716"/>
                  <a:pt x="17185" y="10731"/>
                </a:cubicBezTo>
                <a:cubicBezTo>
                  <a:pt x="17190" y="10718"/>
                  <a:pt x="17195" y="10704"/>
                  <a:pt x="17200" y="10691"/>
                </a:cubicBezTo>
                <a:cubicBezTo>
                  <a:pt x="17213" y="10683"/>
                  <a:pt x="17226" y="10675"/>
                  <a:pt x="17240" y="10666"/>
                </a:cubicBezTo>
                <a:cubicBezTo>
                  <a:pt x="17247" y="10651"/>
                  <a:pt x="17240" y="10646"/>
                  <a:pt x="17242" y="10628"/>
                </a:cubicBezTo>
                <a:cubicBezTo>
                  <a:pt x="17245" y="10594"/>
                  <a:pt x="17263" y="10555"/>
                  <a:pt x="17278" y="10541"/>
                </a:cubicBezTo>
                <a:cubicBezTo>
                  <a:pt x="17279" y="10539"/>
                  <a:pt x="17279" y="10538"/>
                  <a:pt x="17279" y="10536"/>
                </a:cubicBezTo>
                <a:cubicBezTo>
                  <a:pt x="17274" y="10526"/>
                  <a:pt x="17269" y="10514"/>
                  <a:pt x="17264" y="10503"/>
                </a:cubicBezTo>
                <a:cubicBezTo>
                  <a:pt x="17261" y="10497"/>
                  <a:pt x="17261" y="10498"/>
                  <a:pt x="17256" y="10497"/>
                </a:cubicBezTo>
                <a:close/>
                <a:moveTo>
                  <a:pt x="17849" y="10797"/>
                </a:moveTo>
                <a:cubicBezTo>
                  <a:pt x="17804" y="10852"/>
                  <a:pt x="17829" y="11003"/>
                  <a:pt x="17815" y="11097"/>
                </a:cubicBezTo>
                <a:cubicBezTo>
                  <a:pt x="17806" y="11096"/>
                  <a:pt x="17798" y="11076"/>
                  <a:pt x="17788" y="11068"/>
                </a:cubicBezTo>
                <a:cubicBezTo>
                  <a:pt x="17787" y="11065"/>
                  <a:pt x="17786" y="11064"/>
                  <a:pt x="17784" y="11061"/>
                </a:cubicBezTo>
                <a:cubicBezTo>
                  <a:pt x="17783" y="11069"/>
                  <a:pt x="17780" y="11077"/>
                  <a:pt x="17779" y="11084"/>
                </a:cubicBezTo>
                <a:cubicBezTo>
                  <a:pt x="17801" y="11150"/>
                  <a:pt x="17771" y="11227"/>
                  <a:pt x="17821" y="11282"/>
                </a:cubicBezTo>
                <a:cubicBezTo>
                  <a:pt x="17824" y="11272"/>
                  <a:pt x="17827" y="11261"/>
                  <a:pt x="17830" y="11251"/>
                </a:cubicBezTo>
                <a:cubicBezTo>
                  <a:pt x="17847" y="11265"/>
                  <a:pt x="17858" y="11286"/>
                  <a:pt x="17877" y="11297"/>
                </a:cubicBezTo>
                <a:cubicBezTo>
                  <a:pt x="17879" y="11300"/>
                  <a:pt x="17880" y="11304"/>
                  <a:pt x="17882" y="11308"/>
                </a:cubicBezTo>
                <a:cubicBezTo>
                  <a:pt x="17879" y="11310"/>
                  <a:pt x="17875" y="11313"/>
                  <a:pt x="17873" y="11316"/>
                </a:cubicBezTo>
                <a:cubicBezTo>
                  <a:pt x="17865" y="11320"/>
                  <a:pt x="17856" y="11307"/>
                  <a:pt x="17849" y="11300"/>
                </a:cubicBezTo>
                <a:cubicBezTo>
                  <a:pt x="17844" y="11311"/>
                  <a:pt x="17839" y="11323"/>
                  <a:pt x="17833" y="11334"/>
                </a:cubicBezTo>
                <a:cubicBezTo>
                  <a:pt x="17837" y="11363"/>
                  <a:pt x="17853" y="11376"/>
                  <a:pt x="17864" y="11390"/>
                </a:cubicBezTo>
                <a:cubicBezTo>
                  <a:pt x="17880" y="11388"/>
                  <a:pt x="17882" y="11372"/>
                  <a:pt x="17894" y="11362"/>
                </a:cubicBezTo>
                <a:cubicBezTo>
                  <a:pt x="17919" y="11364"/>
                  <a:pt x="17931" y="11395"/>
                  <a:pt x="17945" y="11419"/>
                </a:cubicBezTo>
                <a:cubicBezTo>
                  <a:pt x="17958" y="11462"/>
                  <a:pt x="17966" y="11514"/>
                  <a:pt x="17987" y="11543"/>
                </a:cubicBezTo>
                <a:cubicBezTo>
                  <a:pt x="17995" y="11525"/>
                  <a:pt x="18003" y="11489"/>
                  <a:pt x="18002" y="11456"/>
                </a:cubicBezTo>
                <a:cubicBezTo>
                  <a:pt x="18003" y="11459"/>
                  <a:pt x="18005" y="11462"/>
                  <a:pt x="18005" y="11465"/>
                </a:cubicBezTo>
                <a:cubicBezTo>
                  <a:pt x="18015" y="11471"/>
                  <a:pt x="18025" y="11476"/>
                  <a:pt x="18035" y="11482"/>
                </a:cubicBezTo>
                <a:cubicBezTo>
                  <a:pt x="18037" y="11479"/>
                  <a:pt x="18039" y="11477"/>
                  <a:pt x="18042" y="11474"/>
                </a:cubicBezTo>
                <a:cubicBezTo>
                  <a:pt x="18033" y="11451"/>
                  <a:pt x="18025" y="11426"/>
                  <a:pt x="18016" y="11402"/>
                </a:cubicBezTo>
                <a:cubicBezTo>
                  <a:pt x="18023" y="11395"/>
                  <a:pt x="18030" y="11388"/>
                  <a:pt x="18038" y="11380"/>
                </a:cubicBezTo>
                <a:cubicBezTo>
                  <a:pt x="18038" y="11378"/>
                  <a:pt x="18038" y="11376"/>
                  <a:pt x="18038" y="11375"/>
                </a:cubicBezTo>
                <a:cubicBezTo>
                  <a:pt x="18037" y="11373"/>
                  <a:pt x="18037" y="11371"/>
                  <a:pt x="18037" y="11369"/>
                </a:cubicBezTo>
                <a:cubicBezTo>
                  <a:pt x="18029" y="11364"/>
                  <a:pt x="18021" y="11359"/>
                  <a:pt x="18014" y="11354"/>
                </a:cubicBezTo>
                <a:cubicBezTo>
                  <a:pt x="18009" y="11365"/>
                  <a:pt x="18005" y="11374"/>
                  <a:pt x="18000" y="11384"/>
                </a:cubicBezTo>
                <a:cubicBezTo>
                  <a:pt x="17998" y="11384"/>
                  <a:pt x="17995" y="11384"/>
                  <a:pt x="17992" y="11383"/>
                </a:cubicBezTo>
                <a:cubicBezTo>
                  <a:pt x="17980" y="11372"/>
                  <a:pt x="17977" y="11335"/>
                  <a:pt x="17970" y="11316"/>
                </a:cubicBezTo>
                <a:cubicBezTo>
                  <a:pt x="17964" y="11314"/>
                  <a:pt x="17958" y="11312"/>
                  <a:pt x="17953" y="11310"/>
                </a:cubicBezTo>
                <a:cubicBezTo>
                  <a:pt x="17945" y="11320"/>
                  <a:pt x="17937" y="11336"/>
                  <a:pt x="17935" y="11357"/>
                </a:cubicBezTo>
                <a:cubicBezTo>
                  <a:pt x="17895" y="11350"/>
                  <a:pt x="17898" y="11244"/>
                  <a:pt x="17880" y="11197"/>
                </a:cubicBezTo>
                <a:cubicBezTo>
                  <a:pt x="17881" y="11178"/>
                  <a:pt x="17888" y="11159"/>
                  <a:pt x="17888" y="11123"/>
                </a:cubicBezTo>
                <a:cubicBezTo>
                  <a:pt x="17921" y="11083"/>
                  <a:pt x="17945" y="11055"/>
                  <a:pt x="17952" y="10968"/>
                </a:cubicBezTo>
                <a:cubicBezTo>
                  <a:pt x="17932" y="10924"/>
                  <a:pt x="17917" y="10908"/>
                  <a:pt x="17937" y="10840"/>
                </a:cubicBezTo>
                <a:cubicBezTo>
                  <a:pt x="17937" y="10832"/>
                  <a:pt x="17937" y="10822"/>
                  <a:pt x="17937" y="10814"/>
                </a:cubicBezTo>
                <a:cubicBezTo>
                  <a:pt x="17922" y="10812"/>
                  <a:pt x="17919" y="10839"/>
                  <a:pt x="17899" y="10829"/>
                </a:cubicBezTo>
                <a:cubicBezTo>
                  <a:pt x="17883" y="10822"/>
                  <a:pt x="17870" y="10804"/>
                  <a:pt x="17849" y="10797"/>
                </a:cubicBezTo>
                <a:close/>
                <a:moveTo>
                  <a:pt x="5494" y="11083"/>
                </a:moveTo>
                <a:cubicBezTo>
                  <a:pt x="5476" y="11086"/>
                  <a:pt x="5458" y="11090"/>
                  <a:pt x="5440" y="11094"/>
                </a:cubicBezTo>
                <a:cubicBezTo>
                  <a:pt x="5409" y="11107"/>
                  <a:pt x="5383" y="11139"/>
                  <a:pt x="5357" y="11157"/>
                </a:cubicBezTo>
                <a:cubicBezTo>
                  <a:pt x="5350" y="11176"/>
                  <a:pt x="5350" y="11188"/>
                  <a:pt x="5353" y="11214"/>
                </a:cubicBezTo>
                <a:cubicBezTo>
                  <a:pt x="5348" y="11222"/>
                  <a:pt x="5343" y="11230"/>
                  <a:pt x="5338" y="11238"/>
                </a:cubicBezTo>
                <a:cubicBezTo>
                  <a:pt x="5337" y="11241"/>
                  <a:pt x="5335" y="11245"/>
                  <a:pt x="5333" y="11249"/>
                </a:cubicBezTo>
                <a:cubicBezTo>
                  <a:pt x="5354" y="11267"/>
                  <a:pt x="5377" y="11234"/>
                  <a:pt x="5379" y="11204"/>
                </a:cubicBezTo>
                <a:cubicBezTo>
                  <a:pt x="5388" y="11196"/>
                  <a:pt x="5406" y="11204"/>
                  <a:pt x="5416" y="11195"/>
                </a:cubicBezTo>
                <a:cubicBezTo>
                  <a:pt x="5453" y="11163"/>
                  <a:pt x="5453" y="11116"/>
                  <a:pt x="5519" y="11145"/>
                </a:cubicBezTo>
                <a:cubicBezTo>
                  <a:pt x="5520" y="11149"/>
                  <a:pt x="5522" y="11153"/>
                  <a:pt x="5523" y="11157"/>
                </a:cubicBezTo>
                <a:cubicBezTo>
                  <a:pt x="5523" y="11158"/>
                  <a:pt x="5523" y="11160"/>
                  <a:pt x="5523" y="11161"/>
                </a:cubicBezTo>
                <a:cubicBezTo>
                  <a:pt x="5513" y="11166"/>
                  <a:pt x="5503" y="11171"/>
                  <a:pt x="5493" y="11177"/>
                </a:cubicBezTo>
                <a:cubicBezTo>
                  <a:pt x="5516" y="11211"/>
                  <a:pt x="5550" y="11191"/>
                  <a:pt x="5584" y="11210"/>
                </a:cubicBezTo>
                <a:cubicBezTo>
                  <a:pt x="5609" y="11224"/>
                  <a:pt x="5629" y="11255"/>
                  <a:pt x="5657" y="11268"/>
                </a:cubicBezTo>
                <a:cubicBezTo>
                  <a:pt x="5672" y="11275"/>
                  <a:pt x="5702" y="11260"/>
                  <a:pt x="5714" y="11276"/>
                </a:cubicBezTo>
                <a:cubicBezTo>
                  <a:pt x="5724" y="11286"/>
                  <a:pt x="5728" y="11326"/>
                  <a:pt x="5729" y="11351"/>
                </a:cubicBezTo>
                <a:cubicBezTo>
                  <a:pt x="5751" y="11375"/>
                  <a:pt x="5794" y="11375"/>
                  <a:pt x="5814" y="11402"/>
                </a:cubicBezTo>
                <a:cubicBezTo>
                  <a:pt x="5813" y="11429"/>
                  <a:pt x="5803" y="11446"/>
                  <a:pt x="5792" y="11454"/>
                </a:cubicBezTo>
                <a:cubicBezTo>
                  <a:pt x="5788" y="11463"/>
                  <a:pt x="5784" y="11471"/>
                  <a:pt x="5780" y="11479"/>
                </a:cubicBezTo>
                <a:cubicBezTo>
                  <a:pt x="5780" y="11480"/>
                  <a:pt x="5780" y="11481"/>
                  <a:pt x="5780" y="11482"/>
                </a:cubicBezTo>
                <a:cubicBezTo>
                  <a:pt x="5811" y="11484"/>
                  <a:pt x="5838" y="11459"/>
                  <a:pt x="5865" y="11466"/>
                </a:cubicBezTo>
                <a:cubicBezTo>
                  <a:pt x="5887" y="11470"/>
                  <a:pt x="5908" y="11475"/>
                  <a:pt x="5930" y="11479"/>
                </a:cubicBezTo>
                <a:cubicBezTo>
                  <a:pt x="5952" y="11472"/>
                  <a:pt x="5973" y="11455"/>
                  <a:pt x="6000" y="11450"/>
                </a:cubicBezTo>
                <a:cubicBezTo>
                  <a:pt x="6001" y="11449"/>
                  <a:pt x="6000" y="11447"/>
                  <a:pt x="6001" y="11446"/>
                </a:cubicBezTo>
                <a:cubicBezTo>
                  <a:pt x="5974" y="11409"/>
                  <a:pt x="5958" y="11385"/>
                  <a:pt x="5908" y="11387"/>
                </a:cubicBezTo>
                <a:cubicBezTo>
                  <a:pt x="5906" y="11384"/>
                  <a:pt x="5904" y="11381"/>
                  <a:pt x="5903" y="11378"/>
                </a:cubicBezTo>
                <a:cubicBezTo>
                  <a:pt x="5906" y="11367"/>
                  <a:pt x="5909" y="11357"/>
                  <a:pt x="5911" y="11346"/>
                </a:cubicBezTo>
                <a:cubicBezTo>
                  <a:pt x="5894" y="11313"/>
                  <a:pt x="5833" y="11310"/>
                  <a:pt x="5806" y="11290"/>
                </a:cubicBezTo>
                <a:cubicBezTo>
                  <a:pt x="5798" y="11272"/>
                  <a:pt x="5789" y="11253"/>
                  <a:pt x="5780" y="11235"/>
                </a:cubicBezTo>
                <a:cubicBezTo>
                  <a:pt x="5751" y="11199"/>
                  <a:pt x="5710" y="11205"/>
                  <a:pt x="5675" y="11177"/>
                </a:cubicBezTo>
                <a:cubicBezTo>
                  <a:pt x="5662" y="11155"/>
                  <a:pt x="5648" y="11133"/>
                  <a:pt x="5634" y="11112"/>
                </a:cubicBezTo>
                <a:cubicBezTo>
                  <a:pt x="5628" y="11112"/>
                  <a:pt x="5622" y="11112"/>
                  <a:pt x="5616" y="11112"/>
                </a:cubicBezTo>
                <a:cubicBezTo>
                  <a:pt x="5580" y="11097"/>
                  <a:pt x="5542" y="11081"/>
                  <a:pt x="5494" y="11083"/>
                </a:cubicBezTo>
                <a:close/>
                <a:moveTo>
                  <a:pt x="17949" y="11368"/>
                </a:moveTo>
                <a:cubicBezTo>
                  <a:pt x="17959" y="11368"/>
                  <a:pt x="17971" y="11382"/>
                  <a:pt x="17981" y="11398"/>
                </a:cubicBezTo>
                <a:cubicBezTo>
                  <a:pt x="17977" y="11396"/>
                  <a:pt x="17972" y="11396"/>
                  <a:pt x="17965" y="11396"/>
                </a:cubicBezTo>
                <a:cubicBezTo>
                  <a:pt x="17961" y="11397"/>
                  <a:pt x="17957" y="11397"/>
                  <a:pt x="17952" y="11398"/>
                </a:cubicBezTo>
                <a:cubicBezTo>
                  <a:pt x="17951" y="11390"/>
                  <a:pt x="17949" y="11383"/>
                  <a:pt x="17948" y="11375"/>
                </a:cubicBezTo>
                <a:cubicBezTo>
                  <a:pt x="17948" y="11372"/>
                  <a:pt x="17949" y="11370"/>
                  <a:pt x="17949" y="11368"/>
                </a:cubicBezTo>
                <a:close/>
                <a:moveTo>
                  <a:pt x="6062" y="11382"/>
                </a:moveTo>
                <a:cubicBezTo>
                  <a:pt x="6056" y="11384"/>
                  <a:pt x="6050" y="11386"/>
                  <a:pt x="6044" y="11388"/>
                </a:cubicBezTo>
                <a:cubicBezTo>
                  <a:pt x="6043" y="11391"/>
                  <a:pt x="6042" y="11394"/>
                  <a:pt x="6040" y="11398"/>
                </a:cubicBezTo>
                <a:cubicBezTo>
                  <a:pt x="6040" y="11401"/>
                  <a:pt x="6040" y="11405"/>
                  <a:pt x="6040" y="11408"/>
                </a:cubicBezTo>
                <a:cubicBezTo>
                  <a:pt x="6054" y="11422"/>
                  <a:pt x="6083" y="11421"/>
                  <a:pt x="6090" y="11447"/>
                </a:cubicBezTo>
                <a:cubicBezTo>
                  <a:pt x="6100" y="11478"/>
                  <a:pt x="6074" y="11506"/>
                  <a:pt x="6111" y="11532"/>
                </a:cubicBezTo>
                <a:cubicBezTo>
                  <a:pt x="6112" y="11535"/>
                  <a:pt x="6113" y="11537"/>
                  <a:pt x="6114" y="11539"/>
                </a:cubicBezTo>
                <a:cubicBezTo>
                  <a:pt x="6086" y="11572"/>
                  <a:pt x="6024" y="11555"/>
                  <a:pt x="5989" y="11535"/>
                </a:cubicBezTo>
                <a:cubicBezTo>
                  <a:pt x="5986" y="11541"/>
                  <a:pt x="5984" y="11547"/>
                  <a:pt x="5981" y="11553"/>
                </a:cubicBezTo>
                <a:cubicBezTo>
                  <a:pt x="5981" y="11554"/>
                  <a:pt x="5980" y="11556"/>
                  <a:pt x="5979" y="11557"/>
                </a:cubicBezTo>
                <a:cubicBezTo>
                  <a:pt x="5987" y="11584"/>
                  <a:pt x="6001" y="11589"/>
                  <a:pt x="6013" y="11607"/>
                </a:cubicBezTo>
                <a:cubicBezTo>
                  <a:pt x="6024" y="11602"/>
                  <a:pt x="6025" y="11588"/>
                  <a:pt x="6035" y="11584"/>
                </a:cubicBezTo>
                <a:cubicBezTo>
                  <a:pt x="6052" y="11588"/>
                  <a:pt x="6068" y="11592"/>
                  <a:pt x="6085" y="11596"/>
                </a:cubicBezTo>
                <a:cubicBezTo>
                  <a:pt x="6102" y="11593"/>
                  <a:pt x="6119" y="11591"/>
                  <a:pt x="6136" y="11589"/>
                </a:cubicBezTo>
                <a:cubicBezTo>
                  <a:pt x="6147" y="11608"/>
                  <a:pt x="6160" y="11650"/>
                  <a:pt x="6175" y="11658"/>
                </a:cubicBezTo>
                <a:cubicBezTo>
                  <a:pt x="6185" y="11612"/>
                  <a:pt x="6196" y="11578"/>
                  <a:pt x="6220" y="11557"/>
                </a:cubicBezTo>
                <a:cubicBezTo>
                  <a:pt x="6224" y="11567"/>
                  <a:pt x="6229" y="11577"/>
                  <a:pt x="6234" y="11586"/>
                </a:cubicBezTo>
                <a:cubicBezTo>
                  <a:pt x="6250" y="11600"/>
                  <a:pt x="6258" y="11562"/>
                  <a:pt x="6272" y="11555"/>
                </a:cubicBezTo>
                <a:cubicBezTo>
                  <a:pt x="6282" y="11550"/>
                  <a:pt x="6288" y="11559"/>
                  <a:pt x="6293" y="11562"/>
                </a:cubicBezTo>
                <a:cubicBezTo>
                  <a:pt x="6321" y="11538"/>
                  <a:pt x="6333" y="11580"/>
                  <a:pt x="6347" y="11596"/>
                </a:cubicBezTo>
                <a:cubicBezTo>
                  <a:pt x="6355" y="11584"/>
                  <a:pt x="6360" y="11566"/>
                  <a:pt x="6366" y="11550"/>
                </a:cubicBezTo>
                <a:cubicBezTo>
                  <a:pt x="6343" y="11489"/>
                  <a:pt x="6277" y="11489"/>
                  <a:pt x="6264" y="11416"/>
                </a:cubicBezTo>
                <a:cubicBezTo>
                  <a:pt x="6244" y="11409"/>
                  <a:pt x="6218" y="11418"/>
                  <a:pt x="6207" y="11382"/>
                </a:cubicBezTo>
                <a:cubicBezTo>
                  <a:pt x="6197" y="11383"/>
                  <a:pt x="6194" y="11393"/>
                  <a:pt x="6187" y="11396"/>
                </a:cubicBezTo>
                <a:cubicBezTo>
                  <a:pt x="6179" y="11395"/>
                  <a:pt x="6170" y="11392"/>
                  <a:pt x="6162" y="11390"/>
                </a:cubicBezTo>
                <a:cubicBezTo>
                  <a:pt x="6153" y="11394"/>
                  <a:pt x="6148" y="11410"/>
                  <a:pt x="6134" y="11406"/>
                </a:cubicBezTo>
                <a:cubicBezTo>
                  <a:pt x="6110" y="11399"/>
                  <a:pt x="6091" y="11382"/>
                  <a:pt x="6062" y="11382"/>
                </a:cubicBezTo>
                <a:close/>
                <a:moveTo>
                  <a:pt x="18139" y="11395"/>
                </a:moveTo>
                <a:cubicBezTo>
                  <a:pt x="18126" y="11399"/>
                  <a:pt x="18114" y="11404"/>
                  <a:pt x="18101" y="11408"/>
                </a:cubicBezTo>
                <a:cubicBezTo>
                  <a:pt x="18104" y="11443"/>
                  <a:pt x="18124" y="11464"/>
                  <a:pt x="18139" y="11474"/>
                </a:cubicBezTo>
                <a:cubicBezTo>
                  <a:pt x="18143" y="11495"/>
                  <a:pt x="18142" y="11506"/>
                  <a:pt x="18141" y="11530"/>
                </a:cubicBezTo>
                <a:cubicBezTo>
                  <a:pt x="18150" y="11541"/>
                  <a:pt x="18158" y="11552"/>
                  <a:pt x="18167" y="11563"/>
                </a:cubicBezTo>
                <a:cubicBezTo>
                  <a:pt x="18169" y="11562"/>
                  <a:pt x="18170" y="11561"/>
                  <a:pt x="18172" y="11560"/>
                </a:cubicBezTo>
                <a:cubicBezTo>
                  <a:pt x="18173" y="11559"/>
                  <a:pt x="18175" y="11558"/>
                  <a:pt x="18177" y="11557"/>
                </a:cubicBezTo>
                <a:cubicBezTo>
                  <a:pt x="18172" y="11512"/>
                  <a:pt x="18167" y="11437"/>
                  <a:pt x="18156" y="11400"/>
                </a:cubicBezTo>
                <a:cubicBezTo>
                  <a:pt x="18150" y="11398"/>
                  <a:pt x="18145" y="11397"/>
                  <a:pt x="18139" y="11395"/>
                </a:cubicBezTo>
                <a:close/>
                <a:moveTo>
                  <a:pt x="6471" y="11682"/>
                </a:moveTo>
                <a:cubicBezTo>
                  <a:pt x="6469" y="11687"/>
                  <a:pt x="6467" y="11691"/>
                  <a:pt x="6464" y="11695"/>
                </a:cubicBezTo>
                <a:cubicBezTo>
                  <a:pt x="6468" y="11711"/>
                  <a:pt x="6466" y="11731"/>
                  <a:pt x="6467" y="11748"/>
                </a:cubicBezTo>
                <a:cubicBezTo>
                  <a:pt x="6486" y="11757"/>
                  <a:pt x="6492" y="11742"/>
                  <a:pt x="6512" y="11741"/>
                </a:cubicBezTo>
                <a:cubicBezTo>
                  <a:pt x="6537" y="11740"/>
                  <a:pt x="6554" y="11756"/>
                  <a:pt x="6559" y="11703"/>
                </a:cubicBezTo>
                <a:cubicBezTo>
                  <a:pt x="6542" y="11678"/>
                  <a:pt x="6496" y="11683"/>
                  <a:pt x="6471" y="11682"/>
                </a:cubicBezTo>
                <a:close/>
                <a:moveTo>
                  <a:pt x="5833" y="11683"/>
                </a:moveTo>
                <a:cubicBezTo>
                  <a:pt x="5828" y="11690"/>
                  <a:pt x="5823" y="11696"/>
                  <a:pt x="5818" y="11703"/>
                </a:cubicBezTo>
                <a:cubicBezTo>
                  <a:pt x="5822" y="11714"/>
                  <a:pt x="5873" y="11772"/>
                  <a:pt x="5886" y="11765"/>
                </a:cubicBezTo>
                <a:cubicBezTo>
                  <a:pt x="5896" y="11760"/>
                  <a:pt x="5899" y="11733"/>
                  <a:pt x="5917" y="11741"/>
                </a:cubicBezTo>
                <a:cubicBezTo>
                  <a:pt x="5928" y="11746"/>
                  <a:pt x="5930" y="11757"/>
                  <a:pt x="5944" y="11757"/>
                </a:cubicBezTo>
                <a:cubicBezTo>
                  <a:pt x="5944" y="11753"/>
                  <a:pt x="5945" y="11748"/>
                  <a:pt x="5946" y="11744"/>
                </a:cubicBezTo>
                <a:cubicBezTo>
                  <a:pt x="5930" y="11699"/>
                  <a:pt x="5873" y="11681"/>
                  <a:pt x="5833" y="11683"/>
                </a:cubicBezTo>
                <a:close/>
                <a:moveTo>
                  <a:pt x="17705" y="11694"/>
                </a:moveTo>
                <a:cubicBezTo>
                  <a:pt x="17679" y="11761"/>
                  <a:pt x="17636" y="11788"/>
                  <a:pt x="17617" y="11867"/>
                </a:cubicBezTo>
                <a:cubicBezTo>
                  <a:pt x="17617" y="11868"/>
                  <a:pt x="17617" y="11869"/>
                  <a:pt x="17617" y="11870"/>
                </a:cubicBezTo>
                <a:cubicBezTo>
                  <a:pt x="17624" y="11869"/>
                  <a:pt x="17661" y="11832"/>
                  <a:pt x="17664" y="11824"/>
                </a:cubicBezTo>
                <a:cubicBezTo>
                  <a:pt x="17668" y="11810"/>
                  <a:pt x="17671" y="11797"/>
                  <a:pt x="17675" y="11783"/>
                </a:cubicBezTo>
                <a:cubicBezTo>
                  <a:pt x="17688" y="11767"/>
                  <a:pt x="17698" y="11771"/>
                  <a:pt x="17705" y="11744"/>
                </a:cubicBezTo>
                <a:cubicBezTo>
                  <a:pt x="17709" y="11731"/>
                  <a:pt x="17709" y="11705"/>
                  <a:pt x="17705" y="11694"/>
                </a:cubicBezTo>
                <a:close/>
                <a:moveTo>
                  <a:pt x="17820" y="11694"/>
                </a:moveTo>
                <a:cubicBezTo>
                  <a:pt x="17818" y="11696"/>
                  <a:pt x="17817" y="11699"/>
                  <a:pt x="17815" y="11700"/>
                </a:cubicBezTo>
                <a:cubicBezTo>
                  <a:pt x="17809" y="11720"/>
                  <a:pt x="17811" y="11741"/>
                  <a:pt x="17806" y="11768"/>
                </a:cubicBezTo>
                <a:cubicBezTo>
                  <a:pt x="17802" y="11793"/>
                  <a:pt x="17787" y="11813"/>
                  <a:pt x="17779" y="11832"/>
                </a:cubicBezTo>
                <a:cubicBezTo>
                  <a:pt x="17779" y="11833"/>
                  <a:pt x="17779" y="11832"/>
                  <a:pt x="17779" y="11834"/>
                </a:cubicBezTo>
                <a:cubicBezTo>
                  <a:pt x="17782" y="11835"/>
                  <a:pt x="17785" y="11838"/>
                  <a:pt x="17788" y="11840"/>
                </a:cubicBezTo>
                <a:cubicBezTo>
                  <a:pt x="17804" y="11820"/>
                  <a:pt x="17820" y="11799"/>
                  <a:pt x="17836" y="11780"/>
                </a:cubicBezTo>
                <a:cubicBezTo>
                  <a:pt x="17831" y="11760"/>
                  <a:pt x="17825" y="11740"/>
                  <a:pt x="17820" y="11721"/>
                </a:cubicBezTo>
                <a:cubicBezTo>
                  <a:pt x="17822" y="11716"/>
                  <a:pt x="17824" y="11710"/>
                  <a:pt x="17826" y="11705"/>
                </a:cubicBezTo>
                <a:cubicBezTo>
                  <a:pt x="17824" y="11700"/>
                  <a:pt x="17823" y="11698"/>
                  <a:pt x="17820" y="11694"/>
                </a:cubicBezTo>
                <a:close/>
                <a:moveTo>
                  <a:pt x="17948" y="11694"/>
                </a:moveTo>
                <a:cubicBezTo>
                  <a:pt x="17946" y="11746"/>
                  <a:pt x="17943" y="11798"/>
                  <a:pt x="17940" y="11849"/>
                </a:cubicBezTo>
                <a:cubicBezTo>
                  <a:pt x="17940" y="11850"/>
                  <a:pt x="17940" y="11851"/>
                  <a:pt x="17940" y="11852"/>
                </a:cubicBezTo>
                <a:cubicBezTo>
                  <a:pt x="17948" y="11881"/>
                  <a:pt x="17967" y="11903"/>
                  <a:pt x="17980" y="11921"/>
                </a:cubicBezTo>
                <a:cubicBezTo>
                  <a:pt x="17990" y="11918"/>
                  <a:pt x="17990" y="11912"/>
                  <a:pt x="17994" y="11901"/>
                </a:cubicBezTo>
                <a:cubicBezTo>
                  <a:pt x="17981" y="11851"/>
                  <a:pt x="17987" y="11817"/>
                  <a:pt x="17994" y="11783"/>
                </a:cubicBezTo>
                <a:cubicBezTo>
                  <a:pt x="17999" y="11773"/>
                  <a:pt x="18006" y="11765"/>
                  <a:pt x="18008" y="11752"/>
                </a:cubicBezTo>
                <a:cubicBezTo>
                  <a:pt x="18008" y="11742"/>
                  <a:pt x="18008" y="11731"/>
                  <a:pt x="18008" y="11721"/>
                </a:cubicBezTo>
                <a:cubicBezTo>
                  <a:pt x="18005" y="11722"/>
                  <a:pt x="18004" y="11720"/>
                  <a:pt x="18002" y="11721"/>
                </a:cubicBezTo>
                <a:cubicBezTo>
                  <a:pt x="18002" y="11715"/>
                  <a:pt x="18004" y="11711"/>
                  <a:pt x="18004" y="11705"/>
                </a:cubicBezTo>
                <a:cubicBezTo>
                  <a:pt x="18000" y="11702"/>
                  <a:pt x="17995" y="11698"/>
                  <a:pt x="17991" y="11694"/>
                </a:cubicBezTo>
                <a:cubicBezTo>
                  <a:pt x="17988" y="11698"/>
                  <a:pt x="17984" y="11702"/>
                  <a:pt x="17980" y="11705"/>
                </a:cubicBezTo>
                <a:cubicBezTo>
                  <a:pt x="17979" y="11712"/>
                  <a:pt x="17979" y="11717"/>
                  <a:pt x="17978" y="11723"/>
                </a:cubicBezTo>
                <a:cubicBezTo>
                  <a:pt x="17968" y="11720"/>
                  <a:pt x="17959" y="11710"/>
                  <a:pt x="17948" y="11694"/>
                </a:cubicBezTo>
                <a:close/>
                <a:moveTo>
                  <a:pt x="15383" y="11996"/>
                </a:moveTo>
                <a:cubicBezTo>
                  <a:pt x="15387" y="12027"/>
                  <a:pt x="15383" y="12040"/>
                  <a:pt x="15378" y="12071"/>
                </a:cubicBezTo>
                <a:cubicBezTo>
                  <a:pt x="15371" y="12082"/>
                  <a:pt x="15369" y="12089"/>
                  <a:pt x="15357" y="12082"/>
                </a:cubicBezTo>
                <a:cubicBezTo>
                  <a:pt x="15356" y="12089"/>
                  <a:pt x="15355" y="12094"/>
                  <a:pt x="15354" y="12100"/>
                </a:cubicBezTo>
                <a:cubicBezTo>
                  <a:pt x="15357" y="12107"/>
                  <a:pt x="15361" y="12114"/>
                  <a:pt x="15364" y="12121"/>
                </a:cubicBezTo>
                <a:cubicBezTo>
                  <a:pt x="15358" y="12146"/>
                  <a:pt x="15362" y="12152"/>
                  <a:pt x="15365" y="12177"/>
                </a:cubicBezTo>
                <a:cubicBezTo>
                  <a:pt x="15365" y="12220"/>
                  <a:pt x="15365" y="12263"/>
                  <a:pt x="15365" y="12306"/>
                </a:cubicBezTo>
                <a:cubicBezTo>
                  <a:pt x="15370" y="12347"/>
                  <a:pt x="15381" y="12414"/>
                  <a:pt x="15397" y="12437"/>
                </a:cubicBezTo>
                <a:cubicBezTo>
                  <a:pt x="15442" y="12454"/>
                  <a:pt x="15501" y="12381"/>
                  <a:pt x="15495" y="12301"/>
                </a:cubicBezTo>
                <a:cubicBezTo>
                  <a:pt x="15493" y="12265"/>
                  <a:pt x="15475" y="12235"/>
                  <a:pt x="15468" y="12206"/>
                </a:cubicBezTo>
                <a:cubicBezTo>
                  <a:pt x="15460" y="12176"/>
                  <a:pt x="15462" y="12160"/>
                  <a:pt x="15445" y="12147"/>
                </a:cubicBezTo>
                <a:cubicBezTo>
                  <a:pt x="15438" y="12072"/>
                  <a:pt x="15416" y="12035"/>
                  <a:pt x="15383" y="11996"/>
                </a:cubicBezTo>
                <a:close/>
                <a:moveTo>
                  <a:pt x="18172" y="11996"/>
                </a:moveTo>
                <a:cubicBezTo>
                  <a:pt x="18170" y="12000"/>
                  <a:pt x="18168" y="12004"/>
                  <a:pt x="18166" y="12008"/>
                </a:cubicBezTo>
                <a:cubicBezTo>
                  <a:pt x="18169" y="12028"/>
                  <a:pt x="18178" y="12060"/>
                  <a:pt x="18172" y="12085"/>
                </a:cubicBezTo>
                <a:cubicBezTo>
                  <a:pt x="18165" y="12100"/>
                  <a:pt x="18154" y="12081"/>
                  <a:pt x="18147" y="12110"/>
                </a:cubicBezTo>
                <a:cubicBezTo>
                  <a:pt x="18145" y="12112"/>
                  <a:pt x="18144" y="12114"/>
                  <a:pt x="18143" y="12116"/>
                </a:cubicBezTo>
                <a:cubicBezTo>
                  <a:pt x="18141" y="12108"/>
                  <a:pt x="18138" y="12101"/>
                  <a:pt x="18136" y="12093"/>
                </a:cubicBezTo>
                <a:cubicBezTo>
                  <a:pt x="18124" y="12102"/>
                  <a:pt x="18124" y="12128"/>
                  <a:pt x="18122" y="12154"/>
                </a:cubicBezTo>
                <a:cubicBezTo>
                  <a:pt x="18117" y="12148"/>
                  <a:pt x="18111" y="12142"/>
                  <a:pt x="18105" y="12136"/>
                </a:cubicBezTo>
                <a:cubicBezTo>
                  <a:pt x="18094" y="12147"/>
                  <a:pt x="18090" y="12158"/>
                  <a:pt x="18088" y="12184"/>
                </a:cubicBezTo>
                <a:cubicBezTo>
                  <a:pt x="18081" y="12192"/>
                  <a:pt x="18066" y="12196"/>
                  <a:pt x="18059" y="12202"/>
                </a:cubicBezTo>
                <a:cubicBezTo>
                  <a:pt x="18054" y="12176"/>
                  <a:pt x="18054" y="12164"/>
                  <a:pt x="18047" y="12146"/>
                </a:cubicBezTo>
                <a:cubicBezTo>
                  <a:pt x="18020" y="12149"/>
                  <a:pt x="18008" y="12160"/>
                  <a:pt x="17998" y="12195"/>
                </a:cubicBezTo>
                <a:cubicBezTo>
                  <a:pt x="17992" y="12210"/>
                  <a:pt x="17975" y="12205"/>
                  <a:pt x="17967" y="12216"/>
                </a:cubicBezTo>
                <a:cubicBezTo>
                  <a:pt x="17952" y="12234"/>
                  <a:pt x="17946" y="12286"/>
                  <a:pt x="17940" y="12319"/>
                </a:cubicBezTo>
                <a:cubicBezTo>
                  <a:pt x="17943" y="12328"/>
                  <a:pt x="17943" y="12329"/>
                  <a:pt x="17948" y="12333"/>
                </a:cubicBezTo>
                <a:cubicBezTo>
                  <a:pt x="17950" y="12335"/>
                  <a:pt x="17952" y="12336"/>
                  <a:pt x="17954" y="12338"/>
                </a:cubicBezTo>
                <a:cubicBezTo>
                  <a:pt x="17960" y="12305"/>
                  <a:pt x="17975" y="12239"/>
                  <a:pt x="17994" y="12231"/>
                </a:cubicBezTo>
                <a:cubicBezTo>
                  <a:pt x="17996" y="12235"/>
                  <a:pt x="17997" y="12237"/>
                  <a:pt x="17998" y="12241"/>
                </a:cubicBezTo>
                <a:cubicBezTo>
                  <a:pt x="17998" y="12251"/>
                  <a:pt x="17998" y="12262"/>
                  <a:pt x="17998" y="12272"/>
                </a:cubicBezTo>
                <a:cubicBezTo>
                  <a:pt x="18020" y="12272"/>
                  <a:pt x="18030" y="12261"/>
                  <a:pt x="18037" y="12234"/>
                </a:cubicBezTo>
                <a:cubicBezTo>
                  <a:pt x="18051" y="12230"/>
                  <a:pt x="18061" y="12240"/>
                  <a:pt x="18070" y="12252"/>
                </a:cubicBezTo>
                <a:cubicBezTo>
                  <a:pt x="18102" y="12293"/>
                  <a:pt x="18062" y="12314"/>
                  <a:pt x="18072" y="12380"/>
                </a:cubicBezTo>
                <a:cubicBezTo>
                  <a:pt x="18077" y="12420"/>
                  <a:pt x="18110" y="12461"/>
                  <a:pt x="18133" y="12468"/>
                </a:cubicBezTo>
                <a:cubicBezTo>
                  <a:pt x="18136" y="12457"/>
                  <a:pt x="18138" y="12446"/>
                  <a:pt x="18141" y="12434"/>
                </a:cubicBezTo>
                <a:cubicBezTo>
                  <a:pt x="18145" y="12435"/>
                  <a:pt x="18149" y="12436"/>
                  <a:pt x="18153" y="12437"/>
                </a:cubicBezTo>
                <a:cubicBezTo>
                  <a:pt x="18154" y="12455"/>
                  <a:pt x="18152" y="12464"/>
                  <a:pt x="18149" y="12477"/>
                </a:cubicBezTo>
                <a:cubicBezTo>
                  <a:pt x="18153" y="12486"/>
                  <a:pt x="18153" y="12494"/>
                  <a:pt x="18159" y="12499"/>
                </a:cubicBezTo>
                <a:cubicBezTo>
                  <a:pt x="18160" y="12501"/>
                  <a:pt x="18161" y="12502"/>
                  <a:pt x="18162" y="12504"/>
                </a:cubicBezTo>
                <a:cubicBezTo>
                  <a:pt x="18198" y="12448"/>
                  <a:pt x="18158" y="12413"/>
                  <a:pt x="18164" y="12365"/>
                </a:cubicBezTo>
                <a:cubicBezTo>
                  <a:pt x="18170" y="12342"/>
                  <a:pt x="18176" y="12320"/>
                  <a:pt x="18183" y="12297"/>
                </a:cubicBezTo>
                <a:cubicBezTo>
                  <a:pt x="18196" y="12302"/>
                  <a:pt x="18201" y="12340"/>
                  <a:pt x="18203" y="12365"/>
                </a:cubicBezTo>
                <a:cubicBezTo>
                  <a:pt x="18206" y="12366"/>
                  <a:pt x="18209" y="12366"/>
                  <a:pt x="18212" y="12367"/>
                </a:cubicBezTo>
                <a:cubicBezTo>
                  <a:pt x="18218" y="12341"/>
                  <a:pt x="18225" y="12316"/>
                  <a:pt x="18232" y="12290"/>
                </a:cubicBezTo>
                <a:cubicBezTo>
                  <a:pt x="18236" y="12245"/>
                  <a:pt x="18221" y="12217"/>
                  <a:pt x="18229" y="12175"/>
                </a:cubicBezTo>
                <a:cubicBezTo>
                  <a:pt x="18228" y="12168"/>
                  <a:pt x="18226" y="12161"/>
                  <a:pt x="18225" y="12154"/>
                </a:cubicBezTo>
                <a:cubicBezTo>
                  <a:pt x="18219" y="12155"/>
                  <a:pt x="18213" y="12156"/>
                  <a:pt x="18208" y="12157"/>
                </a:cubicBezTo>
                <a:cubicBezTo>
                  <a:pt x="18206" y="12153"/>
                  <a:pt x="18205" y="12149"/>
                  <a:pt x="18203" y="12146"/>
                </a:cubicBezTo>
                <a:cubicBezTo>
                  <a:pt x="18219" y="12088"/>
                  <a:pt x="18194" y="12028"/>
                  <a:pt x="18172" y="11996"/>
                </a:cubicBezTo>
                <a:close/>
                <a:moveTo>
                  <a:pt x="10686" y="12581"/>
                </a:moveTo>
                <a:cubicBezTo>
                  <a:pt x="10680" y="12594"/>
                  <a:pt x="10677" y="12619"/>
                  <a:pt x="10667" y="12625"/>
                </a:cubicBezTo>
                <a:cubicBezTo>
                  <a:pt x="10667" y="12633"/>
                  <a:pt x="10667" y="12639"/>
                  <a:pt x="10667" y="12647"/>
                </a:cubicBezTo>
                <a:cubicBezTo>
                  <a:pt x="10670" y="12649"/>
                  <a:pt x="10673" y="12652"/>
                  <a:pt x="10676" y="12654"/>
                </a:cubicBezTo>
                <a:cubicBezTo>
                  <a:pt x="10694" y="12650"/>
                  <a:pt x="10690" y="12614"/>
                  <a:pt x="10703" y="12601"/>
                </a:cubicBezTo>
                <a:cubicBezTo>
                  <a:pt x="10699" y="12588"/>
                  <a:pt x="10695" y="12584"/>
                  <a:pt x="10686" y="12581"/>
                </a:cubicBezTo>
                <a:close/>
                <a:moveTo>
                  <a:pt x="6515" y="13180"/>
                </a:moveTo>
                <a:cubicBezTo>
                  <a:pt x="6506" y="13190"/>
                  <a:pt x="6492" y="13192"/>
                  <a:pt x="6478" y="13192"/>
                </a:cubicBezTo>
                <a:cubicBezTo>
                  <a:pt x="6478" y="13195"/>
                  <a:pt x="6476" y="13198"/>
                  <a:pt x="6475" y="13201"/>
                </a:cubicBezTo>
                <a:cubicBezTo>
                  <a:pt x="6485" y="13201"/>
                  <a:pt x="6485" y="13205"/>
                  <a:pt x="6489" y="13214"/>
                </a:cubicBezTo>
                <a:cubicBezTo>
                  <a:pt x="6487" y="13226"/>
                  <a:pt x="6487" y="13234"/>
                  <a:pt x="6489" y="13247"/>
                </a:cubicBezTo>
                <a:cubicBezTo>
                  <a:pt x="6482" y="13253"/>
                  <a:pt x="6474" y="13260"/>
                  <a:pt x="6467" y="13265"/>
                </a:cubicBezTo>
                <a:cubicBezTo>
                  <a:pt x="6466" y="13268"/>
                  <a:pt x="6465" y="13271"/>
                  <a:pt x="6464" y="13274"/>
                </a:cubicBezTo>
                <a:cubicBezTo>
                  <a:pt x="6464" y="13275"/>
                  <a:pt x="6464" y="13274"/>
                  <a:pt x="6464" y="13275"/>
                </a:cubicBezTo>
                <a:cubicBezTo>
                  <a:pt x="6483" y="13275"/>
                  <a:pt x="6503" y="13274"/>
                  <a:pt x="6517" y="13270"/>
                </a:cubicBezTo>
                <a:cubicBezTo>
                  <a:pt x="6522" y="13238"/>
                  <a:pt x="6515" y="13208"/>
                  <a:pt x="6524" y="13184"/>
                </a:cubicBezTo>
                <a:cubicBezTo>
                  <a:pt x="6524" y="13183"/>
                  <a:pt x="6524" y="13181"/>
                  <a:pt x="6524" y="13180"/>
                </a:cubicBezTo>
                <a:cubicBezTo>
                  <a:pt x="6521" y="13180"/>
                  <a:pt x="6518" y="13180"/>
                  <a:pt x="6515" y="13180"/>
                </a:cubicBezTo>
                <a:close/>
                <a:moveTo>
                  <a:pt x="16974" y="13193"/>
                </a:moveTo>
                <a:cubicBezTo>
                  <a:pt x="16954" y="13268"/>
                  <a:pt x="17015" y="13334"/>
                  <a:pt x="17027" y="13381"/>
                </a:cubicBezTo>
                <a:cubicBezTo>
                  <a:pt x="17041" y="13401"/>
                  <a:pt x="17045" y="13427"/>
                  <a:pt x="17068" y="13412"/>
                </a:cubicBezTo>
                <a:cubicBezTo>
                  <a:pt x="17098" y="13454"/>
                  <a:pt x="17114" y="13504"/>
                  <a:pt x="17125" y="13585"/>
                </a:cubicBezTo>
                <a:cubicBezTo>
                  <a:pt x="17189" y="13606"/>
                  <a:pt x="17191" y="13671"/>
                  <a:pt x="17210" y="13764"/>
                </a:cubicBezTo>
                <a:cubicBezTo>
                  <a:pt x="17213" y="13783"/>
                  <a:pt x="17217" y="13801"/>
                  <a:pt x="17220" y="13820"/>
                </a:cubicBezTo>
                <a:cubicBezTo>
                  <a:pt x="17228" y="13840"/>
                  <a:pt x="17250" y="13845"/>
                  <a:pt x="17259" y="13866"/>
                </a:cubicBezTo>
                <a:cubicBezTo>
                  <a:pt x="17279" y="13923"/>
                  <a:pt x="17299" y="13982"/>
                  <a:pt x="17320" y="14039"/>
                </a:cubicBezTo>
                <a:cubicBezTo>
                  <a:pt x="17326" y="14064"/>
                  <a:pt x="17321" y="14097"/>
                  <a:pt x="17328" y="14127"/>
                </a:cubicBezTo>
                <a:cubicBezTo>
                  <a:pt x="17342" y="14186"/>
                  <a:pt x="17381" y="14230"/>
                  <a:pt x="17409" y="14270"/>
                </a:cubicBezTo>
                <a:cubicBezTo>
                  <a:pt x="17417" y="14281"/>
                  <a:pt x="17417" y="14302"/>
                  <a:pt x="17422" y="14319"/>
                </a:cubicBezTo>
                <a:cubicBezTo>
                  <a:pt x="17430" y="14343"/>
                  <a:pt x="17446" y="14359"/>
                  <a:pt x="17458" y="14375"/>
                </a:cubicBezTo>
                <a:cubicBezTo>
                  <a:pt x="17479" y="14403"/>
                  <a:pt x="17566" y="14566"/>
                  <a:pt x="17574" y="14553"/>
                </a:cubicBezTo>
                <a:cubicBezTo>
                  <a:pt x="17570" y="14540"/>
                  <a:pt x="17566" y="14527"/>
                  <a:pt x="17562" y="14515"/>
                </a:cubicBezTo>
                <a:cubicBezTo>
                  <a:pt x="17577" y="14512"/>
                  <a:pt x="17586" y="14535"/>
                  <a:pt x="17600" y="14542"/>
                </a:cubicBezTo>
                <a:cubicBezTo>
                  <a:pt x="17602" y="14530"/>
                  <a:pt x="17605" y="14518"/>
                  <a:pt x="17607" y="14506"/>
                </a:cubicBezTo>
                <a:cubicBezTo>
                  <a:pt x="17608" y="14505"/>
                  <a:pt x="17609" y="14504"/>
                  <a:pt x="17609" y="14504"/>
                </a:cubicBezTo>
                <a:cubicBezTo>
                  <a:pt x="17619" y="14519"/>
                  <a:pt x="17625" y="14537"/>
                  <a:pt x="17637" y="14549"/>
                </a:cubicBezTo>
                <a:cubicBezTo>
                  <a:pt x="17662" y="14504"/>
                  <a:pt x="17635" y="14392"/>
                  <a:pt x="17640" y="14339"/>
                </a:cubicBezTo>
                <a:cubicBezTo>
                  <a:pt x="17645" y="14301"/>
                  <a:pt x="17651" y="14264"/>
                  <a:pt x="17657" y="14226"/>
                </a:cubicBezTo>
                <a:cubicBezTo>
                  <a:pt x="17640" y="14210"/>
                  <a:pt x="17636" y="14168"/>
                  <a:pt x="17625" y="14155"/>
                </a:cubicBezTo>
                <a:cubicBezTo>
                  <a:pt x="17634" y="14162"/>
                  <a:pt x="17646" y="14164"/>
                  <a:pt x="17652" y="14173"/>
                </a:cubicBezTo>
                <a:cubicBezTo>
                  <a:pt x="17661" y="14187"/>
                  <a:pt x="17657" y="14201"/>
                  <a:pt x="17661" y="14225"/>
                </a:cubicBezTo>
                <a:cubicBezTo>
                  <a:pt x="17666" y="14250"/>
                  <a:pt x="17691" y="14267"/>
                  <a:pt x="17705" y="14274"/>
                </a:cubicBezTo>
                <a:cubicBezTo>
                  <a:pt x="17703" y="14264"/>
                  <a:pt x="17701" y="14253"/>
                  <a:pt x="17699" y="14243"/>
                </a:cubicBezTo>
                <a:cubicBezTo>
                  <a:pt x="17702" y="14234"/>
                  <a:pt x="17703" y="14229"/>
                  <a:pt x="17709" y="14225"/>
                </a:cubicBezTo>
                <a:cubicBezTo>
                  <a:pt x="17709" y="14223"/>
                  <a:pt x="17710" y="14222"/>
                  <a:pt x="17710" y="14220"/>
                </a:cubicBezTo>
                <a:cubicBezTo>
                  <a:pt x="17673" y="14199"/>
                  <a:pt x="17676" y="14148"/>
                  <a:pt x="17659" y="14092"/>
                </a:cubicBezTo>
                <a:cubicBezTo>
                  <a:pt x="17653" y="14104"/>
                  <a:pt x="17649" y="14110"/>
                  <a:pt x="17646" y="14130"/>
                </a:cubicBezTo>
                <a:cubicBezTo>
                  <a:pt x="17642" y="14121"/>
                  <a:pt x="17637" y="14114"/>
                  <a:pt x="17632" y="14105"/>
                </a:cubicBezTo>
                <a:cubicBezTo>
                  <a:pt x="17623" y="14115"/>
                  <a:pt x="17622" y="14130"/>
                  <a:pt x="17617" y="14148"/>
                </a:cubicBezTo>
                <a:cubicBezTo>
                  <a:pt x="17618" y="14151"/>
                  <a:pt x="17621" y="14151"/>
                  <a:pt x="17622" y="14153"/>
                </a:cubicBezTo>
                <a:cubicBezTo>
                  <a:pt x="17613" y="14148"/>
                  <a:pt x="17605" y="14145"/>
                  <a:pt x="17596" y="14140"/>
                </a:cubicBezTo>
                <a:cubicBezTo>
                  <a:pt x="17589" y="14148"/>
                  <a:pt x="17583" y="14155"/>
                  <a:pt x="17576" y="14163"/>
                </a:cubicBezTo>
                <a:cubicBezTo>
                  <a:pt x="17575" y="14162"/>
                  <a:pt x="17575" y="14160"/>
                  <a:pt x="17574" y="14159"/>
                </a:cubicBezTo>
                <a:cubicBezTo>
                  <a:pt x="17573" y="14140"/>
                  <a:pt x="17578" y="14123"/>
                  <a:pt x="17583" y="14106"/>
                </a:cubicBezTo>
                <a:cubicBezTo>
                  <a:pt x="17577" y="14104"/>
                  <a:pt x="17571" y="14102"/>
                  <a:pt x="17565" y="14099"/>
                </a:cubicBezTo>
                <a:cubicBezTo>
                  <a:pt x="17548" y="14080"/>
                  <a:pt x="17561" y="14010"/>
                  <a:pt x="17546" y="13987"/>
                </a:cubicBezTo>
                <a:cubicBezTo>
                  <a:pt x="17538" y="13976"/>
                  <a:pt x="17526" y="13987"/>
                  <a:pt x="17515" y="13980"/>
                </a:cubicBezTo>
                <a:cubicBezTo>
                  <a:pt x="17502" y="13971"/>
                  <a:pt x="17490" y="13948"/>
                  <a:pt x="17483" y="13926"/>
                </a:cubicBezTo>
                <a:cubicBezTo>
                  <a:pt x="17494" y="13911"/>
                  <a:pt x="17511" y="13875"/>
                  <a:pt x="17514" y="13846"/>
                </a:cubicBezTo>
                <a:cubicBezTo>
                  <a:pt x="17504" y="13821"/>
                  <a:pt x="17489" y="13792"/>
                  <a:pt x="17471" y="13784"/>
                </a:cubicBezTo>
                <a:cubicBezTo>
                  <a:pt x="17450" y="13775"/>
                  <a:pt x="17433" y="13785"/>
                  <a:pt x="17421" y="13761"/>
                </a:cubicBezTo>
                <a:cubicBezTo>
                  <a:pt x="17416" y="13740"/>
                  <a:pt x="17411" y="13719"/>
                  <a:pt x="17407" y="13698"/>
                </a:cubicBezTo>
                <a:cubicBezTo>
                  <a:pt x="17406" y="13697"/>
                  <a:pt x="17407" y="13695"/>
                  <a:pt x="17406" y="13694"/>
                </a:cubicBezTo>
                <a:cubicBezTo>
                  <a:pt x="17405" y="13693"/>
                  <a:pt x="17405" y="13693"/>
                  <a:pt x="17405" y="13692"/>
                </a:cubicBezTo>
                <a:cubicBezTo>
                  <a:pt x="17395" y="13672"/>
                  <a:pt x="17383" y="13679"/>
                  <a:pt x="17370" y="13664"/>
                </a:cubicBezTo>
                <a:cubicBezTo>
                  <a:pt x="17353" y="13646"/>
                  <a:pt x="17352" y="13609"/>
                  <a:pt x="17332" y="13592"/>
                </a:cubicBezTo>
                <a:cubicBezTo>
                  <a:pt x="17332" y="13591"/>
                  <a:pt x="17331" y="13590"/>
                  <a:pt x="17331" y="13588"/>
                </a:cubicBezTo>
                <a:cubicBezTo>
                  <a:pt x="17331" y="13601"/>
                  <a:pt x="17331" y="13613"/>
                  <a:pt x="17331" y="13626"/>
                </a:cubicBezTo>
                <a:cubicBezTo>
                  <a:pt x="17328" y="13626"/>
                  <a:pt x="17326" y="13626"/>
                  <a:pt x="17324" y="13626"/>
                </a:cubicBezTo>
                <a:cubicBezTo>
                  <a:pt x="17305" y="13600"/>
                  <a:pt x="17297" y="13549"/>
                  <a:pt x="17270" y="13543"/>
                </a:cubicBezTo>
                <a:cubicBezTo>
                  <a:pt x="17269" y="13530"/>
                  <a:pt x="17269" y="13517"/>
                  <a:pt x="17269" y="13504"/>
                </a:cubicBezTo>
                <a:cubicBezTo>
                  <a:pt x="17248" y="13482"/>
                  <a:pt x="17226" y="13460"/>
                  <a:pt x="17206" y="13438"/>
                </a:cubicBezTo>
                <a:cubicBezTo>
                  <a:pt x="17191" y="13417"/>
                  <a:pt x="17176" y="13395"/>
                  <a:pt x="17162" y="13373"/>
                </a:cubicBezTo>
                <a:cubicBezTo>
                  <a:pt x="17162" y="13360"/>
                  <a:pt x="17163" y="13346"/>
                  <a:pt x="17163" y="13333"/>
                </a:cubicBezTo>
                <a:cubicBezTo>
                  <a:pt x="17141" y="13309"/>
                  <a:pt x="17127" y="13273"/>
                  <a:pt x="17113" y="13237"/>
                </a:cubicBezTo>
                <a:cubicBezTo>
                  <a:pt x="17082" y="13237"/>
                  <a:pt x="17063" y="13258"/>
                  <a:pt x="17033" y="13240"/>
                </a:cubicBezTo>
                <a:cubicBezTo>
                  <a:pt x="17009" y="13226"/>
                  <a:pt x="17009" y="13187"/>
                  <a:pt x="16974" y="13193"/>
                </a:cubicBezTo>
                <a:close/>
                <a:moveTo>
                  <a:pt x="18308" y="13193"/>
                </a:moveTo>
                <a:cubicBezTo>
                  <a:pt x="18293" y="13223"/>
                  <a:pt x="18288" y="13242"/>
                  <a:pt x="18263" y="13257"/>
                </a:cubicBezTo>
                <a:cubicBezTo>
                  <a:pt x="18264" y="13266"/>
                  <a:pt x="18266" y="13276"/>
                  <a:pt x="18267" y="13286"/>
                </a:cubicBezTo>
                <a:cubicBezTo>
                  <a:pt x="18276" y="13290"/>
                  <a:pt x="18278" y="13304"/>
                  <a:pt x="18284" y="13313"/>
                </a:cubicBezTo>
                <a:cubicBezTo>
                  <a:pt x="18297" y="13298"/>
                  <a:pt x="18314" y="13288"/>
                  <a:pt x="18330" y="13277"/>
                </a:cubicBezTo>
                <a:cubicBezTo>
                  <a:pt x="18327" y="13258"/>
                  <a:pt x="18325" y="13240"/>
                  <a:pt x="18323" y="13216"/>
                </a:cubicBezTo>
                <a:cubicBezTo>
                  <a:pt x="18319" y="13212"/>
                  <a:pt x="18318" y="13212"/>
                  <a:pt x="18313" y="13214"/>
                </a:cubicBezTo>
                <a:cubicBezTo>
                  <a:pt x="18309" y="13206"/>
                  <a:pt x="18312" y="13200"/>
                  <a:pt x="18308" y="13193"/>
                </a:cubicBezTo>
                <a:close/>
                <a:moveTo>
                  <a:pt x="18440" y="13226"/>
                </a:moveTo>
                <a:cubicBezTo>
                  <a:pt x="18436" y="13247"/>
                  <a:pt x="18431" y="13268"/>
                  <a:pt x="18427" y="13288"/>
                </a:cubicBezTo>
                <a:cubicBezTo>
                  <a:pt x="18415" y="13326"/>
                  <a:pt x="18391" y="13347"/>
                  <a:pt x="18385" y="13394"/>
                </a:cubicBezTo>
                <a:cubicBezTo>
                  <a:pt x="18376" y="13395"/>
                  <a:pt x="18367" y="13396"/>
                  <a:pt x="18358" y="13396"/>
                </a:cubicBezTo>
                <a:cubicBezTo>
                  <a:pt x="18356" y="13402"/>
                  <a:pt x="18355" y="13407"/>
                  <a:pt x="18353" y="13412"/>
                </a:cubicBezTo>
                <a:cubicBezTo>
                  <a:pt x="18352" y="13414"/>
                  <a:pt x="18352" y="13416"/>
                  <a:pt x="18352" y="13419"/>
                </a:cubicBezTo>
                <a:cubicBezTo>
                  <a:pt x="18359" y="13427"/>
                  <a:pt x="18371" y="13441"/>
                  <a:pt x="18364" y="13461"/>
                </a:cubicBezTo>
                <a:cubicBezTo>
                  <a:pt x="18357" y="13473"/>
                  <a:pt x="18342" y="13466"/>
                  <a:pt x="18332" y="13468"/>
                </a:cubicBezTo>
                <a:cubicBezTo>
                  <a:pt x="18332" y="13468"/>
                  <a:pt x="18331" y="13468"/>
                  <a:pt x="18330" y="13468"/>
                </a:cubicBezTo>
                <a:cubicBezTo>
                  <a:pt x="18330" y="13462"/>
                  <a:pt x="18330" y="13453"/>
                  <a:pt x="18330" y="13447"/>
                </a:cubicBezTo>
                <a:cubicBezTo>
                  <a:pt x="18330" y="13447"/>
                  <a:pt x="18329" y="13447"/>
                  <a:pt x="18329" y="13447"/>
                </a:cubicBezTo>
                <a:cubicBezTo>
                  <a:pt x="18315" y="13458"/>
                  <a:pt x="18315" y="13488"/>
                  <a:pt x="18304" y="13502"/>
                </a:cubicBezTo>
                <a:cubicBezTo>
                  <a:pt x="18296" y="13512"/>
                  <a:pt x="18284" y="13509"/>
                  <a:pt x="18277" y="13518"/>
                </a:cubicBezTo>
                <a:cubicBezTo>
                  <a:pt x="18260" y="13536"/>
                  <a:pt x="18253" y="13567"/>
                  <a:pt x="18241" y="13593"/>
                </a:cubicBezTo>
                <a:cubicBezTo>
                  <a:pt x="18235" y="13600"/>
                  <a:pt x="18229" y="13608"/>
                  <a:pt x="18224" y="13615"/>
                </a:cubicBezTo>
                <a:cubicBezTo>
                  <a:pt x="18214" y="13638"/>
                  <a:pt x="18213" y="13673"/>
                  <a:pt x="18199" y="13687"/>
                </a:cubicBezTo>
                <a:cubicBezTo>
                  <a:pt x="18185" y="13692"/>
                  <a:pt x="18172" y="13696"/>
                  <a:pt x="18158" y="13701"/>
                </a:cubicBezTo>
                <a:cubicBezTo>
                  <a:pt x="18142" y="13711"/>
                  <a:pt x="18127" y="13721"/>
                  <a:pt x="18110" y="13730"/>
                </a:cubicBezTo>
                <a:cubicBezTo>
                  <a:pt x="18104" y="13741"/>
                  <a:pt x="18081" y="13841"/>
                  <a:pt x="18078" y="13861"/>
                </a:cubicBezTo>
                <a:cubicBezTo>
                  <a:pt x="18080" y="13866"/>
                  <a:pt x="18082" y="13871"/>
                  <a:pt x="18084" y="13877"/>
                </a:cubicBezTo>
                <a:cubicBezTo>
                  <a:pt x="18085" y="13879"/>
                  <a:pt x="18086" y="13881"/>
                  <a:pt x="18087" y="13883"/>
                </a:cubicBezTo>
                <a:cubicBezTo>
                  <a:pt x="18082" y="13882"/>
                  <a:pt x="18077" y="13885"/>
                  <a:pt x="18072" y="13889"/>
                </a:cubicBezTo>
                <a:cubicBezTo>
                  <a:pt x="18061" y="13882"/>
                  <a:pt x="18050" y="13867"/>
                  <a:pt x="18040" y="13861"/>
                </a:cubicBezTo>
                <a:cubicBezTo>
                  <a:pt x="18031" y="13859"/>
                  <a:pt x="18022" y="13857"/>
                  <a:pt x="18013" y="13855"/>
                </a:cubicBezTo>
                <a:cubicBezTo>
                  <a:pt x="18006" y="13845"/>
                  <a:pt x="18000" y="13835"/>
                  <a:pt x="17996" y="13822"/>
                </a:cubicBezTo>
                <a:cubicBezTo>
                  <a:pt x="17990" y="13803"/>
                  <a:pt x="17993" y="13783"/>
                  <a:pt x="17983" y="13772"/>
                </a:cubicBezTo>
                <a:cubicBezTo>
                  <a:pt x="17982" y="13771"/>
                  <a:pt x="17982" y="13772"/>
                  <a:pt x="17981" y="13771"/>
                </a:cubicBezTo>
                <a:cubicBezTo>
                  <a:pt x="17966" y="13774"/>
                  <a:pt x="17971" y="13788"/>
                  <a:pt x="17966" y="13808"/>
                </a:cubicBezTo>
                <a:cubicBezTo>
                  <a:pt x="17959" y="13838"/>
                  <a:pt x="17930" y="13896"/>
                  <a:pt x="17944" y="13955"/>
                </a:cubicBezTo>
                <a:cubicBezTo>
                  <a:pt x="17948" y="13960"/>
                  <a:pt x="17952" y="13965"/>
                  <a:pt x="17956" y="13970"/>
                </a:cubicBezTo>
                <a:cubicBezTo>
                  <a:pt x="17967" y="13995"/>
                  <a:pt x="17962" y="14010"/>
                  <a:pt x="17959" y="14043"/>
                </a:cubicBezTo>
                <a:cubicBezTo>
                  <a:pt x="17967" y="14055"/>
                  <a:pt x="17974" y="14066"/>
                  <a:pt x="17981" y="14079"/>
                </a:cubicBezTo>
                <a:cubicBezTo>
                  <a:pt x="17978" y="14082"/>
                  <a:pt x="17974" y="14086"/>
                  <a:pt x="17970" y="14089"/>
                </a:cubicBezTo>
                <a:cubicBezTo>
                  <a:pt x="17969" y="14092"/>
                  <a:pt x="17969" y="14094"/>
                  <a:pt x="17968" y="14097"/>
                </a:cubicBezTo>
                <a:cubicBezTo>
                  <a:pt x="17979" y="14118"/>
                  <a:pt x="17998" y="14121"/>
                  <a:pt x="18007" y="14147"/>
                </a:cubicBezTo>
                <a:cubicBezTo>
                  <a:pt x="18022" y="14194"/>
                  <a:pt x="18022" y="14293"/>
                  <a:pt x="18024" y="14356"/>
                </a:cubicBezTo>
                <a:cubicBezTo>
                  <a:pt x="18039" y="14355"/>
                  <a:pt x="18041" y="14345"/>
                  <a:pt x="18057" y="14345"/>
                </a:cubicBezTo>
                <a:cubicBezTo>
                  <a:pt x="18061" y="14352"/>
                  <a:pt x="18065" y="14360"/>
                  <a:pt x="18069" y="14367"/>
                </a:cubicBezTo>
                <a:cubicBezTo>
                  <a:pt x="18090" y="14361"/>
                  <a:pt x="18106" y="14346"/>
                  <a:pt x="18119" y="14327"/>
                </a:cubicBezTo>
                <a:cubicBezTo>
                  <a:pt x="18128" y="14354"/>
                  <a:pt x="18127" y="14386"/>
                  <a:pt x="18128" y="14424"/>
                </a:cubicBezTo>
                <a:cubicBezTo>
                  <a:pt x="18149" y="14411"/>
                  <a:pt x="18152" y="14399"/>
                  <a:pt x="18182" y="14400"/>
                </a:cubicBezTo>
                <a:cubicBezTo>
                  <a:pt x="18186" y="14384"/>
                  <a:pt x="18190" y="14366"/>
                  <a:pt x="18195" y="14349"/>
                </a:cubicBezTo>
                <a:cubicBezTo>
                  <a:pt x="18196" y="14348"/>
                  <a:pt x="18197" y="14346"/>
                  <a:pt x="18198" y="14345"/>
                </a:cubicBezTo>
                <a:cubicBezTo>
                  <a:pt x="18211" y="14364"/>
                  <a:pt x="18239" y="14384"/>
                  <a:pt x="18245" y="14416"/>
                </a:cubicBezTo>
                <a:cubicBezTo>
                  <a:pt x="18248" y="14418"/>
                  <a:pt x="18250" y="14418"/>
                  <a:pt x="18253" y="14420"/>
                </a:cubicBezTo>
                <a:cubicBezTo>
                  <a:pt x="18261" y="14409"/>
                  <a:pt x="18268" y="14395"/>
                  <a:pt x="18278" y="14390"/>
                </a:cubicBezTo>
                <a:cubicBezTo>
                  <a:pt x="18310" y="14423"/>
                  <a:pt x="18295" y="14470"/>
                  <a:pt x="18309" y="14495"/>
                </a:cubicBezTo>
                <a:cubicBezTo>
                  <a:pt x="18311" y="14500"/>
                  <a:pt x="18344" y="14468"/>
                  <a:pt x="18353" y="14461"/>
                </a:cubicBezTo>
                <a:cubicBezTo>
                  <a:pt x="18374" y="14443"/>
                  <a:pt x="18409" y="14369"/>
                  <a:pt x="18416" y="14330"/>
                </a:cubicBezTo>
                <a:cubicBezTo>
                  <a:pt x="18419" y="14308"/>
                  <a:pt x="18408" y="14292"/>
                  <a:pt x="18405" y="14282"/>
                </a:cubicBezTo>
                <a:cubicBezTo>
                  <a:pt x="18411" y="14281"/>
                  <a:pt x="18417" y="14279"/>
                  <a:pt x="18423" y="14278"/>
                </a:cubicBezTo>
                <a:cubicBezTo>
                  <a:pt x="18420" y="14265"/>
                  <a:pt x="18418" y="14254"/>
                  <a:pt x="18416" y="14241"/>
                </a:cubicBezTo>
                <a:cubicBezTo>
                  <a:pt x="18412" y="14234"/>
                  <a:pt x="18408" y="14227"/>
                  <a:pt x="18405" y="14220"/>
                </a:cubicBezTo>
                <a:cubicBezTo>
                  <a:pt x="18427" y="14191"/>
                  <a:pt x="18449" y="14142"/>
                  <a:pt x="18466" y="14104"/>
                </a:cubicBezTo>
                <a:cubicBezTo>
                  <a:pt x="18474" y="14105"/>
                  <a:pt x="18481" y="14107"/>
                  <a:pt x="18488" y="14109"/>
                </a:cubicBezTo>
                <a:cubicBezTo>
                  <a:pt x="18491" y="14023"/>
                  <a:pt x="18478" y="13943"/>
                  <a:pt x="18511" y="13896"/>
                </a:cubicBezTo>
                <a:cubicBezTo>
                  <a:pt x="18532" y="13890"/>
                  <a:pt x="18555" y="13907"/>
                  <a:pt x="18576" y="13898"/>
                </a:cubicBezTo>
                <a:cubicBezTo>
                  <a:pt x="18577" y="13897"/>
                  <a:pt x="18577" y="13895"/>
                  <a:pt x="18578" y="13894"/>
                </a:cubicBezTo>
                <a:cubicBezTo>
                  <a:pt x="18571" y="13883"/>
                  <a:pt x="18511" y="13779"/>
                  <a:pt x="18510" y="13772"/>
                </a:cubicBezTo>
                <a:cubicBezTo>
                  <a:pt x="18508" y="13760"/>
                  <a:pt x="18515" y="13743"/>
                  <a:pt x="18518" y="13731"/>
                </a:cubicBezTo>
                <a:cubicBezTo>
                  <a:pt x="18515" y="13690"/>
                  <a:pt x="18492" y="13644"/>
                  <a:pt x="18475" y="13625"/>
                </a:cubicBezTo>
                <a:cubicBezTo>
                  <a:pt x="18475" y="13608"/>
                  <a:pt x="18476" y="13596"/>
                  <a:pt x="18471" y="13580"/>
                </a:cubicBezTo>
                <a:cubicBezTo>
                  <a:pt x="18479" y="13577"/>
                  <a:pt x="18488" y="13574"/>
                  <a:pt x="18496" y="13570"/>
                </a:cubicBezTo>
                <a:cubicBezTo>
                  <a:pt x="18497" y="13571"/>
                  <a:pt x="18502" y="13573"/>
                  <a:pt x="18503" y="13574"/>
                </a:cubicBezTo>
                <a:cubicBezTo>
                  <a:pt x="18510" y="13546"/>
                  <a:pt x="18543" y="13569"/>
                  <a:pt x="18554" y="13530"/>
                </a:cubicBezTo>
                <a:cubicBezTo>
                  <a:pt x="18555" y="13528"/>
                  <a:pt x="18555" y="13527"/>
                  <a:pt x="18556" y="13525"/>
                </a:cubicBezTo>
                <a:cubicBezTo>
                  <a:pt x="18545" y="13513"/>
                  <a:pt x="18534" y="13495"/>
                  <a:pt x="18528" y="13473"/>
                </a:cubicBezTo>
                <a:cubicBezTo>
                  <a:pt x="18529" y="13472"/>
                  <a:pt x="18529" y="13472"/>
                  <a:pt x="18530" y="13471"/>
                </a:cubicBezTo>
                <a:cubicBezTo>
                  <a:pt x="18532" y="13467"/>
                  <a:pt x="18583" y="13453"/>
                  <a:pt x="18591" y="13450"/>
                </a:cubicBezTo>
                <a:cubicBezTo>
                  <a:pt x="18593" y="13444"/>
                  <a:pt x="18595" y="13437"/>
                  <a:pt x="18597" y="13430"/>
                </a:cubicBezTo>
                <a:cubicBezTo>
                  <a:pt x="18585" y="13389"/>
                  <a:pt x="18545" y="13365"/>
                  <a:pt x="18516" y="13383"/>
                </a:cubicBezTo>
                <a:cubicBezTo>
                  <a:pt x="18519" y="13374"/>
                  <a:pt x="18522" y="13365"/>
                  <a:pt x="18525" y="13355"/>
                </a:cubicBezTo>
                <a:cubicBezTo>
                  <a:pt x="18524" y="13355"/>
                  <a:pt x="18524" y="13353"/>
                  <a:pt x="18523" y="13352"/>
                </a:cubicBezTo>
                <a:cubicBezTo>
                  <a:pt x="18523" y="13350"/>
                  <a:pt x="18523" y="13350"/>
                  <a:pt x="18523" y="13348"/>
                </a:cubicBezTo>
                <a:cubicBezTo>
                  <a:pt x="18513" y="13344"/>
                  <a:pt x="18502" y="13354"/>
                  <a:pt x="18490" y="13358"/>
                </a:cubicBezTo>
                <a:cubicBezTo>
                  <a:pt x="18490" y="13330"/>
                  <a:pt x="18502" y="13320"/>
                  <a:pt x="18501" y="13288"/>
                </a:cubicBezTo>
                <a:cubicBezTo>
                  <a:pt x="18489" y="13274"/>
                  <a:pt x="18476" y="13261"/>
                  <a:pt x="18471" y="13234"/>
                </a:cubicBezTo>
                <a:cubicBezTo>
                  <a:pt x="18467" y="13241"/>
                  <a:pt x="18462" y="13248"/>
                  <a:pt x="18458" y="13255"/>
                </a:cubicBezTo>
                <a:cubicBezTo>
                  <a:pt x="18455" y="13254"/>
                  <a:pt x="18452" y="13253"/>
                  <a:pt x="18449" y="13252"/>
                </a:cubicBezTo>
                <a:cubicBezTo>
                  <a:pt x="18446" y="13244"/>
                  <a:pt x="18444" y="13235"/>
                  <a:pt x="18440" y="13226"/>
                </a:cubicBezTo>
                <a:close/>
                <a:moveTo>
                  <a:pt x="18985" y="13791"/>
                </a:moveTo>
                <a:cubicBezTo>
                  <a:pt x="18975" y="13796"/>
                  <a:pt x="18959" y="13824"/>
                  <a:pt x="18954" y="13841"/>
                </a:cubicBezTo>
                <a:cubicBezTo>
                  <a:pt x="18955" y="13848"/>
                  <a:pt x="18954" y="13855"/>
                  <a:pt x="18955" y="13862"/>
                </a:cubicBezTo>
                <a:cubicBezTo>
                  <a:pt x="18922" y="13921"/>
                  <a:pt x="18906" y="13878"/>
                  <a:pt x="18858" y="13895"/>
                </a:cubicBezTo>
                <a:cubicBezTo>
                  <a:pt x="18853" y="13899"/>
                  <a:pt x="18847" y="13904"/>
                  <a:pt x="18841" y="13908"/>
                </a:cubicBezTo>
                <a:cubicBezTo>
                  <a:pt x="18830" y="13900"/>
                  <a:pt x="18819" y="13893"/>
                  <a:pt x="18808" y="13885"/>
                </a:cubicBezTo>
                <a:cubicBezTo>
                  <a:pt x="18795" y="13885"/>
                  <a:pt x="18782" y="13885"/>
                  <a:pt x="18768" y="13885"/>
                </a:cubicBezTo>
                <a:cubicBezTo>
                  <a:pt x="18754" y="13875"/>
                  <a:pt x="18742" y="13837"/>
                  <a:pt x="18720" y="13854"/>
                </a:cubicBezTo>
                <a:cubicBezTo>
                  <a:pt x="18709" y="13866"/>
                  <a:pt x="18705" y="13896"/>
                  <a:pt x="18696" y="13910"/>
                </a:cubicBezTo>
                <a:cubicBezTo>
                  <a:pt x="18691" y="13904"/>
                  <a:pt x="18687" y="13898"/>
                  <a:pt x="18682" y="13892"/>
                </a:cubicBezTo>
                <a:cubicBezTo>
                  <a:pt x="18652" y="13920"/>
                  <a:pt x="18641" y="14005"/>
                  <a:pt x="18643" y="14091"/>
                </a:cubicBezTo>
                <a:cubicBezTo>
                  <a:pt x="18638" y="14091"/>
                  <a:pt x="18634" y="14092"/>
                  <a:pt x="18630" y="14093"/>
                </a:cubicBezTo>
                <a:cubicBezTo>
                  <a:pt x="18625" y="14111"/>
                  <a:pt x="18621" y="14129"/>
                  <a:pt x="18617" y="14147"/>
                </a:cubicBezTo>
                <a:cubicBezTo>
                  <a:pt x="18618" y="14173"/>
                  <a:pt x="18619" y="14200"/>
                  <a:pt x="18620" y="14226"/>
                </a:cubicBezTo>
                <a:cubicBezTo>
                  <a:pt x="18613" y="14264"/>
                  <a:pt x="18595" y="14288"/>
                  <a:pt x="18587" y="14321"/>
                </a:cubicBezTo>
                <a:cubicBezTo>
                  <a:pt x="18589" y="14353"/>
                  <a:pt x="18591" y="14386"/>
                  <a:pt x="18593" y="14418"/>
                </a:cubicBezTo>
                <a:cubicBezTo>
                  <a:pt x="18608" y="14418"/>
                  <a:pt x="18615" y="14411"/>
                  <a:pt x="18628" y="14414"/>
                </a:cubicBezTo>
                <a:cubicBezTo>
                  <a:pt x="18643" y="14474"/>
                  <a:pt x="18618" y="14657"/>
                  <a:pt x="18633" y="14671"/>
                </a:cubicBezTo>
                <a:cubicBezTo>
                  <a:pt x="18650" y="14663"/>
                  <a:pt x="18668" y="14655"/>
                  <a:pt x="18685" y="14647"/>
                </a:cubicBezTo>
                <a:cubicBezTo>
                  <a:pt x="18683" y="14637"/>
                  <a:pt x="18680" y="14627"/>
                  <a:pt x="18677" y="14617"/>
                </a:cubicBezTo>
                <a:cubicBezTo>
                  <a:pt x="18681" y="14596"/>
                  <a:pt x="18685" y="14576"/>
                  <a:pt x="18689" y="14555"/>
                </a:cubicBezTo>
                <a:cubicBezTo>
                  <a:pt x="18685" y="14541"/>
                  <a:pt x="18681" y="14526"/>
                  <a:pt x="18678" y="14511"/>
                </a:cubicBezTo>
                <a:cubicBezTo>
                  <a:pt x="18680" y="14483"/>
                  <a:pt x="18684" y="14457"/>
                  <a:pt x="18687" y="14429"/>
                </a:cubicBezTo>
                <a:cubicBezTo>
                  <a:pt x="18690" y="14396"/>
                  <a:pt x="18681" y="14369"/>
                  <a:pt x="18678" y="14346"/>
                </a:cubicBezTo>
                <a:cubicBezTo>
                  <a:pt x="18694" y="14332"/>
                  <a:pt x="18700" y="14318"/>
                  <a:pt x="18725" y="14321"/>
                </a:cubicBezTo>
                <a:cubicBezTo>
                  <a:pt x="18744" y="14357"/>
                  <a:pt x="18715" y="14382"/>
                  <a:pt x="18720" y="14414"/>
                </a:cubicBezTo>
                <a:cubicBezTo>
                  <a:pt x="18734" y="14437"/>
                  <a:pt x="18748" y="14459"/>
                  <a:pt x="18762" y="14482"/>
                </a:cubicBezTo>
                <a:cubicBezTo>
                  <a:pt x="18760" y="14508"/>
                  <a:pt x="18756" y="14529"/>
                  <a:pt x="18759" y="14560"/>
                </a:cubicBezTo>
                <a:cubicBezTo>
                  <a:pt x="18768" y="14566"/>
                  <a:pt x="18774" y="14571"/>
                  <a:pt x="18788" y="14571"/>
                </a:cubicBezTo>
                <a:cubicBezTo>
                  <a:pt x="18793" y="14527"/>
                  <a:pt x="18808" y="14513"/>
                  <a:pt x="18838" y="14522"/>
                </a:cubicBezTo>
                <a:cubicBezTo>
                  <a:pt x="18838" y="14512"/>
                  <a:pt x="18838" y="14501"/>
                  <a:pt x="18838" y="14491"/>
                </a:cubicBezTo>
                <a:cubicBezTo>
                  <a:pt x="18813" y="14472"/>
                  <a:pt x="18799" y="14428"/>
                  <a:pt x="18811" y="14375"/>
                </a:cubicBezTo>
                <a:cubicBezTo>
                  <a:pt x="18807" y="14322"/>
                  <a:pt x="18771" y="14259"/>
                  <a:pt x="18749" y="14237"/>
                </a:cubicBezTo>
                <a:cubicBezTo>
                  <a:pt x="18749" y="14236"/>
                  <a:pt x="18749" y="14235"/>
                  <a:pt x="18749" y="14235"/>
                </a:cubicBezTo>
                <a:cubicBezTo>
                  <a:pt x="18749" y="14229"/>
                  <a:pt x="18749" y="14221"/>
                  <a:pt x="18749" y="14215"/>
                </a:cubicBezTo>
                <a:cubicBezTo>
                  <a:pt x="18756" y="14219"/>
                  <a:pt x="18763" y="14223"/>
                  <a:pt x="18770" y="14226"/>
                </a:cubicBezTo>
                <a:cubicBezTo>
                  <a:pt x="18782" y="14204"/>
                  <a:pt x="18796" y="14200"/>
                  <a:pt x="18811" y="14182"/>
                </a:cubicBezTo>
                <a:cubicBezTo>
                  <a:pt x="18822" y="14159"/>
                  <a:pt x="18833" y="14138"/>
                  <a:pt x="18843" y="14116"/>
                </a:cubicBezTo>
                <a:cubicBezTo>
                  <a:pt x="18858" y="14116"/>
                  <a:pt x="18863" y="14123"/>
                  <a:pt x="18872" y="14131"/>
                </a:cubicBezTo>
                <a:cubicBezTo>
                  <a:pt x="18872" y="14131"/>
                  <a:pt x="18873" y="14131"/>
                  <a:pt x="18873" y="14131"/>
                </a:cubicBezTo>
                <a:cubicBezTo>
                  <a:pt x="18874" y="14117"/>
                  <a:pt x="18875" y="14102"/>
                  <a:pt x="18875" y="14088"/>
                </a:cubicBezTo>
                <a:cubicBezTo>
                  <a:pt x="18870" y="14083"/>
                  <a:pt x="18865" y="14077"/>
                  <a:pt x="18860" y="14073"/>
                </a:cubicBezTo>
                <a:cubicBezTo>
                  <a:pt x="18848" y="14075"/>
                  <a:pt x="18849" y="14084"/>
                  <a:pt x="18841" y="14091"/>
                </a:cubicBezTo>
                <a:cubicBezTo>
                  <a:pt x="18835" y="14096"/>
                  <a:pt x="18786" y="14122"/>
                  <a:pt x="18781" y="14118"/>
                </a:cubicBezTo>
                <a:cubicBezTo>
                  <a:pt x="18776" y="14115"/>
                  <a:pt x="18770" y="14106"/>
                  <a:pt x="18762" y="14103"/>
                </a:cubicBezTo>
                <a:cubicBezTo>
                  <a:pt x="18754" y="14125"/>
                  <a:pt x="18745" y="14148"/>
                  <a:pt x="18737" y="14170"/>
                </a:cubicBezTo>
                <a:cubicBezTo>
                  <a:pt x="18725" y="14167"/>
                  <a:pt x="18714" y="14165"/>
                  <a:pt x="18703" y="14163"/>
                </a:cubicBezTo>
                <a:cubicBezTo>
                  <a:pt x="18701" y="14150"/>
                  <a:pt x="18698" y="14136"/>
                  <a:pt x="18695" y="14123"/>
                </a:cubicBezTo>
                <a:cubicBezTo>
                  <a:pt x="18686" y="14100"/>
                  <a:pt x="18668" y="14100"/>
                  <a:pt x="18661" y="14069"/>
                </a:cubicBezTo>
                <a:cubicBezTo>
                  <a:pt x="18657" y="14045"/>
                  <a:pt x="18663" y="14019"/>
                  <a:pt x="18667" y="14003"/>
                </a:cubicBezTo>
                <a:cubicBezTo>
                  <a:pt x="18689" y="13915"/>
                  <a:pt x="18733" y="13944"/>
                  <a:pt x="18796" y="13944"/>
                </a:cubicBezTo>
                <a:cubicBezTo>
                  <a:pt x="18883" y="13944"/>
                  <a:pt x="18916" y="14012"/>
                  <a:pt x="18965" y="13892"/>
                </a:cubicBezTo>
                <a:cubicBezTo>
                  <a:pt x="18976" y="13864"/>
                  <a:pt x="18989" y="13842"/>
                  <a:pt x="18985" y="13791"/>
                </a:cubicBezTo>
                <a:close/>
                <a:moveTo>
                  <a:pt x="19094" y="13791"/>
                </a:moveTo>
                <a:cubicBezTo>
                  <a:pt x="19087" y="13822"/>
                  <a:pt x="19075" y="13852"/>
                  <a:pt x="19072" y="13890"/>
                </a:cubicBezTo>
                <a:cubicBezTo>
                  <a:pt x="19071" y="13907"/>
                  <a:pt x="19077" y="13911"/>
                  <a:pt x="19078" y="13920"/>
                </a:cubicBezTo>
                <a:cubicBezTo>
                  <a:pt x="19076" y="13932"/>
                  <a:pt x="19075" y="13944"/>
                  <a:pt x="19074" y="13956"/>
                </a:cubicBezTo>
                <a:cubicBezTo>
                  <a:pt x="19077" y="13970"/>
                  <a:pt x="19081" y="13986"/>
                  <a:pt x="19085" y="14000"/>
                </a:cubicBezTo>
                <a:cubicBezTo>
                  <a:pt x="19085" y="14017"/>
                  <a:pt x="19085" y="14033"/>
                  <a:pt x="19085" y="14050"/>
                </a:cubicBezTo>
                <a:cubicBezTo>
                  <a:pt x="19087" y="14066"/>
                  <a:pt x="19096" y="14083"/>
                  <a:pt x="19105" y="14099"/>
                </a:cubicBezTo>
                <a:cubicBezTo>
                  <a:pt x="19094" y="14096"/>
                  <a:pt x="19083" y="14095"/>
                  <a:pt x="19072" y="14101"/>
                </a:cubicBezTo>
                <a:cubicBezTo>
                  <a:pt x="19078" y="14122"/>
                  <a:pt x="19085" y="14142"/>
                  <a:pt x="19091" y="14163"/>
                </a:cubicBezTo>
                <a:cubicBezTo>
                  <a:pt x="19102" y="14152"/>
                  <a:pt x="19112" y="14141"/>
                  <a:pt x="19123" y="14130"/>
                </a:cubicBezTo>
                <a:cubicBezTo>
                  <a:pt x="19139" y="14139"/>
                  <a:pt x="19148" y="14164"/>
                  <a:pt x="19170" y="14167"/>
                </a:cubicBezTo>
                <a:cubicBezTo>
                  <a:pt x="19170" y="14158"/>
                  <a:pt x="19170" y="14149"/>
                  <a:pt x="19170" y="14140"/>
                </a:cubicBezTo>
                <a:cubicBezTo>
                  <a:pt x="19174" y="14138"/>
                  <a:pt x="19178" y="14137"/>
                  <a:pt x="19182" y="14135"/>
                </a:cubicBezTo>
                <a:cubicBezTo>
                  <a:pt x="19205" y="14158"/>
                  <a:pt x="19220" y="14190"/>
                  <a:pt x="19247" y="14205"/>
                </a:cubicBezTo>
                <a:cubicBezTo>
                  <a:pt x="19247" y="14200"/>
                  <a:pt x="19248" y="14193"/>
                  <a:pt x="19249" y="14188"/>
                </a:cubicBezTo>
                <a:cubicBezTo>
                  <a:pt x="19240" y="14141"/>
                  <a:pt x="19209" y="14074"/>
                  <a:pt x="19167" y="14097"/>
                </a:cubicBezTo>
                <a:cubicBezTo>
                  <a:pt x="19160" y="14100"/>
                  <a:pt x="19156" y="14120"/>
                  <a:pt x="19144" y="14115"/>
                </a:cubicBezTo>
                <a:cubicBezTo>
                  <a:pt x="19138" y="14112"/>
                  <a:pt x="19131" y="14109"/>
                  <a:pt x="19125" y="14106"/>
                </a:cubicBezTo>
                <a:cubicBezTo>
                  <a:pt x="19111" y="14074"/>
                  <a:pt x="19099" y="14044"/>
                  <a:pt x="19102" y="13982"/>
                </a:cubicBezTo>
                <a:cubicBezTo>
                  <a:pt x="19104" y="13979"/>
                  <a:pt x="19107" y="13975"/>
                  <a:pt x="19109" y="13972"/>
                </a:cubicBezTo>
                <a:cubicBezTo>
                  <a:pt x="19123" y="13978"/>
                  <a:pt x="19138" y="13984"/>
                  <a:pt x="19153" y="13990"/>
                </a:cubicBezTo>
                <a:cubicBezTo>
                  <a:pt x="19152" y="13981"/>
                  <a:pt x="19150" y="13973"/>
                  <a:pt x="19149" y="13964"/>
                </a:cubicBezTo>
                <a:cubicBezTo>
                  <a:pt x="19140" y="13958"/>
                  <a:pt x="19130" y="13951"/>
                  <a:pt x="19120" y="13944"/>
                </a:cubicBezTo>
                <a:cubicBezTo>
                  <a:pt x="19125" y="13925"/>
                  <a:pt x="19134" y="13908"/>
                  <a:pt x="19145" y="13900"/>
                </a:cubicBezTo>
                <a:cubicBezTo>
                  <a:pt x="19149" y="13886"/>
                  <a:pt x="19146" y="13870"/>
                  <a:pt x="19147" y="13848"/>
                </a:cubicBezTo>
                <a:cubicBezTo>
                  <a:pt x="19127" y="13834"/>
                  <a:pt x="19105" y="13898"/>
                  <a:pt x="19098" y="13927"/>
                </a:cubicBezTo>
                <a:cubicBezTo>
                  <a:pt x="19097" y="13928"/>
                  <a:pt x="19097" y="13930"/>
                  <a:pt x="19096" y="13931"/>
                </a:cubicBezTo>
                <a:cubicBezTo>
                  <a:pt x="19094" y="13929"/>
                  <a:pt x="19092" y="13928"/>
                  <a:pt x="19091" y="13926"/>
                </a:cubicBezTo>
                <a:cubicBezTo>
                  <a:pt x="19089" y="13889"/>
                  <a:pt x="19101" y="13865"/>
                  <a:pt x="19108" y="13836"/>
                </a:cubicBezTo>
                <a:cubicBezTo>
                  <a:pt x="19107" y="13815"/>
                  <a:pt x="19101" y="13801"/>
                  <a:pt x="19094" y="13791"/>
                </a:cubicBezTo>
                <a:close/>
                <a:moveTo>
                  <a:pt x="19309" y="13793"/>
                </a:moveTo>
                <a:cubicBezTo>
                  <a:pt x="19285" y="13803"/>
                  <a:pt x="19279" y="13848"/>
                  <a:pt x="19243" y="13849"/>
                </a:cubicBezTo>
                <a:cubicBezTo>
                  <a:pt x="19242" y="13865"/>
                  <a:pt x="19242" y="13882"/>
                  <a:pt x="19241" y="13898"/>
                </a:cubicBezTo>
                <a:cubicBezTo>
                  <a:pt x="19238" y="13902"/>
                  <a:pt x="19236" y="13908"/>
                  <a:pt x="19233" y="13912"/>
                </a:cubicBezTo>
                <a:cubicBezTo>
                  <a:pt x="19233" y="13912"/>
                  <a:pt x="19233" y="13912"/>
                  <a:pt x="19233" y="13913"/>
                </a:cubicBezTo>
                <a:cubicBezTo>
                  <a:pt x="19249" y="13913"/>
                  <a:pt x="19269" y="13916"/>
                  <a:pt x="19279" y="13927"/>
                </a:cubicBezTo>
                <a:cubicBezTo>
                  <a:pt x="19293" y="13948"/>
                  <a:pt x="19287" y="13995"/>
                  <a:pt x="19307" y="14009"/>
                </a:cubicBezTo>
                <a:cubicBezTo>
                  <a:pt x="19339" y="14031"/>
                  <a:pt x="19386" y="14001"/>
                  <a:pt x="19412" y="13998"/>
                </a:cubicBezTo>
                <a:cubicBezTo>
                  <a:pt x="19413" y="14017"/>
                  <a:pt x="19413" y="14024"/>
                  <a:pt x="19411" y="14041"/>
                </a:cubicBezTo>
                <a:cubicBezTo>
                  <a:pt x="19398" y="14057"/>
                  <a:pt x="19378" y="14055"/>
                  <a:pt x="19368" y="14037"/>
                </a:cubicBezTo>
                <a:cubicBezTo>
                  <a:pt x="19355" y="14042"/>
                  <a:pt x="19350" y="14064"/>
                  <a:pt x="19339" y="14074"/>
                </a:cubicBezTo>
                <a:cubicBezTo>
                  <a:pt x="19331" y="14082"/>
                  <a:pt x="19310" y="14063"/>
                  <a:pt x="19296" y="14063"/>
                </a:cubicBezTo>
                <a:cubicBezTo>
                  <a:pt x="19294" y="14070"/>
                  <a:pt x="19292" y="14073"/>
                  <a:pt x="19295" y="14082"/>
                </a:cubicBezTo>
                <a:cubicBezTo>
                  <a:pt x="19313" y="14116"/>
                  <a:pt x="19345" y="14112"/>
                  <a:pt x="19350" y="14171"/>
                </a:cubicBezTo>
                <a:cubicBezTo>
                  <a:pt x="19346" y="14174"/>
                  <a:pt x="19342" y="14177"/>
                  <a:pt x="19339" y="14181"/>
                </a:cubicBezTo>
                <a:cubicBezTo>
                  <a:pt x="19340" y="14204"/>
                  <a:pt x="19346" y="14219"/>
                  <a:pt x="19351" y="14235"/>
                </a:cubicBezTo>
                <a:cubicBezTo>
                  <a:pt x="19396" y="14216"/>
                  <a:pt x="19378" y="14144"/>
                  <a:pt x="19404" y="14109"/>
                </a:cubicBezTo>
                <a:cubicBezTo>
                  <a:pt x="19416" y="14130"/>
                  <a:pt x="19402" y="14245"/>
                  <a:pt x="19464" y="14205"/>
                </a:cubicBezTo>
                <a:cubicBezTo>
                  <a:pt x="19472" y="14213"/>
                  <a:pt x="19473" y="14221"/>
                  <a:pt x="19469" y="14240"/>
                </a:cubicBezTo>
                <a:cubicBezTo>
                  <a:pt x="19528" y="14292"/>
                  <a:pt x="19611" y="14295"/>
                  <a:pt x="19660" y="14366"/>
                </a:cubicBezTo>
                <a:cubicBezTo>
                  <a:pt x="19692" y="14412"/>
                  <a:pt x="19692" y="14514"/>
                  <a:pt x="19733" y="14546"/>
                </a:cubicBezTo>
                <a:cubicBezTo>
                  <a:pt x="19735" y="14551"/>
                  <a:pt x="19737" y="14556"/>
                  <a:pt x="19739" y="14561"/>
                </a:cubicBezTo>
                <a:cubicBezTo>
                  <a:pt x="19728" y="14572"/>
                  <a:pt x="19722" y="14554"/>
                  <a:pt x="19716" y="14573"/>
                </a:cubicBezTo>
                <a:cubicBezTo>
                  <a:pt x="19727" y="14596"/>
                  <a:pt x="19738" y="14620"/>
                  <a:pt x="19749" y="14643"/>
                </a:cubicBezTo>
                <a:cubicBezTo>
                  <a:pt x="19747" y="14676"/>
                  <a:pt x="19734" y="14679"/>
                  <a:pt x="19733" y="14715"/>
                </a:cubicBezTo>
                <a:cubicBezTo>
                  <a:pt x="19740" y="14715"/>
                  <a:pt x="19748" y="14712"/>
                  <a:pt x="19755" y="14709"/>
                </a:cubicBezTo>
                <a:cubicBezTo>
                  <a:pt x="19740" y="14734"/>
                  <a:pt x="19728" y="14762"/>
                  <a:pt x="19718" y="14799"/>
                </a:cubicBezTo>
                <a:cubicBezTo>
                  <a:pt x="19718" y="14800"/>
                  <a:pt x="19718" y="14800"/>
                  <a:pt x="19718" y="14800"/>
                </a:cubicBezTo>
                <a:cubicBezTo>
                  <a:pt x="19730" y="14804"/>
                  <a:pt x="19741" y="14808"/>
                  <a:pt x="19753" y="14811"/>
                </a:cubicBezTo>
                <a:cubicBezTo>
                  <a:pt x="19769" y="14806"/>
                  <a:pt x="19790" y="14748"/>
                  <a:pt x="19795" y="14719"/>
                </a:cubicBezTo>
                <a:cubicBezTo>
                  <a:pt x="19792" y="14712"/>
                  <a:pt x="19788" y="14709"/>
                  <a:pt x="19785" y="14704"/>
                </a:cubicBezTo>
                <a:cubicBezTo>
                  <a:pt x="19790" y="14704"/>
                  <a:pt x="19796" y="14701"/>
                  <a:pt x="19799" y="14704"/>
                </a:cubicBezTo>
                <a:cubicBezTo>
                  <a:pt x="19820" y="14746"/>
                  <a:pt x="19840" y="14787"/>
                  <a:pt x="19861" y="14828"/>
                </a:cubicBezTo>
                <a:cubicBezTo>
                  <a:pt x="19898" y="14831"/>
                  <a:pt x="19935" y="14835"/>
                  <a:pt x="19972" y="14839"/>
                </a:cubicBezTo>
                <a:cubicBezTo>
                  <a:pt x="19986" y="14825"/>
                  <a:pt x="20001" y="14812"/>
                  <a:pt x="20015" y="14798"/>
                </a:cubicBezTo>
                <a:cubicBezTo>
                  <a:pt x="20001" y="14743"/>
                  <a:pt x="19974" y="14753"/>
                  <a:pt x="19950" y="14719"/>
                </a:cubicBezTo>
                <a:cubicBezTo>
                  <a:pt x="19960" y="14711"/>
                  <a:pt x="20008" y="14721"/>
                  <a:pt x="20024" y="14719"/>
                </a:cubicBezTo>
                <a:cubicBezTo>
                  <a:pt x="20022" y="14711"/>
                  <a:pt x="20020" y="14701"/>
                  <a:pt x="20018" y="14694"/>
                </a:cubicBezTo>
                <a:cubicBezTo>
                  <a:pt x="20019" y="14693"/>
                  <a:pt x="20020" y="14693"/>
                  <a:pt x="20020" y="14692"/>
                </a:cubicBezTo>
                <a:cubicBezTo>
                  <a:pt x="20027" y="14685"/>
                  <a:pt x="20033" y="14695"/>
                  <a:pt x="20041" y="14690"/>
                </a:cubicBezTo>
                <a:cubicBezTo>
                  <a:pt x="20042" y="14690"/>
                  <a:pt x="20044" y="14690"/>
                  <a:pt x="20044" y="14690"/>
                </a:cubicBezTo>
                <a:cubicBezTo>
                  <a:pt x="20042" y="14673"/>
                  <a:pt x="20039" y="14654"/>
                  <a:pt x="20037" y="14637"/>
                </a:cubicBezTo>
                <a:cubicBezTo>
                  <a:pt x="20043" y="14645"/>
                  <a:pt x="20050" y="14653"/>
                  <a:pt x="20057" y="14661"/>
                </a:cubicBezTo>
                <a:cubicBezTo>
                  <a:pt x="20069" y="14657"/>
                  <a:pt x="20081" y="14652"/>
                  <a:pt x="20093" y="14648"/>
                </a:cubicBezTo>
                <a:cubicBezTo>
                  <a:pt x="20100" y="14655"/>
                  <a:pt x="20108" y="14663"/>
                  <a:pt x="20115" y="14670"/>
                </a:cubicBezTo>
                <a:cubicBezTo>
                  <a:pt x="20134" y="14677"/>
                  <a:pt x="20154" y="14683"/>
                  <a:pt x="20173" y="14690"/>
                </a:cubicBezTo>
                <a:cubicBezTo>
                  <a:pt x="20191" y="14737"/>
                  <a:pt x="20208" y="14783"/>
                  <a:pt x="20226" y="14830"/>
                </a:cubicBezTo>
                <a:cubicBezTo>
                  <a:pt x="20239" y="14844"/>
                  <a:pt x="20252" y="14859"/>
                  <a:pt x="20265" y="14873"/>
                </a:cubicBezTo>
                <a:cubicBezTo>
                  <a:pt x="20274" y="14895"/>
                  <a:pt x="20273" y="14912"/>
                  <a:pt x="20287" y="14925"/>
                </a:cubicBezTo>
                <a:cubicBezTo>
                  <a:pt x="20304" y="14941"/>
                  <a:pt x="20327" y="14928"/>
                  <a:pt x="20350" y="14936"/>
                </a:cubicBezTo>
                <a:cubicBezTo>
                  <a:pt x="20375" y="14947"/>
                  <a:pt x="20401" y="14957"/>
                  <a:pt x="20425" y="14967"/>
                </a:cubicBezTo>
                <a:cubicBezTo>
                  <a:pt x="20430" y="14973"/>
                  <a:pt x="20432" y="14978"/>
                  <a:pt x="20433" y="14990"/>
                </a:cubicBezTo>
                <a:cubicBezTo>
                  <a:pt x="20442" y="15003"/>
                  <a:pt x="20454" y="15005"/>
                  <a:pt x="20471" y="15003"/>
                </a:cubicBezTo>
                <a:cubicBezTo>
                  <a:pt x="20473" y="14982"/>
                  <a:pt x="20468" y="14968"/>
                  <a:pt x="20466" y="14948"/>
                </a:cubicBezTo>
                <a:cubicBezTo>
                  <a:pt x="20451" y="14934"/>
                  <a:pt x="20431" y="14921"/>
                  <a:pt x="20413" y="14911"/>
                </a:cubicBezTo>
                <a:cubicBezTo>
                  <a:pt x="20413" y="14910"/>
                  <a:pt x="20413" y="14908"/>
                  <a:pt x="20413" y="14907"/>
                </a:cubicBezTo>
                <a:cubicBezTo>
                  <a:pt x="20419" y="14902"/>
                  <a:pt x="20425" y="14897"/>
                  <a:pt x="20431" y="14892"/>
                </a:cubicBezTo>
                <a:cubicBezTo>
                  <a:pt x="20431" y="14889"/>
                  <a:pt x="20430" y="14887"/>
                  <a:pt x="20430" y="14885"/>
                </a:cubicBezTo>
                <a:cubicBezTo>
                  <a:pt x="20424" y="14870"/>
                  <a:pt x="20378" y="14870"/>
                  <a:pt x="20381" y="14846"/>
                </a:cubicBezTo>
                <a:cubicBezTo>
                  <a:pt x="20382" y="14836"/>
                  <a:pt x="20388" y="14831"/>
                  <a:pt x="20389" y="14816"/>
                </a:cubicBezTo>
                <a:cubicBezTo>
                  <a:pt x="20389" y="14815"/>
                  <a:pt x="20389" y="14813"/>
                  <a:pt x="20389" y="14812"/>
                </a:cubicBezTo>
                <a:cubicBezTo>
                  <a:pt x="20374" y="14812"/>
                  <a:pt x="20359" y="14811"/>
                  <a:pt x="20344" y="14810"/>
                </a:cubicBezTo>
                <a:cubicBezTo>
                  <a:pt x="20325" y="14789"/>
                  <a:pt x="20328" y="14744"/>
                  <a:pt x="20316" y="14708"/>
                </a:cubicBezTo>
                <a:cubicBezTo>
                  <a:pt x="20308" y="14700"/>
                  <a:pt x="20301" y="14690"/>
                  <a:pt x="20294" y="14682"/>
                </a:cubicBezTo>
                <a:cubicBezTo>
                  <a:pt x="20268" y="14650"/>
                  <a:pt x="20250" y="14616"/>
                  <a:pt x="20239" y="14555"/>
                </a:cubicBezTo>
                <a:cubicBezTo>
                  <a:pt x="20250" y="14528"/>
                  <a:pt x="20274" y="14543"/>
                  <a:pt x="20292" y="14530"/>
                </a:cubicBezTo>
                <a:cubicBezTo>
                  <a:pt x="20293" y="14530"/>
                  <a:pt x="20294" y="14530"/>
                  <a:pt x="20295" y="14530"/>
                </a:cubicBezTo>
                <a:cubicBezTo>
                  <a:pt x="20293" y="14504"/>
                  <a:pt x="20283" y="14465"/>
                  <a:pt x="20273" y="14453"/>
                </a:cubicBezTo>
                <a:cubicBezTo>
                  <a:pt x="20262" y="14450"/>
                  <a:pt x="20251" y="14446"/>
                  <a:pt x="20239" y="14443"/>
                </a:cubicBezTo>
                <a:cubicBezTo>
                  <a:pt x="20216" y="14430"/>
                  <a:pt x="20189" y="14406"/>
                  <a:pt x="20162" y="14388"/>
                </a:cubicBezTo>
                <a:cubicBezTo>
                  <a:pt x="20157" y="14367"/>
                  <a:pt x="20164" y="14345"/>
                  <a:pt x="20166" y="14322"/>
                </a:cubicBezTo>
                <a:cubicBezTo>
                  <a:pt x="20147" y="14275"/>
                  <a:pt x="20104" y="14261"/>
                  <a:pt x="20093" y="14201"/>
                </a:cubicBezTo>
                <a:cubicBezTo>
                  <a:pt x="20051" y="14202"/>
                  <a:pt x="20029" y="14162"/>
                  <a:pt x="19994" y="14140"/>
                </a:cubicBezTo>
                <a:cubicBezTo>
                  <a:pt x="19920" y="14092"/>
                  <a:pt x="19847" y="14055"/>
                  <a:pt x="19777" y="14003"/>
                </a:cubicBezTo>
                <a:cubicBezTo>
                  <a:pt x="19758" y="13989"/>
                  <a:pt x="19676" y="13912"/>
                  <a:pt x="19656" y="13921"/>
                </a:cubicBezTo>
                <a:cubicBezTo>
                  <a:pt x="19645" y="13933"/>
                  <a:pt x="19633" y="13945"/>
                  <a:pt x="19622" y="13957"/>
                </a:cubicBezTo>
                <a:cubicBezTo>
                  <a:pt x="19618" y="13967"/>
                  <a:pt x="19617" y="13983"/>
                  <a:pt x="19616" y="13998"/>
                </a:cubicBezTo>
                <a:cubicBezTo>
                  <a:pt x="19600" y="14004"/>
                  <a:pt x="19586" y="14014"/>
                  <a:pt x="19566" y="14014"/>
                </a:cubicBezTo>
                <a:cubicBezTo>
                  <a:pt x="19548" y="14069"/>
                  <a:pt x="19535" y="14122"/>
                  <a:pt x="19500" y="14147"/>
                </a:cubicBezTo>
                <a:cubicBezTo>
                  <a:pt x="19469" y="14147"/>
                  <a:pt x="19464" y="14097"/>
                  <a:pt x="19458" y="14052"/>
                </a:cubicBezTo>
                <a:cubicBezTo>
                  <a:pt x="19457" y="14052"/>
                  <a:pt x="19457" y="14052"/>
                  <a:pt x="19457" y="14052"/>
                </a:cubicBezTo>
                <a:cubicBezTo>
                  <a:pt x="19455" y="14064"/>
                  <a:pt x="19453" y="14074"/>
                  <a:pt x="19451" y="14086"/>
                </a:cubicBezTo>
                <a:cubicBezTo>
                  <a:pt x="19438" y="14071"/>
                  <a:pt x="19418" y="13993"/>
                  <a:pt x="19421" y="13955"/>
                </a:cubicBezTo>
                <a:cubicBezTo>
                  <a:pt x="19424" y="13937"/>
                  <a:pt x="19426" y="13919"/>
                  <a:pt x="19429" y="13901"/>
                </a:cubicBezTo>
                <a:cubicBezTo>
                  <a:pt x="19425" y="13885"/>
                  <a:pt x="19421" y="13869"/>
                  <a:pt x="19416" y="13854"/>
                </a:cubicBezTo>
                <a:cubicBezTo>
                  <a:pt x="19402" y="13840"/>
                  <a:pt x="19326" y="13785"/>
                  <a:pt x="19309" y="13793"/>
                </a:cubicBezTo>
                <a:close/>
                <a:moveTo>
                  <a:pt x="7285" y="14379"/>
                </a:moveTo>
                <a:cubicBezTo>
                  <a:pt x="7267" y="14429"/>
                  <a:pt x="7272" y="14511"/>
                  <a:pt x="7281" y="14553"/>
                </a:cubicBezTo>
                <a:cubicBezTo>
                  <a:pt x="7313" y="14567"/>
                  <a:pt x="7374" y="14549"/>
                  <a:pt x="7392" y="14510"/>
                </a:cubicBezTo>
                <a:cubicBezTo>
                  <a:pt x="7403" y="14487"/>
                  <a:pt x="7406" y="14426"/>
                  <a:pt x="7413" y="14402"/>
                </a:cubicBezTo>
                <a:cubicBezTo>
                  <a:pt x="7401" y="14380"/>
                  <a:pt x="7317" y="14378"/>
                  <a:pt x="7285" y="14379"/>
                </a:cubicBezTo>
                <a:close/>
                <a:moveTo>
                  <a:pt x="13304" y="14392"/>
                </a:moveTo>
                <a:cubicBezTo>
                  <a:pt x="13301" y="14393"/>
                  <a:pt x="13298" y="14399"/>
                  <a:pt x="13291" y="14410"/>
                </a:cubicBezTo>
                <a:cubicBezTo>
                  <a:pt x="13293" y="14450"/>
                  <a:pt x="13293" y="14505"/>
                  <a:pt x="13276" y="14530"/>
                </a:cubicBezTo>
                <a:cubicBezTo>
                  <a:pt x="13266" y="14545"/>
                  <a:pt x="13258" y="14547"/>
                  <a:pt x="13254" y="14572"/>
                </a:cubicBezTo>
                <a:cubicBezTo>
                  <a:pt x="13245" y="14566"/>
                  <a:pt x="13243" y="14559"/>
                  <a:pt x="13239" y="14545"/>
                </a:cubicBezTo>
                <a:cubicBezTo>
                  <a:pt x="13235" y="14544"/>
                  <a:pt x="13231" y="14542"/>
                  <a:pt x="13227" y="14541"/>
                </a:cubicBezTo>
                <a:cubicBezTo>
                  <a:pt x="13226" y="14568"/>
                  <a:pt x="13230" y="14586"/>
                  <a:pt x="13235" y="14608"/>
                </a:cubicBezTo>
                <a:cubicBezTo>
                  <a:pt x="13235" y="14613"/>
                  <a:pt x="13233" y="14616"/>
                  <a:pt x="13232" y="14620"/>
                </a:cubicBezTo>
                <a:cubicBezTo>
                  <a:pt x="13227" y="14627"/>
                  <a:pt x="13223" y="14631"/>
                  <a:pt x="13214" y="14631"/>
                </a:cubicBezTo>
                <a:cubicBezTo>
                  <a:pt x="13214" y="14633"/>
                  <a:pt x="13213" y="14635"/>
                  <a:pt x="13213" y="14637"/>
                </a:cubicBezTo>
                <a:cubicBezTo>
                  <a:pt x="13213" y="14655"/>
                  <a:pt x="13219" y="14661"/>
                  <a:pt x="13223" y="14678"/>
                </a:cubicBezTo>
                <a:cubicBezTo>
                  <a:pt x="13218" y="14688"/>
                  <a:pt x="13212" y="14699"/>
                  <a:pt x="13207" y="14709"/>
                </a:cubicBezTo>
                <a:cubicBezTo>
                  <a:pt x="13199" y="14708"/>
                  <a:pt x="13199" y="14705"/>
                  <a:pt x="13197" y="14694"/>
                </a:cubicBezTo>
                <a:cubicBezTo>
                  <a:pt x="13196" y="14694"/>
                  <a:pt x="13195" y="14694"/>
                  <a:pt x="13195" y="14694"/>
                </a:cubicBezTo>
                <a:cubicBezTo>
                  <a:pt x="13188" y="14705"/>
                  <a:pt x="13181" y="14715"/>
                  <a:pt x="13174" y="14726"/>
                </a:cubicBezTo>
                <a:cubicBezTo>
                  <a:pt x="13176" y="14740"/>
                  <a:pt x="13179" y="14745"/>
                  <a:pt x="13182" y="14755"/>
                </a:cubicBezTo>
                <a:cubicBezTo>
                  <a:pt x="13180" y="14758"/>
                  <a:pt x="13177" y="14762"/>
                  <a:pt x="13174" y="14766"/>
                </a:cubicBezTo>
                <a:cubicBezTo>
                  <a:pt x="13169" y="14770"/>
                  <a:pt x="13168" y="14761"/>
                  <a:pt x="13160" y="14757"/>
                </a:cubicBezTo>
                <a:cubicBezTo>
                  <a:pt x="13150" y="14769"/>
                  <a:pt x="13140" y="14781"/>
                  <a:pt x="13130" y="14793"/>
                </a:cubicBezTo>
                <a:cubicBezTo>
                  <a:pt x="13131" y="14804"/>
                  <a:pt x="13131" y="14814"/>
                  <a:pt x="13132" y="14824"/>
                </a:cubicBezTo>
                <a:cubicBezTo>
                  <a:pt x="13117" y="14831"/>
                  <a:pt x="13107" y="14802"/>
                  <a:pt x="13087" y="14818"/>
                </a:cubicBezTo>
                <a:cubicBezTo>
                  <a:pt x="13083" y="14826"/>
                  <a:pt x="13079" y="14834"/>
                  <a:pt x="13075" y="14841"/>
                </a:cubicBezTo>
                <a:cubicBezTo>
                  <a:pt x="13067" y="14849"/>
                  <a:pt x="13059" y="14836"/>
                  <a:pt x="13052" y="14836"/>
                </a:cubicBezTo>
                <a:cubicBezTo>
                  <a:pt x="13047" y="14844"/>
                  <a:pt x="13041" y="14853"/>
                  <a:pt x="13035" y="14860"/>
                </a:cubicBezTo>
                <a:cubicBezTo>
                  <a:pt x="13026" y="14861"/>
                  <a:pt x="13016" y="14862"/>
                  <a:pt x="13007" y="14863"/>
                </a:cubicBezTo>
                <a:cubicBezTo>
                  <a:pt x="13007" y="14949"/>
                  <a:pt x="12989" y="14962"/>
                  <a:pt x="12976" y="15017"/>
                </a:cubicBezTo>
                <a:cubicBezTo>
                  <a:pt x="12971" y="15057"/>
                  <a:pt x="12991" y="15149"/>
                  <a:pt x="13002" y="15174"/>
                </a:cubicBezTo>
                <a:cubicBezTo>
                  <a:pt x="12999" y="15187"/>
                  <a:pt x="12996" y="15200"/>
                  <a:pt x="12992" y="15212"/>
                </a:cubicBezTo>
                <a:cubicBezTo>
                  <a:pt x="12999" y="15228"/>
                  <a:pt x="13006" y="15243"/>
                  <a:pt x="13013" y="15258"/>
                </a:cubicBezTo>
                <a:cubicBezTo>
                  <a:pt x="13020" y="15305"/>
                  <a:pt x="12977" y="15466"/>
                  <a:pt x="12967" y="15485"/>
                </a:cubicBezTo>
                <a:cubicBezTo>
                  <a:pt x="12961" y="15488"/>
                  <a:pt x="12955" y="15491"/>
                  <a:pt x="12950" y="15495"/>
                </a:cubicBezTo>
                <a:cubicBezTo>
                  <a:pt x="12940" y="15507"/>
                  <a:pt x="12927" y="15589"/>
                  <a:pt x="12930" y="15621"/>
                </a:cubicBezTo>
                <a:cubicBezTo>
                  <a:pt x="12942" y="15660"/>
                  <a:pt x="12953" y="15699"/>
                  <a:pt x="12965" y="15739"/>
                </a:cubicBezTo>
                <a:cubicBezTo>
                  <a:pt x="12962" y="15758"/>
                  <a:pt x="12959" y="15778"/>
                  <a:pt x="12956" y="15797"/>
                </a:cubicBezTo>
                <a:cubicBezTo>
                  <a:pt x="12949" y="15855"/>
                  <a:pt x="12969" y="15862"/>
                  <a:pt x="12974" y="15891"/>
                </a:cubicBezTo>
                <a:cubicBezTo>
                  <a:pt x="12978" y="15912"/>
                  <a:pt x="12973" y="15927"/>
                  <a:pt x="12979" y="15942"/>
                </a:cubicBezTo>
                <a:cubicBezTo>
                  <a:pt x="12997" y="15990"/>
                  <a:pt x="13036" y="15976"/>
                  <a:pt x="13053" y="16027"/>
                </a:cubicBezTo>
                <a:cubicBezTo>
                  <a:pt x="13083" y="16023"/>
                  <a:pt x="13091" y="15990"/>
                  <a:pt x="13116" y="15978"/>
                </a:cubicBezTo>
                <a:cubicBezTo>
                  <a:pt x="13131" y="15974"/>
                  <a:pt x="13146" y="15970"/>
                  <a:pt x="13162" y="15967"/>
                </a:cubicBezTo>
                <a:cubicBezTo>
                  <a:pt x="13190" y="15934"/>
                  <a:pt x="13206" y="15766"/>
                  <a:pt x="13219" y="15695"/>
                </a:cubicBezTo>
                <a:cubicBezTo>
                  <a:pt x="13251" y="15499"/>
                  <a:pt x="13284" y="15303"/>
                  <a:pt x="13317" y="15107"/>
                </a:cubicBezTo>
                <a:cubicBezTo>
                  <a:pt x="13323" y="15068"/>
                  <a:pt x="13314" y="15031"/>
                  <a:pt x="13321" y="14987"/>
                </a:cubicBezTo>
                <a:cubicBezTo>
                  <a:pt x="13327" y="14949"/>
                  <a:pt x="13348" y="14926"/>
                  <a:pt x="13353" y="14882"/>
                </a:cubicBezTo>
                <a:cubicBezTo>
                  <a:pt x="13342" y="14853"/>
                  <a:pt x="13333" y="14820"/>
                  <a:pt x="13333" y="14773"/>
                </a:cubicBezTo>
                <a:cubicBezTo>
                  <a:pt x="13336" y="14770"/>
                  <a:pt x="13338" y="14768"/>
                  <a:pt x="13340" y="14766"/>
                </a:cubicBezTo>
                <a:cubicBezTo>
                  <a:pt x="13341" y="14764"/>
                  <a:pt x="13342" y="14761"/>
                  <a:pt x="13343" y="14760"/>
                </a:cubicBezTo>
                <a:cubicBezTo>
                  <a:pt x="13349" y="14781"/>
                  <a:pt x="13359" y="14814"/>
                  <a:pt x="13370" y="14827"/>
                </a:cubicBezTo>
                <a:cubicBezTo>
                  <a:pt x="13377" y="14815"/>
                  <a:pt x="13395" y="14778"/>
                  <a:pt x="13392" y="14750"/>
                </a:cubicBezTo>
                <a:cubicBezTo>
                  <a:pt x="13386" y="14729"/>
                  <a:pt x="13379" y="14706"/>
                  <a:pt x="13374" y="14685"/>
                </a:cubicBezTo>
                <a:cubicBezTo>
                  <a:pt x="13363" y="14628"/>
                  <a:pt x="13366" y="14500"/>
                  <a:pt x="13349" y="14458"/>
                </a:cubicBezTo>
                <a:cubicBezTo>
                  <a:pt x="13341" y="14435"/>
                  <a:pt x="13326" y="14435"/>
                  <a:pt x="13318" y="14405"/>
                </a:cubicBezTo>
                <a:cubicBezTo>
                  <a:pt x="13311" y="14394"/>
                  <a:pt x="13307" y="14391"/>
                  <a:pt x="13304" y="14392"/>
                </a:cubicBezTo>
                <a:close/>
                <a:moveTo>
                  <a:pt x="18943" y="14392"/>
                </a:moveTo>
                <a:cubicBezTo>
                  <a:pt x="18934" y="14394"/>
                  <a:pt x="18925" y="14395"/>
                  <a:pt x="18917" y="14397"/>
                </a:cubicBezTo>
                <a:cubicBezTo>
                  <a:pt x="18914" y="14404"/>
                  <a:pt x="18913" y="14409"/>
                  <a:pt x="18910" y="14416"/>
                </a:cubicBezTo>
                <a:cubicBezTo>
                  <a:pt x="18922" y="14452"/>
                  <a:pt x="18959" y="14497"/>
                  <a:pt x="18980" y="14445"/>
                </a:cubicBezTo>
                <a:cubicBezTo>
                  <a:pt x="18980" y="14442"/>
                  <a:pt x="18980" y="14437"/>
                  <a:pt x="18981" y="14434"/>
                </a:cubicBezTo>
                <a:cubicBezTo>
                  <a:pt x="18973" y="14420"/>
                  <a:pt x="18965" y="14407"/>
                  <a:pt x="18958" y="14393"/>
                </a:cubicBezTo>
                <a:cubicBezTo>
                  <a:pt x="18953" y="14393"/>
                  <a:pt x="18948" y="14393"/>
                  <a:pt x="18943" y="14392"/>
                </a:cubicBezTo>
                <a:close/>
                <a:moveTo>
                  <a:pt x="20603" y="14392"/>
                </a:moveTo>
                <a:cubicBezTo>
                  <a:pt x="20601" y="14397"/>
                  <a:pt x="20598" y="14402"/>
                  <a:pt x="20596" y="14406"/>
                </a:cubicBezTo>
                <a:cubicBezTo>
                  <a:pt x="20584" y="14406"/>
                  <a:pt x="20579" y="14400"/>
                  <a:pt x="20571" y="14393"/>
                </a:cubicBezTo>
                <a:cubicBezTo>
                  <a:pt x="20571" y="14419"/>
                  <a:pt x="20571" y="14445"/>
                  <a:pt x="20571" y="14471"/>
                </a:cubicBezTo>
                <a:cubicBezTo>
                  <a:pt x="20570" y="14471"/>
                  <a:pt x="20570" y="14471"/>
                  <a:pt x="20569" y="14471"/>
                </a:cubicBezTo>
                <a:cubicBezTo>
                  <a:pt x="20564" y="14477"/>
                  <a:pt x="20554" y="14477"/>
                  <a:pt x="20545" y="14476"/>
                </a:cubicBezTo>
                <a:cubicBezTo>
                  <a:pt x="20536" y="14489"/>
                  <a:pt x="20535" y="14515"/>
                  <a:pt x="20527" y="14528"/>
                </a:cubicBezTo>
                <a:cubicBezTo>
                  <a:pt x="20508" y="14557"/>
                  <a:pt x="20473" y="14551"/>
                  <a:pt x="20464" y="14515"/>
                </a:cubicBezTo>
                <a:cubicBezTo>
                  <a:pt x="20463" y="14514"/>
                  <a:pt x="20463" y="14513"/>
                  <a:pt x="20462" y="14512"/>
                </a:cubicBezTo>
                <a:cubicBezTo>
                  <a:pt x="20460" y="14521"/>
                  <a:pt x="20459" y="14530"/>
                  <a:pt x="20458" y="14539"/>
                </a:cubicBezTo>
                <a:cubicBezTo>
                  <a:pt x="20436" y="14562"/>
                  <a:pt x="20397" y="14544"/>
                  <a:pt x="20367" y="14543"/>
                </a:cubicBezTo>
                <a:cubicBezTo>
                  <a:pt x="20366" y="14549"/>
                  <a:pt x="20365" y="14552"/>
                  <a:pt x="20365" y="14558"/>
                </a:cubicBezTo>
                <a:cubicBezTo>
                  <a:pt x="20377" y="14578"/>
                  <a:pt x="20396" y="14594"/>
                  <a:pt x="20409" y="14612"/>
                </a:cubicBezTo>
                <a:cubicBezTo>
                  <a:pt x="20414" y="14608"/>
                  <a:pt x="20418" y="14606"/>
                  <a:pt x="20423" y="14602"/>
                </a:cubicBezTo>
                <a:cubicBezTo>
                  <a:pt x="20431" y="14612"/>
                  <a:pt x="20437" y="14616"/>
                  <a:pt x="20442" y="14630"/>
                </a:cubicBezTo>
                <a:cubicBezTo>
                  <a:pt x="20484" y="14629"/>
                  <a:pt x="20545" y="14613"/>
                  <a:pt x="20552" y="14548"/>
                </a:cubicBezTo>
                <a:cubicBezTo>
                  <a:pt x="20565" y="14547"/>
                  <a:pt x="20578" y="14547"/>
                  <a:pt x="20591" y="14546"/>
                </a:cubicBezTo>
                <a:cubicBezTo>
                  <a:pt x="20597" y="14540"/>
                  <a:pt x="20599" y="14533"/>
                  <a:pt x="20603" y="14523"/>
                </a:cubicBezTo>
                <a:cubicBezTo>
                  <a:pt x="20598" y="14513"/>
                  <a:pt x="20592" y="14502"/>
                  <a:pt x="20587" y="14492"/>
                </a:cubicBezTo>
                <a:cubicBezTo>
                  <a:pt x="20593" y="14476"/>
                  <a:pt x="20597" y="14478"/>
                  <a:pt x="20609" y="14474"/>
                </a:cubicBezTo>
                <a:cubicBezTo>
                  <a:pt x="20612" y="14462"/>
                  <a:pt x="20614" y="14450"/>
                  <a:pt x="20617" y="14438"/>
                </a:cubicBezTo>
                <a:cubicBezTo>
                  <a:pt x="20614" y="14422"/>
                  <a:pt x="20610" y="14402"/>
                  <a:pt x="20603" y="14392"/>
                </a:cubicBezTo>
                <a:close/>
                <a:moveTo>
                  <a:pt x="17667" y="14691"/>
                </a:moveTo>
                <a:cubicBezTo>
                  <a:pt x="17664" y="14712"/>
                  <a:pt x="17660" y="14715"/>
                  <a:pt x="17660" y="14744"/>
                </a:cubicBezTo>
                <a:cubicBezTo>
                  <a:pt x="17657" y="14742"/>
                  <a:pt x="17654" y="14741"/>
                  <a:pt x="17652" y="14739"/>
                </a:cubicBezTo>
                <a:cubicBezTo>
                  <a:pt x="17650" y="14752"/>
                  <a:pt x="17649" y="14765"/>
                  <a:pt x="17648" y="14778"/>
                </a:cubicBezTo>
                <a:cubicBezTo>
                  <a:pt x="17638" y="14781"/>
                  <a:pt x="17631" y="14782"/>
                  <a:pt x="17617" y="14781"/>
                </a:cubicBezTo>
                <a:cubicBezTo>
                  <a:pt x="17624" y="14797"/>
                  <a:pt x="17691" y="14809"/>
                  <a:pt x="17705" y="14818"/>
                </a:cubicBezTo>
                <a:cubicBezTo>
                  <a:pt x="17706" y="14820"/>
                  <a:pt x="17706" y="14823"/>
                  <a:pt x="17707" y="14824"/>
                </a:cubicBezTo>
                <a:cubicBezTo>
                  <a:pt x="17700" y="14833"/>
                  <a:pt x="17694" y="14842"/>
                  <a:pt x="17693" y="14860"/>
                </a:cubicBezTo>
                <a:cubicBezTo>
                  <a:pt x="17710" y="14869"/>
                  <a:pt x="17743" y="14859"/>
                  <a:pt x="17761" y="14873"/>
                </a:cubicBezTo>
                <a:cubicBezTo>
                  <a:pt x="17775" y="14883"/>
                  <a:pt x="17787" y="14903"/>
                  <a:pt x="17806" y="14909"/>
                </a:cubicBezTo>
                <a:cubicBezTo>
                  <a:pt x="17830" y="14915"/>
                  <a:pt x="17839" y="14879"/>
                  <a:pt x="17868" y="14891"/>
                </a:cubicBezTo>
                <a:cubicBezTo>
                  <a:pt x="17908" y="14906"/>
                  <a:pt x="17940" y="14945"/>
                  <a:pt x="17976" y="14963"/>
                </a:cubicBezTo>
                <a:cubicBezTo>
                  <a:pt x="18013" y="14969"/>
                  <a:pt x="18050" y="14976"/>
                  <a:pt x="18087" y="14983"/>
                </a:cubicBezTo>
                <a:cubicBezTo>
                  <a:pt x="18098" y="14979"/>
                  <a:pt x="18107" y="14958"/>
                  <a:pt x="18123" y="14965"/>
                </a:cubicBezTo>
                <a:cubicBezTo>
                  <a:pt x="18150" y="14981"/>
                  <a:pt x="18176" y="14998"/>
                  <a:pt x="18202" y="15014"/>
                </a:cubicBezTo>
                <a:cubicBezTo>
                  <a:pt x="18199" y="15006"/>
                  <a:pt x="18195" y="14996"/>
                  <a:pt x="18192" y="14988"/>
                </a:cubicBezTo>
                <a:cubicBezTo>
                  <a:pt x="18180" y="14969"/>
                  <a:pt x="18195" y="14946"/>
                  <a:pt x="18198" y="14917"/>
                </a:cubicBezTo>
                <a:cubicBezTo>
                  <a:pt x="18160" y="14890"/>
                  <a:pt x="18108" y="14937"/>
                  <a:pt x="18085" y="14860"/>
                </a:cubicBezTo>
                <a:cubicBezTo>
                  <a:pt x="18087" y="14853"/>
                  <a:pt x="18088" y="14845"/>
                  <a:pt x="18090" y="14838"/>
                </a:cubicBezTo>
                <a:cubicBezTo>
                  <a:pt x="18073" y="14814"/>
                  <a:pt x="18057" y="14802"/>
                  <a:pt x="18030" y="14793"/>
                </a:cubicBezTo>
                <a:cubicBezTo>
                  <a:pt x="18018" y="14792"/>
                  <a:pt x="18006" y="14790"/>
                  <a:pt x="17994" y="14788"/>
                </a:cubicBezTo>
                <a:cubicBezTo>
                  <a:pt x="17989" y="14776"/>
                  <a:pt x="17985" y="14763"/>
                  <a:pt x="17980" y="14751"/>
                </a:cubicBezTo>
                <a:cubicBezTo>
                  <a:pt x="17975" y="14751"/>
                  <a:pt x="17970" y="14751"/>
                  <a:pt x="17965" y="14751"/>
                </a:cubicBezTo>
                <a:cubicBezTo>
                  <a:pt x="17960" y="14764"/>
                  <a:pt x="17957" y="14780"/>
                  <a:pt x="17952" y="14796"/>
                </a:cubicBezTo>
                <a:cubicBezTo>
                  <a:pt x="17941" y="14827"/>
                  <a:pt x="17859" y="14800"/>
                  <a:pt x="17834" y="14799"/>
                </a:cubicBezTo>
                <a:cubicBezTo>
                  <a:pt x="17832" y="14773"/>
                  <a:pt x="17825" y="14743"/>
                  <a:pt x="17812" y="14734"/>
                </a:cubicBezTo>
                <a:cubicBezTo>
                  <a:pt x="17807" y="14727"/>
                  <a:pt x="17797" y="14750"/>
                  <a:pt x="17784" y="14739"/>
                </a:cubicBezTo>
                <a:cubicBezTo>
                  <a:pt x="17769" y="14726"/>
                  <a:pt x="17753" y="14708"/>
                  <a:pt x="17733" y="14691"/>
                </a:cubicBezTo>
                <a:cubicBezTo>
                  <a:pt x="17731" y="14700"/>
                  <a:pt x="17730" y="14709"/>
                  <a:pt x="17728" y="14719"/>
                </a:cubicBezTo>
                <a:cubicBezTo>
                  <a:pt x="17726" y="14720"/>
                  <a:pt x="17723" y="14720"/>
                  <a:pt x="17721" y="14721"/>
                </a:cubicBezTo>
                <a:cubicBezTo>
                  <a:pt x="17711" y="14721"/>
                  <a:pt x="17711" y="14719"/>
                  <a:pt x="17709" y="14706"/>
                </a:cubicBezTo>
                <a:cubicBezTo>
                  <a:pt x="17698" y="14696"/>
                  <a:pt x="17677" y="14699"/>
                  <a:pt x="17667" y="14691"/>
                </a:cubicBezTo>
                <a:close/>
                <a:moveTo>
                  <a:pt x="18770" y="14691"/>
                </a:moveTo>
                <a:cubicBezTo>
                  <a:pt x="18769" y="14702"/>
                  <a:pt x="18768" y="14695"/>
                  <a:pt x="18774" y="14703"/>
                </a:cubicBezTo>
                <a:cubicBezTo>
                  <a:pt x="18768" y="14717"/>
                  <a:pt x="18759" y="14729"/>
                  <a:pt x="18748" y="14732"/>
                </a:cubicBezTo>
                <a:cubicBezTo>
                  <a:pt x="18748" y="14737"/>
                  <a:pt x="18748" y="14742"/>
                  <a:pt x="18749" y="14748"/>
                </a:cubicBezTo>
                <a:cubicBezTo>
                  <a:pt x="18729" y="14756"/>
                  <a:pt x="18707" y="14738"/>
                  <a:pt x="18688" y="14762"/>
                </a:cubicBezTo>
                <a:cubicBezTo>
                  <a:pt x="18675" y="14759"/>
                  <a:pt x="18674" y="14750"/>
                  <a:pt x="18665" y="14743"/>
                </a:cubicBezTo>
                <a:cubicBezTo>
                  <a:pt x="18637" y="14719"/>
                  <a:pt x="18617" y="14726"/>
                  <a:pt x="18589" y="14744"/>
                </a:cubicBezTo>
                <a:cubicBezTo>
                  <a:pt x="18588" y="14749"/>
                  <a:pt x="18588" y="14754"/>
                  <a:pt x="18587" y="14758"/>
                </a:cubicBezTo>
                <a:cubicBezTo>
                  <a:pt x="18589" y="14770"/>
                  <a:pt x="18591" y="14781"/>
                  <a:pt x="18593" y="14792"/>
                </a:cubicBezTo>
                <a:cubicBezTo>
                  <a:pt x="18619" y="14786"/>
                  <a:pt x="18645" y="14809"/>
                  <a:pt x="18661" y="14806"/>
                </a:cubicBezTo>
                <a:cubicBezTo>
                  <a:pt x="18669" y="14800"/>
                  <a:pt x="18676" y="14794"/>
                  <a:pt x="18683" y="14788"/>
                </a:cubicBezTo>
                <a:cubicBezTo>
                  <a:pt x="18691" y="14792"/>
                  <a:pt x="18700" y="14796"/>
                  <a:pt x="18707" y="14799"/>
                </a:cubicBezTo>
                <a:cubicBezTo>
                  <a:pt x="18711" y="14793"/>
                  <a:pt x="18714" y="14787"/>
                  <a:pt x="18717" y="14781"/>
                </a:cubicBezTo>
                <a:cubicBezTo>
                  <a:pt x="18736" y="14766"/>
                  <a:pt x="18756" y="14772"/>
                  <a:pt x="18770" y="14750"/>
                </a:cubicBezTo>
                <a:cubicBezTo>
                  <a:pt x="18776" y="14740"/>
                  <a:pt x="18773" y="14732"/>
                  <a:pt x="18783" y="14726"/>
                </a:cubicBezTo>
                <a:cubicBezTo>
                  <a:pt x="18785" y="14719"/>
                  <a:pt x="18786" y="14718"/>
                  <a:pt x="18786" y="14707"/>
                </a:cubicBezTo>
                <a:cubicBezTo>
                  <a:pt x="18784" y="14703"/>
                  <a:pt x="18782" y="14698"/>
                  <a:pt x="18779" y="14694"/>
                </a:cubicBezTo>
                <a:cubicBezTo>
                  <a:pt x="18776" y="14693"/>
                  <a:pt x="18773" y="14692"/>
                  <a:pt x="18770" y="14691"/>
                </a:cubicBezTo>
                <a:close/>
                <a:moveTo>
                  <a:pt x="18302" y="14990"/>
                </a:moveTo>
                <a:cubicBezTo>
                  <a:pt x="18292" y="14999"/>
                  <a:pt x="18278" y="15002"/>
                  <a:pt x="18263" y="15001"/>
                </a:cubicBezTo>
                <a:cubicBezTo>
                  <a:pt x="18263" y="15002"/>
                  <a:pt x="18263" y="15003"/>
                  <a:pt x="18263" y="15003"/>
                </a:cubicBezTo>
                <a:cubicBezTo>
                  <a:pt x="18271" y="15028"/>
                  <a:pt x="18292" y="15045"/>
                  <a:pt x="18305" y="15057"/>
                </a:cubicBezTo>
                <a:cubicBezTo>
                  <a:pt x="18310" y="15036"/>
                  <a:pt x="18319" y="15033"/>
                  <a:pt x="18329" y="15020"/>
                </a:cubicBezTo>
                <a:cubicBezTo>
                  <a:pt x="18330" y="15020"/>
                  <a:pt x="18331" y="15020"/>
                  <a:pt x="18331" y="15020"/>
                </a:cubicBezTo>
                <a:cubicBezTo>
                  <a:pt x="18322" y="15010"/>
                  <a:pt x="18312" y="15001"/>
                  <a:pt x="18302" y="14990"/>
                </a:cubicBezTo>
                <a:close/>
                <a:moveTo>
                  <a:pt x="18497" y="14990"/>
                </a:moveTo>
                <a:cubicBezTo>
                  <a:pt x="18495" y="14994"/>
                  <a:pt x="18493" y="14997"/>
                  <a:pt x="18490" y="15001"/>
                </a:cubicBezTo>
                <a:cubicBezTo>
                  <a:pt x="18491" y="15007"/>
                  <a:pt x="18492" y="15013"/>
                  <a:pt x="18493" y="15019"/>
                </a:cubicBezTo>
                <a:cubicBezTo>
                  <a:pt x="18497" y="15030"/>
                  <a:pt x="18506" y="15035"/>
                  <a:pt x="18513" y="15039"/>
                </a:cubicBezTo>
                <a:cubicBezTo>
                  <a:pt x="18513" y="15041"/>
                  <a:pt x="18514" y="15043"/>
                  <a:pt x="18514" y="15044"/>
                </a:cubicBezTo>
                <a:cubicBezTo>
                  <a:pt x="18491" y="15089"/>
                  <a:pt x="18489" y="15044"/>
                  <a:pt x="18472" y="15036"/>
                </a:cubicBezTo>
                <a:cubicBezTo>
                  <a:pt x="18463" y="15034"/>
                  <a:pt x="18454" y="15033"/>
                  <a:pt x="18445" y="15031"/>
                </a:cubicBezTo>
                <a:cubicBezTo>
                  <a:pt x="18439" y="15037"/>
                  <a:pt x="18433" y="15043"/>
                  <a:pt x="18428" y="15049"/>
                </a:cubicBezTo>
                <a:cubicBezTo>
                  <a:pt x="18425" y="15062"/>
                  <a:pt x="18425" y="15077"/>
                  <a:pt x="18425" y="15098"/>
                </a:cubicBezTo>
                <a:cubicBezTo>
                  <a:pt x="18459" y="15120"/>
                  <a:pt x="18476" y="15083"/>
                  <a:pt x="18510" y="15085"/>
                </a:cubicBezTo>
                <a:cubicBezTo>
                  <a:pt x="18515" y="15076"/>
                  <a:pt x="18520" y="15067"/>
                  <a:pt x="18525" y="15057"/>
                </a:cubicBezTo>
                <a:cubicBezTo>
                  <a:pt x="18526" y="15058"/>
                  <a:pt x="18527" y="15059"/>
                  <a:pt x="18528" y="15060"/>
                </a:cubicBezTo>
                <a:cubicBezTo>
                  <a:pt x="18526" y="15065"/>
                  <a:pt x="18525" y="15070"/>
                  <a:pt x="18524" y="15076"/>
                </a:cubicBezTo>
                <a:cubicBezTo>
                  <a:pt x="18524" y="15076"/>
                  <a:pt x="18525" y="15076"/>
                  <a:pt x="18525" y="15077"/>
                </a:cubicBezTo>
                <a:cubicBezTo>
                  <a:pt x="18536" y="15079"/>
                  <a:pt x="18550" y="15075"/>
                  <a:pt x="18553" y="15062"/>
                </a:cubicBezTo>
                <a:cubicBezTo>
                  <a:pt x="18563" y="15063"/>
                  <a:pt x="18566" y="15068"/>
                  <a:pt x="18572" y="15076"/>
                </a:cubicBezTo>
                <a:cubicBezTo>
                  <a:pt x="18573" y="15068"/>
                  <a:pt x="18574" y="15061"/>
                  <a:pt x="18575" y="15054"/>
                </a:cubicBezTo>
                <a:cubicBezTo>
                  <a:pt x="18570" y="15046"/>
                  <a:pt x="18574" y="15049"/>
                  <a:pt x="18567" y="15049"/>
                </a:cubicBezTo>
                <a:cubicBezTo>
                  <a:pt x="18567" y="15041"/>
                  <a:pt x="18567" y="15032"/>
                  <a:pt x="18567" y="15024"/>
                </a:cubicBezTo>
                <a:cubicBezTo>
                  <a:pt x="18562" y="15017"/>
                  <a:pt x="18561" y="15013"/>
                  <a:pt x="18551" y="15013"/>
                </a:cubicBezTo>
                <a:cubicBezTo>
                  <a:pt x="18548" y="15021"/>
                  <a:pt x="18545" y="15028"/>
                  <a:pt x="18541" y="15036"/>
                </a:cubicBezTo>
                <a:cubicBezTo>
                  <a:pt x="18541" y="15028"/>
                  <a:pt x="18541" y="15021"/>
                  <a:pt x="18541" y="15013"/>
                </a:cubicBezTo>
                <a:cubicBezTo>
                  <a:pt x="18533" y="15003"/>
                  <a:pt x="18528" y="15004"/>
                  <a:pt x="18519" y="15012"/>
                </a:cubicBezTo>
                <a:cubicBezTo>
                  <a:pt x="18514" y="14998"/>
                  <a:pt x="18512" y="14990"/>
                  <a:pt x="18497" y="14990"/>
                </a:cubicBezTo>
                <a:close/>
                <a:moveTo>
                  <a:pt x="18643" y="14990"/>
                </a:moveTo>
                <a:cubicBezTo>
                  <a:pt x="18629" y="15003"/>
                  <a:pt x="18598" y="14990"/>
                  <a:pt x="18589" y="15012"/>
                </a:cubicBezTo>
                <a:cubicBezTo>
                  <a:pt x="18588" y="15014"/>
                  <a:pt x="18588" y="15015"/>
                  <a:pt x="18587" y="15017"/>
                </a:cubicBezTo>
                <a:cubicBezTo>
                  <a:pt x="18595" y="15032"/>
                  <a:pt x="18678" y="15101"/>
                  <a:pt x="18682" y="15098"/>
                </a:cubicBezTo>
                <a:cubicBezTo>
                  <a:pt x="18689" y="15092"/>
                  <a:pt x="18693" y="15082"/>
                  <a:pt x="18695" y="15065"/>
                </a:cubicBezTo>
                <a:cubicBezTo>
                  <a:pt x="18681" y="15037"/>
                  <a:pt x="18661" y="15009"/>
                  <a:pt x="18643" y="14990"/>
                </a:cubicBezTo>
                <a:close/>
                <a:moveTo>
                  <a:pt x="18966" y="14990"/>
                </a:moveTo>
                <a:cubicBezTo>
                  <a:pt x="18935" y="15016"/>
                  <a:pt x="18894" y="14998"/>
                  <a:pt x="18858" y="15019"/>
                </a:cubicBezTo>
                <a:cubicBezTo>
                  <a:pt x="18844" y="15027"/>
                  <a:pt x="18840" y="15058"/>
                  <a:pt x="18829" y="15073"/>
                </a:cubicBezTo>
                <a:cubicBezTo>
                  <a:pt x="18808" y="15100"/>
                  <a:pt x="18775" y="15105"/>
                  <a:pt x="18759" y="15142"/>
                </a:cubicBezTo>
                <a:cubicBezTo>
                  <a:pt x="18756" y="15150"/>
                  <a:pt x="18751" y="15203"/>
                  <a:pt x="18748" y="15215"/>
                </a:cubicBezTo>
                <a:cubicBezTo>
                  <a:pt x="18801" y="15214"/>
                  <a:pt x="18814" y="15146"/>
                  <a:pt x="18847" y="15110"/>
                </a:cubicBezTo>
                <a:cubicBezTo>
                  <a:pt x="18888" y="15065"/>
                  <a:pt x="18943" y="15054"/>
                  <a:pt x="18981" y="15006"/>
                </a:cubicBezTo>
                <a:cubicBezTo>
                  <a:pt x="18981" y="15004"/>
                  <a:pt x="18981" y="15003"/>
                  <a:pt x="18981" y="15001"/>
                </a:cubicBezTo>
                <a:cubicBezTo>
                  <a:pt x="18977" y="14992"/>
                  <a:pt x="18975" y="14990"/>
                  <a:pt x="18966" y="14990"/>
                </a:cubicBezTo>
                <a:close/>
                <a:moveTo>
                  <a:pt x="19237" y="15289"/>
                </a:moveTo>
                <a:cubicBezTo>
                  <a:pt x="19236" y="15295"/>
                  <a:pt x="19234" y="15301"/>
                  <a:pt x="19233" y="15306"/>
                </a:cubicBezTo>
                <a:cubicBezTo>
                  <a:pt x="19234" y="15310"/>
                  <a:pt x="19235" y="15315"/>
                  <a:pt x="19236" y="15319"/>
                </a:cubicBezTo>
                <a:cubicBezTo>
                  <a:pt x="19236" y="15324"/>
                  <a:pt x="19237" y="15329"/>
                  <a:pt x="19234" y="15334"/>
                </a:cubicBezTo>
                <a:cubicBezTo>
                  <a:pt x="19236" y="15335"/>
                  <a:pt x="19238" y="15335"/>
                  <a:pt x="19241" y="15336"/>
                </a:cubicBezTo>
                <a:cubicBezTo>
                  <a:pt x="19242" y="15340"/>
                  <a:pt x="19244" y="15343"/>
                  <a:pt x="19245" y="15347"/>
                </a:cubicBezTo>
                <a:cubicBezTo>
                  <a:pt x="19255" y="15351"/>
                  <a:pt x="19265" y="15355"/>
                  <a:pt x="19276" y="15359"/>
                </a:cubicBezTo>
                <a:cubicBezTo>
                  <a:pt x="19279" y="15358"/>
                  <a:pt x="19282" y="15353"/>
                  <a:pt x="19285" y="15351"/>
                </a:cubicBezTo>
                <a:cubicBezTo>
                  <a:pt x="19296" y="15338"/>
                  <a:pt x="19306" y="15325"/>
                  <a:pt x="19311" y="15301"/>
                </a:cubicBezTo>
                <a:cubicBezTo>
                  <a:pt x="19300" y="15278"/>
                  <a:pt x="19285" y="15307"/>
                  <a:pt x="19272" y="15295"/>
                </a:cubicBezTo>
                <a:cubicBezTo>
                  <a:pt x="19267" y="15304"/>
                  <a:pt x="19260" y="15305"/>
                  <a:pt x="19254" y="15303"/>
                </a:cubicBezTo>
                <a:cubicBezTo>
                  <a:pt x="19253" y="15299"/>
                  <a:pt x="19251" y="15295"/>
                  <a:pt x="19250" y="15292"/>
                </a:cubicBezTo>
                <a:cubicBezTo>
                  <a:pt x="19247" y="15291"/>
                  <a:pt x="19244" y="15290"/>
                  <a:pt x="19241" y="15289"/>
                </a:cubicBezTo>
                <a:cubicBezTo>
                  <a:pt x="19240" y="15290"/>
                  <a:pt x="19240" y="15290"/>
                  <a:pt x="19239" y="15291"/>
                </a:cubicBezTo>
                <a:cubicBezTo>
                  <a:pt x="19239" y="15290"/>
                  <a:pt x="19238" y="15290"/>
                  <a:pt x="19237" y="15289"/>
                </a:cubicBezTo>
                <a:close/>
                <a:moveTo>
                  <a:pt x="20041" y="15289"/>
                </a:moveTo>
                <a:cubicBezTo>
                  <a:pt x="20038" y="15291"/>
                  <a:pt x="20036" y="15296"/>
                  <a:pt x="20034" y="15299"/>
                </a:cubicBezTo>
                <a:cubicBezTo>
                  <a:pt x="20017" y="15322"/>
                  <a:pt x="20018" y="15366"/>
                  <a:pt x="20010" y="15405"/>
                </a:cubicBezTo>
                <a:cubicBezTo>
                  <a:pt x="20008" y="15413"/>
                  <a:pt x="20003" y="15416"/>
                  <a:pt x="20000" y="15423"/>
                </a:cubicBezTo>
                <a:cubicBezTo>
                  <a:pt x="19997" y="15434"/>
                  <a:pt x="19993" y="15447"/>
                  <a:pt x="19989" y="15459"/>
                </a:cubicBezTo>
                <a:cubicBezTo>
                  <a:pt x="19987" y="15466"/>
                  <a:pt x="19984" y="15470"/>
                  <a:pt x="19981" y="15477"/>
                </a:cubicBezTo>
                <a:cubicBezTo>
                  <a:pt x="19987" y="15495"/>
                  <a:pt x="20000" y="15472"/>
                  <a:pt x="20007" y="15490"/>
                </a:cubicBezTo>
                <a:cubicBezTo>
                  <a:pt x="20000" y="15505"/>
                  <a:pt x="19987" y="15512"/>
                  <a:pt x="19983" y="15533"/>
                </a:cubicBezTo>
                <a:cubicBezTo>
                  <a:pt x="19982" y="15543"/>
                  <a:pt x="19984" y="15550"/>
                  <a:pt x="19985" y="15560"/>
                </a:cubicBezTo>
                <a:cubicBezTo>
                  <a:pt x="19988" y="15579"/>
                  <a:pt x="19982" y="15596"/>
                  <a:pt x="19974" y="15600"/>
                </a:cubicBezTo>
                <a:cubicBezTo>
                  <a:pt x="19972" y="15612"/>
                  <a:pt x="19975" y="15641"/>
                  <a:pt x="19974" y="15656"/>
                </a:cubicBezTo>
                <a:cubicBezTo>
                  <a:pt x="19974" y="15676"/>
                  <a:pt x="19974" y="15696"/>
                  <a:pt x="19974" y="15717"/>
                </a:cubicBezTo>
                <a:cubicBezTo>
                  <a:pt x="19978" y="15738"/>
                  <a:pt x="19981" y="15757"/>
                  <a:pt x="19984" y="15778"/>
                </a:cubicBezTo>
                <a:cubicBezTo>
                  <a:pt x="19970" y="15788"/>
                  <a:pt x="19967" y="15814"/>
                  <a:pt x="19965" y="15843"/>
                </a:cubicBezTo>
                <a:cubicBezTo>
                  <a:pt x="19964" y="15854"/>
                  <a:pt x="19965" y="15866"/>
                  <a:pt x="19963" y="15875"/>
                </a:cubicBezTo>
                <a:cubicBezTo>
                  <a:pt x="19955" y="15911"/>
                  <a:pt x="19947" y="15948"/>
                  <a:pt x="19939" y="15985"/>
                </a:cubicBezTo>
                <a:cubicBezTo>
                  <a:pt x="19934" y="16007"/>
                  <a:pt x="19931" y="16029"/>
                  <a:pt x="19921" y="16041"/>
                </a:cubicBezTo>
                <a:cubicBezTo>
                  <a:pt x="19909" y="16055"/>
                  <a:pt x="19888" y="16056"/>
                  <a:pt x="19873" y="16062"/>
                </a:cubicBezTo>
                <a:cubicBezTo>
                  <a:pt x="19864" y="16065"/>
                  <a:pt x="19852" y="16039"/>
                  <a:pt x="19843" y="16036"/>
                </a:cubicBezTo>
                <a:cubicBezTo>
                  <a:pt x="19835" y="16033"/>
                  <a:pt x="19830" y="16047"/>
                  <a:pt x="19824" y="16030"/>
                </a:cubicBezTo>
                <a:cubicBezTo>
                  <a:pt x="19820" y="16020"/>
                  <a:pt x="19817" y="15983"/>
                  <a:pt x="19814" y="15978"/>
                </a:cubicBezTo>
                <a:cubicBezTo>
                  <a:pt x="19803" y="15961"/>
                  <a:pt x="19782" y="15952"/>
                  <a:pt x="19766" y="15945"/>
                </a:cubicBezTo>
                <a:cubicBezTo>
                  <a:pt x="19758" y="15943"/>
                  <a:pt x="19749" y="15940"/>
                  <a:pt x="19741" y="15938"/>
                </a:cubicBezTo>
                <a:cubicBezTo>
                  <a:pt x="19736" y="15934"/>
                  <a:pt x="19729" y="15910"/>
                  <a:pt x="19725" y="15902"/>
                </a:cubicBezTo>
                <a:cubicBezTo>
                  <a:pt x="19721" y="15894"/>
                  <a:pt x="19714" y="15888"/>
                  <a:pt x="19707" y="15886"/>
                </a:cubicBezTo>
                <a:cubicBezTo>
                  <a:pt x="19705" y="15886"/>
                  <a:pt x="19703" y="15884"/>
                  <a:pt x="19700" y="15884"/>
                </a:cubicBezTo>
                <a:cubicBezTo>
                  <a:pt x="19687" y="15876"/>
                  <a:pt x="19672" y="15834"/>
                  <a:pt x="19656" y="15850"/>
                </a:cubicBezTo>
                <a:cubicBezTo>
                  <a:pt x="19649" y="15832"/>
                  <a:pt x="19637" y="15826"/>
                  <a:pt x="19628" y="15814"/>
                </a:cubicBezTo>
                <a:cubicBezTo>
                  <a:pt x="19624" y="15810"/>
                  <a:pt x="19621" y="15804"/>
                  <a:pt x="19619" y="15797"/>
                </a:cubicBezTo>
                <a:cubicBezTo>
                  <a:pt x="19619" y="15794"/>
                  <a:pt x="19618" y="15792"/>
                  <a:pt x="19617" y="15789"/>
                </a:cubicBezTo>
                <a:cubicBezTo>
                  <a:pt x="19609" y="15781"/>
                  <a:pt x="19602" y="15772"/>
                  <a:pt x="19594" y="15764"/>
                </a:cubicBezTo>
                <a:cubicBezTo>
                  <a:pt x="19585" y="15755"/>
                  <a:pt x="19576" y="15746"/>
                  <a:pt x="19567" y="15737"/>
                </a:cubicBezTo>
                <a:cubicBezTo>
                  <a:pt x="19566" y="15730"/>
                  <a:pt x="19566" y="15724"/>
                  <a:pt x="19565" y="15717"/>
                </a:cubicBezTo>
                <a:cubicBezTo>
                  <a:pt x="19578" y="15694"/>
                  <a:pt x="19591" y="15662"/>
                  <a:pt x="19598" y="15632"/>
                </a:cubicBezTo>
                <a:cubicBezTo>
                  <a:pt x="19601" y="15622"/>
                  <a:pt x="19602" y="15610"/>
                  <a:pt x="19604" y="15599"/>
                </a:cubicBezTo>
                <a:cubicBezTo>
                  <a:pt x="19589" y="15590"/>
                  <a:pt x="19603" y="15573"/>
                  <a:pt x="19601" y="15555"/>
                </a:cubicBezTo>
                <a:cubicBezTo>
                  <a:pt x="19611" y="15553"/>
                  <a:pt x="19628" y="15501"/>
                  <a:pt x="19635" y="15539"/>
                </a:cubicBezTo>
                <a:cubicBezTo>
                  <a:pt x="19640" y="15533"/>
                  <a:pt x="19644" y="15527"/>
                  <a:pt x="19648" y="15521"/>
                </a:cubicBezTo>
                <a:cubicBezTo>
                  <a:pt x="19648" y="15521"/>
                  <a:pt x="19649" y="15520"/>
                  <a:pt x="19649" y="15520"/>
                </a:cubicBezTo>
                <a:cubicBezTo>
                  <a:pt x="19647" y="15516"/>
                  <a:pt x="19643" y="15514"/>
                  <a:pt x="19643" y="15508"/>
                </a:cubicBezTo>
                <a:cubicBezTo>
                  <a:pt x="19641" y="15499"/>
                  <a:pt x="19645" y="15492"/>
                  <a:pt x="19647" y="15487"/>
                </a:cubicBezTo>
                <a:cubicBezTo>
                  <a:pt x="19654" y="15473"/>
                  <a:pt x="19663" y="15463"/>
                  <a:pt x="19668" y="15445"/>
                </a:cubicBezTo>
                <a:cubicBezTo>
                  <a:pt x="19663" y="15436"/>
                  <a:pt x="19659" y="15415"/>
                  <a:pt x="19647" y="15421"/>
                </a:cubicBezTo>
                <a:cubicBezTo>
                  <a:pt x="19644" y="15423"/>
                  <a:pt x="19642" y="15425"/>
                  <a:pt x="19641" y="15429"/>
                </a:cubicBezTo>
                <a:cubicBezTo>
                  <a:pt x="19641" y="15429"/>
                  <a:pt x="19641" y="15429"/>
                  <a:pt x="19641" y="15429"/>
                </a:cubicBezTo>
                <a:cubicBezTo>
                  <a:pt x="19636" y="15422"/>
                  <a:pt x="19636" y="15394"/>
                  <a:pt x="19626" y="15397"/>
                </a:cubicBezTo>
                <a:cubicBezTo>
                  <a:pt x="19609" y="15402"/>
                  <a:pt x="19626" y="15431"/>
                  <a:pt x="19620" y="15445"/>
                </a:cubicBezTo>
                <a:cubicBezTo>
                  <a:pt x="19618" y="15449"/>
                  <a:pt x="19616" y="15452"/>
                  <a:pt x="19613" y="15453"/>
                </a:cubicBezTo>
                <a:cubicBezTo>
                  <a:pt x="19602" y="15456"/>
                  <a:pt x="19604" y="15433"/>
                  <a:pt x="19602" y="15419"/>
                </a:cubicBezTo>
                <a:cubicBezTo>
                  <a:pt x="19595" y="15423"/>
                  <a:pt x="19589" y="15426"/>
                  <a:pt x="19582" y="15430"/>
                </a:cubicBezTo>
                <a:cubicBezTo>
                  <a:pt x="19584" y="15422"/>
                  <a:pt x="19586" y="15412"/>
                  <a:pt x="19587" y="15403"/>
                </a:cubicBezTo>
                <a:cubicBezTo>
                  <a:pt x="19570" y="15406"/>
                  <a:pt x="19562" y="15431"/>
                  <a:pt x="19549" y="15436"/>
                </a:cubicBezTo>
                <a:cubicBezTo>
                  <a:pt x="19532" y="15441"/>
                  <a:pt x="19517" y="15374"/>
                  <a:pt x="19497" y="15405"/>
                </a:cubicBezTo>
                <a:cubicBezTo>
                  <a:pt x="19488" y="15399"/>
                  <a:pt x="19474" y="15402"/>
                  <a:pt x="19466" y="15394"/>
                </a:cubicBezTo>
                <a:cubicBezTo>
                  <a:pt x="19461" y="15389"/>
                  <a:pt x="19460" y="15372"/>
                  <a:pt x="19455" y="15370"/>
                </a:cubicBezTo>
                <a:cubicBezTo>
                  <a:pt x="19444" y="15367"/>
                  <a:pt x="19439" y="15392"/>
                  <a:pt x="19423" y="15382"/>
                </a:cubicBezTo>
                <a:cubicBezTo>
                  <a:pt x="19413" y="15376"/>
                  <a:pt x="19407" y="15359"/>
                  <a:pt x="19400" y="15347"/>
                </a:cubicBezTo>
                <a:cubicBezTo>
                  <a:pt x="19397" y="15342"/>
                  <a:pt x="19393" y="15335"/>
                  <a:pt x="19386" y="15337"/>
                </a:cubicBezTo>
                <a:cubicBezTo>
                  <a:pt x="19381" y="15339"/>
                  <a:pt x="19380" y="15343"/>
                  <a:pt x="19376" y="15346"/>
                </a:cubicBezTo>
                <a:cubicBezTo>
                  <a:pt x="19376" y="15346"/>
                  <a:pt x="19376" y="15347"/>
                  <a:pt x="19376" y="15347"/>
                </a:cubicBezTo>
                <a:cubicBezTo>
                  <a:pt x="19372" y="15335"/>
                  <a:pt x="19368" y="15311"/>
                  <a:pt x="19355" y="15319"/>
                </a:cubicBezTo>
                <a:cubicBezTo>
                  <a:pt x="19350" y="15324"/>
                  <a:pt x="19347" y="15333"/>
                  <a:pt x="19340" y="15335"/>
                </a:cubicBezTo>
                <a:cubicBezTo>
                  <a:pt x="19336" y="15332"/>
                  <a:pt x="19334" y="15326"/>
                  <a:pt x="19333" y="15318"/>
                </a:cubicBezTo>
                <a:cubicBezTo>
                  <a:pt x="19324" y="15319"/>
                  <a:pt x="19324" y="15334"/>
                  <a:pt x="19328" y="15345"/>
                </a:cubicBezTo>
                <a:cubicBezTo>
                  <a:pt x="19333" y="15359"/>
                  <a:pt x="19349" y="15356"/>
                  <a:pt x="19357" y="15347"/>
                </a:cubicBezTo>
                <a:cubicBezTo>
                  <a:pt x="19373" y="15350"/>
                  <a:pt x="19370" y="15371"/>
                  <a:pt x="19376" y="15391"/>
                </a:cubicBezTo>
                <a:cubicBezTo>
                  <a:pt x="19377" y="15399"/>
                  <a:pt x="19381" y="15402"/>
                  <a:pt x="19381" y="15413"/>
                </a:cubicBezTo>
                <a:cubicBezTo>
                  <a:pt x="19377" y="15422"/>
                  <a:pt x="19364" y="15424"/>
                  <a:pt x="19361" y="15436"/>
                </a:cubicBezTo>
                <a:cubicBezTo>
                  <a:pt x="19359" y="15434"/>
                  <a:pt x="19357" y="15433"/>
                  <a:pt x="19355" y="15431"/>
                </a:cubicBezTo>
                <a:cubicBezTo>
                  <a:pt x="19349" y="15427"/>
                  <a:pt x="19338" y="15424"/>
                  <a:pt x="19329" y="15426"/>
                </a:cubicBezTo>
                <a:cubicBezTo>
                  <a:pt x="19311" y="15431"/>
                  <a:pt x="19287" y="15441"/>
                  <a:pt x="19269" y="15430"/>
                </a:cubicBezTo>
                <a:cubicBezTo>
                  <a:pt x="19266" y="15442"/>
                  <a:pt x="19264" y="15453"/>
                  <a:pt x="19261" y="15465"/>
                </a:cubicBezTo>
                <a:cubicBezTo>
                  <a:pt x="19256" y="15464"/>
                  <a:pt x="19250" y="15453"/>
                  <a:pt x="19245" y="15457"/>
                </a:cubicBezTo>
                <a:cubicBezTo>
                  <a:pt x="19245" y="15458"/>
                  <a:pt x="19244" y="15459"/>
                  <a:pt x="19243" y="15460"/>
                </a:cubicBezTo>
                <a:cubicBezTo>
                  <a:pt x="19244" y="15479"/>
                  <a:pt x="19237" y="15483"/>
                  <a:pt x="19230" y="15491"/>
                </a:cubicBezTo>
                <a:cubicBezTo>
                  <a:pt x="19225" y="15498"/>
                  <a:pt x="19219" y="15510"/>
                  <a:pt x="19215" y="15521"/>
                </a:cubicBezTo>
                <a:cubicBezTo>
                  <a:pt x="19211" y="15535"/>
                  <a:pt x="19215" y="15554"/>
                  <a:pt x="19222" y="15558"/>
                </a:cubicBezTo>
                <a:cubicBezTo>
                  <a:pt x="19215" y="15571"/>
                  <a:pt x="19200" y="15572"/>
                  <a:pt x="19192" y="15582"/>
                </a:cubicBezTo>
                <a:cubicBezTo>
                  <a:pt x="19187" y="15589"/>
                  <a:pt x="19190" y="15598"/>
                  <a:pt x="19186" y="15608"/>
                </a:cubicBezTo>
                <a:cubicBezTo>
                  <a:pt x="19178" y="15630"/>
                  <a:pt x="19164" y="15650"/>
                  <a:pt x="19162" y="15680"/>
                </a:cubicBezTo>
                <a:cubicBezTo>
                  <a:pt x="19173" y="15685"/>
                  <a:pt x="19181" y="15684"/>
                  <a:pt x="19187" y="15698"/>
                </a:cubicBezTo>
                <a:cubicBezTo>
                  <a:pt x="19186" y="15703"/>
                  <a:pt x="19185" y="15708"/>
                  <a:pt x="19184" y="15713"/>
                </a:cubicBezTo>
                <a:cubicBezTo>
                  <a:pt x="19181" y="15742"/>
                  <a:pt x="19186" y="15751"/>
                  <a:pt x="19171" y="15763"/>
                </a:cubicBezTo>
                <a:cubicBezTo>
                  <a:pt x="19169" y="15759"/>
                  <a:pt x="19168" y="15752"/>
                  <a:pt x="19167" y="15746"/>
                </a:cubicBezTo>
                <a:cubicBezTo>
                  <a:pt x="19159" y="15737"/>
                  <a:pt x="19152" y="15754"/>
                  <a:pt x="19148" y="15760"/>
                </a:cubicBezTo>
                <a:cubicBezTo>
                  <a:pt x="19146" y="15756"/>
                  <a:pt x="19145" y="15752"/>
                  <a:pt x="19143" y="15748"/>
                </a:cubicBezTo>
                <a:cubicBezTo>
                  <a:pt x="19140" y="15746"/>
                  <a:pt x="19137" y="15745"/>
                  <a:pt x="19134" y="15743"/>
                </a:cubicBezTo>
                <a:cubicBezTo>
                  <a:pt x="19121" y="15734"/>
                  <a:pt x="19113" y="15727"/>
                  <a:pt x="19096" y="15733"/>
                </a:cubicBezTo>
                <a:cubicBezTo>
                  <a:pt x="19096" y="15740"/>
                  <a:pt x="19095" y="15748"/>
                  <a:pt x="19095" y="15755"/>
                </a:cubicBezTo>
                <a:cubicBezTo>
                  <a:pt x="19078" y="15749"/>
                  <a:pt x="19091" y="15794"/>
                  <a:pt x="19073" y="15795"/>
                </a:cubicBezTo>
                <a:cubicBezTo>
                  <a:pt x="19073" y="15781"/>
                  <a:pt x="19074" y="15767"/>
                  <a:pt x="19074" y="15753"/>
                </a:cubicBezTo>
                <a:cubicBezTo>
                  <a:pt x="19074" y="15749"/>
                  <a:pt x="19074" y="15745"/>
                  <a:pt x="19074" y="15741"/>
                </a:cubicBezTo>
                <a:cubicBezTo>
                  <a:pt x="19075" y="15734"/>
                  <a:pt x="19084" y="15730"/>
                  <a:pt x="19083" y="15719"/>
                </a:cubicBezTo>
                <a:cubicBezTo>
                  <a:pt x="19082" y="15713"/>
                  <a:pt x="19077" y="15711"/>
                  <a:pt x="19074" y="15709"/>
                </a:cubicBezTo>
                <a:cubicBezTo>
                  <a:pt x="19067" y="15702"/>
                  <a:pt x="19062" y="15695"/>
                  <a:pt x="19056" y="15688"/>
                </a:cubicBezTo>
                <a:cubicBezTo>
                  <a:pt x="19041" y="15668"/>
                  <a:pt x="19032" y="15642"/>
                  <a:pt x="19012" y="15629"/>
                </a:cubicBezTo>
                <a:cubicBezTo>
                  <a:pt x="19007" y="15626"/>
                  <a:pt x="18998" y="15617"/>
                  <a:pt x="18991" y="15622"/>
                </a:cubicBezTo>
                <a:cubicBezTo>
                  <a:pt x="18983" y="15627"/>
                  <a:pt x="18975" y="15653"/>
                  <a:pt x="18971" y="15666"/>
                </a:cubicBezTo>
                <a:cubicBezTo>
                  <a:pt x="18971" y="15667"/>
                  <a:pt x="18970" y="15666"/>
                  <a:pt x="18970" y="15666"/>
                </a:cubicBezTo>
                <a:cubicBezTo>
                  <a:pt x="18968" y="15661"/>
                  <a:pt x="18965" y="15655"/>
                  <a:pt x="18962" y="15650"/>
                </a:cubicBezTo>
                <a:cubicBezTo>
                  <a:pt x="18960" y="15652"/>
                  <a:pt x="18958" y="15653"/>
                  <a:pt x="18956" y="15656"/>
                </a:cubicBezTo>
                <a:cubicBezTo>
                  <a:pt x="18949" y="15660"/>
                  <a:pt x="18945" y="15651"/>
                  <a:pt x="18939" y="15650"/>
                </a:cubicBezTo>
                <a:cubicBezTo>
                  <a:pt x="18937" y="15651"/>
                  <a:pt x="18936" y="15653"/>
                  <a:pt x="18935" y="15656"/>
                </a:cubicBezTo>
                <a:cubicBezTo>
                  <a:pt x="18935" y="15662"/>
                  <a:pt x="18940" y="15668"/>
                  <a:pt x="18939" y="15678"/>
                </a:cubicBezTo>
                <a:cubicBezTo>
                  <a:pt x="18937" y="15694"/>
                  <a:pt x="18931" y="15700"/>
                  <a:pt x="18932" y="15719"/>
                </a:cubicBezTo>
                <a:cubicBezTo>
                  <a:pt x="18930" y="15721"/>
                  <a:pt x="18930" y="15722"/>
                  <a:pt x="18928" y="15723"/>
                </a:cubicBezTo>
                <a:cubicBezTo>
                  <a:pt x="18923" y="15725"/>
                  <a:pt x="18917" y="15711"/>
                  <a:pt x="18917" y="15705"/>
                </a:cubicBezTo>
                <a:cubicBezTo>
                  <a:pt x="18914" y="15708"/>
                  <a:pt x="18911" y="15712"/>
                  <a:pt x="18908" y="15716"/>
                </a:cubicBezTo>
                <a:cubicBezTo>
                  <a:pt x="18895" y="15728"/>
                  <a:pt x="18890" y="15720"/>
                  <a:pt x="18883" y="15746"/>
                </a:cubicBezTo>
                <a:cubicBezTo>
                  <a:pt x="18888" y="15755"/>
                  <a:pt x="18893" y="15766"/>
                  <a:pt x="18898" y="15776"/>
                </a:cubicBezTo>
                <a:cubicBezTo>
                  <a:pt x="18894" y="15798"/>
                  <a:pt x="18882" y="15775"/>
                  <a:pt x="18876" y="15777"/>
                </a:cubicBezTo>
                <a:cubicBezTo>
                  <a:pt x="18870" y="15779"/>
                  <a:pt x="18869" y="15785"/>
                  <a:pt x="18867" y="15795"/>
                </a:cubicBezTo>
                <a:cubicBezTo>
                  <a:pt x="18867" y="15799"/>
                  <a:pt x="18867" y="15804"/>
                  <a:pt x="18868" y="15807"/>
                </a:cubicBezTo>
                <a:cubicBezTo>
                  <a:pt x="18868" y="15807"/>
                  <a:pt x="18868" y="15808"/>
                  <a:pt x="18868" y="15808"/>
                </a:cubicBezTo>
                <a:cubicBezTo>
                  <a:pt x="18865" y="15808"/>
                  <a:pt x="18861" y="15807"/>
                  <a:pt x="18858" y="15807"/>
                </a:cubicBezTo>
                <a:cubicBezTo>
                  <a:pt x="18851" y="15815"/>
                  <a:pt x="18829" y="15833"/>
                  <a:pt x="18830" y="15853"/>
                </a:cubicBezTo>
                <a:cubicBezTo>
                  <a:pt x="18831" y="15859"/>
                  <a:pt x="18833" y="15864"/>
                  <a:pt x="18834" y="15869"/>
                </a:cubicBezTo>
                <a:cubicBezTo>
                  <a:pt x="18836" y="15872"/>
                  <a:pt x="18845" y="15863"/>
                  <a:pt x="18849" y="15860"/>
                </a:cubicBezTo>
                <a:cubicBezTo>
                  <a:pt x="18849" y="15862"/>
                  <a:pt x="18850" y="15864"/>
                  <a:pt x="18851" y="15866"/>
                </a:cubicBezTo>
                <a:cubicBezTo>
                  <a:pt x="18845" y="15884"/>
                  <a:pt x="18846" y="15912"/>
                  <a:pt x="18832" y="15916"/>
                </a:cubicBezTo>
                <a:cubicBezTo>
                  <a:pt x="18833" y="15926"/>
                  <a:pt x="18834" y="15936"/>
                  <a:pt x="18835" y="15945"/>
                </a:cubicBezTo>
                <a:cubicBezTo>
                  <a:pt x="18825" y="15956"/>
                  <a:pt x="18819" y="15939"/>
                  <a:pt x="18814" y="15928"/>
                </a:cubicBezTo>
                <a:cubicBezTo>
                  <a:pt x="18813" y="15925"/>
                  <a:pt x="18812" y="15921"/>
                  <a:pt x="18810" y="15918"/>
                </a:cubicBezTo>
                <a:cubicBezTo>
                  <a:pt x="18797" y="15918"/>
                  <a:pt x="18786" y="15914"/>
                  <a:pt x="18779" y="15926"/>
                </a:cubicBezTo>
                <a:cubicBezTo>
                  <a:pt x="18779" y="15926"/>
                  <a:pt x="18779" y="15927"/>
                  <a:pt x="18779" y="15928"/>
                </a:cubicBezTo>
                <a:cubicBezTo>
                  <a:pt x="18797" y="15942"/>
                  <a:pt x="18777" y="15955"/>
                  <a:pt x="18781" y="15976"/>
                </a:cubicBezTo>
                <a:cubicBezTo>
                  <a:pt x="18785" y="15996"/>
                  <a:pt x="18799" y="15993"/>
                  <a:pt x="18801" y="16003"/>
                </a:cubicBezTo>
                <a:cubicBezTo>
                  <a:pt x="18803" y="16008"/>
                  <a:pt x="18801" y="16012"/>
                  <a:pt x="18800" y="16015"/>
                </a:cubicBezTo>
                <a:cubicBezTo>
                  <a:pt x="18797" y="16030"/>
                  <a:pt x="18792" y="16029"/>
                  <a:pt x="18785" y="16022"/>
                </a:cubicBezTo>
                <a:cubicBezTo>
                  <a:pt x="18785" y="16038"/>
                  <a:pt x="18784" y="16052"/>
                  <a:pt x="18781" y="16063"/>
                </a:cubicBezTo>
                <a:cubicBezTo>
                  <a:pt x="18778" y="16066"/>
                  <a:pt x="18773" y="16058"/>
                  <a:pt x="18771" y="16054"/>
                </a:cubicBezTo>
                <a:cubicBezTo>
                  <a:pt x="18763" y="16041"/>
                  <a:pt x="18762" y="16014"/>
                  <a:pt x="18751" y="16006"/>
                </a:cubicBezTo>
                <a:cubicBezTo>
                  <a:pt x="18750" y="15999"/>
                  <a:pt x="18750" y="15991"/>
                  <a:pt x="18748" y="15985"/>
                </a:cubicBezTo>
                <a:cubicBezTo>
                  <a:pt x="18745" y="15977"/>
                  <a:pt x="18738" y="15972"/>
                  <a:pt x="18735" y="15964"/>
                </a:cubicBezTo>
                <a:cubicBezTo>
                  <a:pt x="18728" y="15965"/>
                  <a:pt x="18724" y="15975"/>
                  <a:pt x="18726" y="15987"/>
                </a:cubicBezTo>
                <a:cubicBezTo>
                  <a:pt x="18716" y="16001"/>
                  <a:pt x="18706" y="16014"/>
                  <a:pt x="18696" y="16028"/>
                </a:cubicBezTo>
                <a:cubicBezTo>
                  <a:pt x="18694" y="16035"/>
                  <a:pt x="18693" y="16043"/>
                  <a:pt x="18692" y="16051"/>
                </a:cubicBezTo>
                <a:cubicBezTo>
                  <a:pt x="18688" y="16068"/>
                  <a:pt x="18683" y="16090"/>
                  <a:pt x="18685" y="16113"/>
                </a:cubicBezTo>
                <a:cubicBezTo>
                  <a:pt x="18685" y="16122"/>
                  <a:pt x="18687" y="16130"/>
                  <a:pt x="18688" y="16136"/>
                </a:cubicBezTo>
                <a:cubicBezTo>
                  <a:pt x="18692" y="16138"/>
                  <a:pt x="18698" y="16138"/>
                  <a:pt x="18700" y="16145"/>
                </a:cubicBezTo>
                <a:cubicBezTo>
                  <a:pt x="18702" y="16152"/>
                  <a:pt x="18696" y="16159"/>
                  <a:pt x="18694" y="16164"/>
                </a:cubicBezTo>
                <a:cubicBezTo>
                  <a:pt x="18688" y="16176"/>
                  <a:pt x="18683" y="16190"/>
                  <a:pt x="18676" y="16199"/>
                </a:cubicBezTo>
                <a:cubicBezTo>
                  <a:pt x="18673" y="16201"/>
                  <a:pt x="18665" y="16204"/>
                  <a:pt x="18664" y="16207"/>
                </a:cubicBezTo>
                <a:cubicBezTo>
                  <a:pt x="18660" y="16214"/>
                  <a:pt x="18658" y="16226"/>
                  <a:pt x="18655" y="16236"/>
                </a:cubicBezTo>
                <a:cubicBezTo>
                  <a:pt x="18648" y="16265"/>
                  <a:pt x="18643" y="16297"/>
                  <a:pt x="18633" y="16321"/>
                </a:cubicBezTo>
                <a:cubicBezTo>
                  <a:pt x="18623" y="16343"/>
                  <a:pt x="18609" y="16354"/>
                  <a:pt x="18593" y="16366"/>
                </a:cubicBezTo>
                <a:cubicBezTo>
                  <a:pt x="18571" y="16383"/>
                  <a:pt x="18548" y="16399"/>
                  <a:pt x="18525" y="16417"/>
                </a:cubicBezTo>
                <a:cubicBezTo>
                  <a:pt x="18521" y="16407"/>
                  <a:pt x="18502" y="16404"/>
                  <a:pt x="18493" y="16411"/>
                </a:cubicBezTo>
                <a:cubicBezTo>
                  <a:pt x="18491" y="16415"/>
                  <a:pt x="18490" y="16419"/>
                  <a:pt x="18488" y="16423"/>
                </a:cubicBezTo>
                <a:cubicBezTo>
                  <a:pt x="18486" y="16430"/>
                  <a:pt x="18483" y="16437"/>
                  <a:pt x="18479" y="16441"/>
                </a:cubicBezTo>
                <a:cubicBezTo>
                  <a:pt x="18467" y="16457"/>
                  <a:pt x="18446" y="16460"/>
                  <a:pt x="18431" y="16471"/>
                </a:cubicBezTo>
                <a:cubicBezTo>
                  <a:pt x="18425" y="16476"/>
                  <a:pt x="18420" y="16484"/>
                  <a:pt x="18415" y="16492"/>
                </a:cubicBezTo>
                <a:cubicBezTo>
                  <a:pt x="18408" y="16501"/>
                  <a:pt x="18400" y="16509"/>
                  <a:pt x="18391" y="16514"/>
                </a:cubicBezTo>
                <a:cubicBezTo>
                  <a:pt x="18371" y="16525"/>
                  <a:pt x="18344" y="16520"/>
                  <a:pt x="18326" y="16534"/>
                </a:cubicBezTo>
                <a:cubicBezTo>
                  <a:pt x="18301" y="16552"/>
                  <a:pt x="18288" y="16592"/>
                  <a:pt x="18269" y="16621"/>
                </a:cubicBezTo>
                <a:cubicBezTo>
                  <a:pt x="18263" y="16631"/>
                  <a:pt x="18257" y="16639"/>
                  <a:pt x="18250" y="16647"/>
                </a:cubicBezTo>
                <a:cubicBezTo>
                  <a:pt x="18241" y="16655"/>
                  <a:pt x="18232" y="16658"/>
                  <a:pt x="18225" y="16668"/>
                </a:cubicBezTo>
                <a:cubicBezTo>
                  <a:pt x="18211" y="16685"/>
                  <a:pt x="18206" y="16716"/>
                  <a:pt x="18198" y="16743"/>
                </a:cubicBezTo>
                <a:cubicBezTo>
                  <a:pt x="18195" y="16753"/>
                  <a:pt x="18190" y="16763"/>
                  <a:pt x="18188" y="16773"/>
                </a:cubicBezTo>
                <a:cubicBezTo>
                  <a:pt x="18174" y="16771"/>
                  <a:pt x="18167" y="16740"/>
                  <a:pt x="18170" y="16713"/>
                </a:cubicBezTo>
                <a:cubicBezTo>
                  <a:pt x="18168" y="16713"/>
                  <a:pt x="18166" y="16713"/>
                  <a:pt x="18164" y="16713"/>
                </a:cubicBezTo>
                <a:cubicBezTo>
                  <a:pt x="18157" y="16742"/>
                  <a:pt x="18152" y="16771"/>
                  <a:pt x="18145" y="16800"/>
                </a:cubicBezTo>
                <a:cubicBezTo>
                  <a:pt x="18146" y="16808"/>
                  <a:pt x="18149" y="16818"/>
                  <a:pt x="18150" y="16827"/>
                </a:cubicBezTo>
                <a:cubicBezTo>
                  <a:pt x="18151" y="16844"/>
                  <a:pt x="18153" y="16862"/>
                  <a:pt x="18154" y="16880"/>
                </a:cubicBezTo>
                <a:cubicBezTo>
                  <a:pt x="18155" y="16886"/>
                  <a:pt x="18154" y="16893"/>
                  <a:pt x="18155" y="16900"/>
                </a:cubicBezTo>
                <a:cubicBezTo>
                  <a:pt x="18151" y="16941"/>
                  <a:pt x="18125" y="16987"/>
                  <a:pt x="18132" y="17035"/>
                </a:cubicBezTo>
                <a:cubicBezTo>
                  <a:pt x="18135" y="17055"/>
                  <a:pt x="18141" y="17066"/>
                  <a:pt x="18147" y="17080"/>
                </a:cubicBezTo>
                <a:cubicBezTo>
                  <a:pt x="18162" y="17118"/>
                  <a:pt x="18177" y="17155"/>
                  <a:pt x="18191" y="17193"/>
                </a:cubicBezTo>
                <a:cubicBezTo>
                  <a:pt x="18192" y="17217"/>
                  <a:pt x="18193" y="17240"/>
                  <a:pt x="18193" y="17264"/>
                </a:cubicBezTo>
                <a:cubicBezTo>
                  <a:pt x="18191" y="17266"/>
                  <a:pt x="18189" y="17271"/>
                  <a:pt x="18186" y="17271"/>
                </a:cubicBezTo>
                <a:cubicBezTo>
                  <a:pt x="18181" y="17274"/>
                  <a:pt x="18177" y="17254"/>
                  <a:pt x="18173" y="17250"/>
                </a:cubicBezTo>
                <a:cubicBezTo>
                  <a:pt x="18171" y="17250"/>
                  <a:pt x="18172" y="17251"/>
                  <a:pt x="18171" y="17253"/>
                </a:cubicBezTo>
                <a:cubicBezTo>
                  <a:pt x="18169" y="17264"/>
                  <a:pt x="18174" y="17272"/>
                  <a:pt x="18173" y="17284"/>
                </a:cubicBezTo>
                <a:cubicBezTo>
                  <a:pt x="18172" y="17292"/>
                  <a:pt x="18169" y="17295"/>
                  <a:pt x="18167" y="17300"/>
                </a:cubicBezTo>
                <a:cubicBezTo>
                  <a:pt x="18167" y="17300"/>
                  <a:pt x="18167" y="17301"/>
                  <a:pt x="18167" y="17301"/>
                </a:cubicBezTo>
                <a:cubicBezTo>
                  <a:pt x="18162" y="17293"/>
                  <a:pt x="18157" y="17284"/>
                  <a:pt x="18152" y="17276"/>
                </a:cubicBezTo>
                <a:cubicBezTo>
                  <a:pt x="18144" y="17268"/>
                  <a:pt x="18139" y="17265"/>
                  <a:pt x="18132" y="17253"/>
                </a:cubicBezTo>
                <a:cubicBezTo>
                  <a:pt x="18124" y="17236"/>
                  <a:pt x="18119" y="17208"/>
                  <a:pt x="18110" y="17193"/>
                </a:cubicBezTo>
                <a:cubicBezTo>
                  <a:pt x="18104" y="17191"/>
                  <a:pt x="18100" y="17201"/>
                  <a:pt x="18102" y="17212"/>
                </a:cubicBezTo>
                <a:cubicBezTo>
                  <a:pt x="18106" y="17223"/>
                  <a:pt x="18110" y="17234"/>
                  <a:pt x="18114" y="17245"/>
                </a:cubicBezTo>
                <a:cubicBezTo>
                  <a:pt x="18130" y="17283"/>
                  <a:pt x="18150" y="17312"/>
                  <a:pt x="18167" y="17347"/>
                </a:cubicBezTo>
                <a:cubicBezTo>
                  <a:pt x="18172" y="17355"/>
                  <a:pt x="18177" y="17359"/>
                  <a:pt x="18180" y="17368"/>
                </a:cubicBezTo>
                <a:cubicBezTo>
                  <a:pt x="18192" y="17400"/>
                  <a:pt x="18190" y="17451"/>
                  <a:pt x="18198" y="17490"/>
                </a:cubicBezTo>
                <a:cubicBezTo>
                  <a:pt x="18201" y="17503"/>
                  <a:pt x="18206" y="17516"/>
                  <a:pt x="18212" y="17523"/>
                </a:cubicBezTo>
                <a:cubicBezTo>
                  <a:pt x="18217" y="17532"/>
                  <a:pt x="18222" y="17535"/>
                  <a:pt x="18226" y="17547"/>
                </a:cubicBezTo>
                <a:cubicBezTo>
                  <a:pt x="18234" y="17577"/>
                  <a:pt x="18234" y="17611"/>
                  <a:pt x="18255" y="17621"/>
                </a:cubicBezTo>
                <a:cubicBezTo>
                  <a:pt x="18258" y="17668"/>
                  <a:pt x="18261" y="17716"/>
                  <a:pt x="18263" y="17764"/>
                </a:cubicBezTo>
                <a:cubicBezTo>
                  <a:pt x="18279" y="17821"/>
                  <a:pt x="18295" y="17878"/>
                  <a:pt x="18311" y="17935"/>
                </a:cubicBezTo>
                <a:cubicBezTo>
                  <a:pt x="18315" y="17981"/>
                  <a:pt x="18318" y="18027"/>
                  <a:pt x="18322" y="18072"/>
                </a:cubicBezTo>
                <a:cubicBezTo>
                  <a:pt x="18323" y="18079"/>
                  <a:pt x="18319" y="18086"/>
                  <a:pt x="18320" y="18096"/>
                </a:cubicBezTo>
                <a:cubicBezTo>
                  <a:pt x="18321" y="18109"/>
                  <a:pt x="18328" y="18147"/>
                  <a:pt x="18326" y="18156"/>
                </a:cubicBezTo>
                <a:cubicBezTo>
                  <a:pt x="18320" y="18174"/>
                  <a:pt x="18314" y="18192"/>
                  <a:pt x="18307" y="18209"/>
                </a:cubicBezTo>
                <a:cubicBezTo>
                  <a:pt x="18301" y="18215"/>
                  <a:pt x="18291" y="18211"/>
                  <a:pt x="18284" y="18215"/>
                </a:cubicBezTo>
                <a:cubicBezTo>
                  <a:pt x="18282" y="18220"/>
                  <a:pt x="18283" y="18237"/>
                  <a:pt x="18283" y="18242"/>
                </a:cubicBezTo>
                <a:cubicBezTo>
                  <a:pt x="18284" y="18258"/>
                  <a:pt x="18284" y="18269"/>
                  <a:pt x="18287" y="18281"/>
                </a:cubicBezTo>
                <a:cubicBezTo>
                  <a:pt x="18289" y="18288"/>
                  <a:pt x="18291" y="18296"/>
                  <a:pt x="18293" y="18303"/>
                </a:cubicBezTo>
                <a:cubicBezTo>
                  <a:pt x="18295" y="18305"/>
                  <a:pt x="18299" y="18303"/>
                  <a:pt x="18303" y="18304"/>
                </a:cubicBezTo>
                <a:cubicBezTo>
                  <a:pt x="18311" y="18306"/>
                  <a:pt x="18317" y="18308"/>
                  <a:pt x="18323" y="18314"/>
                </a:cubicBezTo>
                <a:cubicBezTo>
                  <a:pt x="18331" y="18322"/>
                  <a:pt x="18338" y="18334"/>
                  <a:pt x="18343" y="18346"/>
                </a:cubicBezTo>
                <a:cubicBezTo>
                  <a:pt x="18345" y="18352"/>
                  <a:pt x="18347" y="18357"/>
                  <a:pt x="18350" y="18363"/>
                </a:cubicBezTo>
                <a:cubicBezTo>
                  <a:pt x="18375" y="18372"/>
                  <a:pt x="18401" y="18381"/>
                  <a:pt x="18427" y="18389"/>
                </a:cubicBezTo>
                <a:cubicBezTo>
                  <a:pt x="18429" y="18386"/>
                  <a:pt x="18430" y="18380"/>
                  <a:pt x="18433" y="18379"/>
                </a:cubicBezTo>
                <a:cubicBezTo>
                  <a:pt x="18442" y="18375"/>
                  <a:pt x="18455" y="18405"/>
                  <a:pt x="18460" y="18376"/>
                </a:cubicBezTo>
                <a:cubicBezTo>
                  <a:pt x="18460" y="18376"/>
                  <a:pt x="18460" y="18375"/>
                  <a:pt x="18460" y="18375"/>
                </a:cubicBezTo>
                <a:cubicBezTo>
                  <a:pt x="18467" y="18399"/>
                  <a:pt x="18478" y="18368"/>
                  <a:pt x="18484" y="18363"/>
                </a:cubicBezTo>
                <a:cubicBezTo>
                  <a:pt x="18488" y="18360"/>
                  <a:pt x="18494" y="18365"/>
                  <a:pt x="18497" y="18361"/>
                </a:cubicBezTo>
                <a:cubicBezTo>
                  <a:pt x="18502" y="18354"/>
                  <a:pt x="18502" y="18338"/>
                  <a:pt x="18506" y="18328"/>
                </a:cubicBezTo>
                <a:cubicBezTo>
                  <a:pt x="18508" y="18323"/>
                  <a:pt x="18510" y="18323"/>
                  <a:pt x="18513" y="18319"/>
                </a:cubicBezTo>
                <a:cubicBezTo>
                  <a:pt x="18514" y="18314"/>
                  <a:pt x="18516" y="18310"/>
                  <a:pt x="18517" y="18305"/>
                </a:cubicBezTo>
                <a:cubicBezTo>
                  <a:pt x="18525" y="18287"/>
                  <a:pt x="18541" y="18279"/>
                  <a:pt x="18559" y="18279"/>
                </a:cubicBezTo>
                <a:cubicBezTo>
                  <a:pt x="18561" y="18273"/>
                  <a:pt x="18562" y="18267"/>
                  <a:pt x="18564" y="18261"/>
                </a:cubicBezTo>
                <a:cubicBezTo>
                  <a:pt x="18570" y="18243"/>
                  <a:pt x="18576" y="18215"/>
                  <a:pt x="18586" y="18203"/>
                </a:cubicBezTo>
                <a:cubicBezTo>
                  <a:pt x="18596" y="18191"/>
                  <a:pt x="18612" y="18193"/>
                  <a:pt x="18626" y="18186"/>
                </a:cubicBezTo>
                <a:cubicBezTo>
                  <a:pt x="18631" y="18185"/>
                  <a:pt x="18635" y="18180"/>
                  <a:pt x="18638" y="18178"/>
                </a:cubicBezTo>
                <a:cubicBezTo>
                  <a:pt x="18642" y="18178"/>
                  <a:pt x="18646" y="18178"/>
                  <a:pt x="18650" y="18178"/>
                </a:cubicBezTo>
                <a:cubicBezTo>
                  <a:pt x="18659" y="18175"/>
                  <a:pt x="18666" y="18173"/>
                  <a:pt x="18674" y="18168"/>
                </a:cubicBezTo>
                <a:cubicBezTo>
                  <a:pt x="18688" y="18161"/>
                  <a:pt x="18707" y="18148"/>
                  <a:pt x="18725" y="18154"/>
                </a:cubicBezTo>
                <a:cubicBezTo>
                  <a:pt x="18735" y="18158"/>
                  <a:pt x="18741" y="18166"/>
                  <a:pt x="18749" y="18172"/>
                </a:cubicBezTo>
                <a:cubicBezTo>
                  <a:pt x="18751" y="18174"/>
                  <a:pt x="18756" y="18169"/>
                  <a:pt x="18759" y="18167"/>
                </a:cubicBezTo>
                <a:cubicBezTo>
                  <a:pt x="18768" y="18161"/>
                  <a:pt x="18778" y="18153"/>
                  <a:pt x="18787" y="18147"/>
                </a:cubicBezTo>
                <a:cubicBezTo>
                  <a:pt x="18793" y="18153"/>
                  <a:pt x="18797" y="18165"/>
                  <a:pt x="18805" y="18167"/>
                </a:cubicBezTo>
                <a:cubicBezTo>
                  <a:pt x="18811" y="18169"/>
                  <a:pt x="18815" y="18162"/>
                  <a:pt x="18818" y="18159"/>
                </a:cubicBezTo>
                <a:cubicBezTo>
                  <a:pt x="18825" y="18150"/>
                  <a:pt x="18830" y="18136"/>
                  <a:pt x="18837" y="18126"/>
                </a:cubicBezTo>
                <a:cubicBezTo>
                  <a:pt x="18839" y="18123"/>
                  <a:pt x="18842" y="18121"/>
                  <a:pt x="18844" y="18118"/>
                </a:cubicBezTo>
                <a:cubicBezTo>
                  <a:pt x="18845" y="18112"/>
                  <a:pt x="18846" y="18107"/>
                  <a:pt x="18847" y="18101"/>
                </a:cubicBezTo>
                <a:cubicBezTo>
                  <a:pt x="18853" y="18064"/>
                  <a:pt x="18849" y="18018"/>
                  <a:pt x="18869" y="18006"/>
                </a:cubicBezTo>
                <a:cubicBezTo>
                  <a:pt x="18874" y="18004"/>
                  <a:pt x="18883" y="18008"/>
                  <a:pt x="18886" y="18006"/>
                </a:cubicBezTo>
                <a:cubicBezTo>
                  <a:pt x="18915" y="17977"/>
                  <a:pt x="18943" y="17948"/>
                  <a:pt x="18971" y="17919"/>
                </a:cubicBezTo>
                <a:cubicBezTo>
                  <a:pt x="18993" y="17917"/>
                  <a:pt x="19014" y="17915"/>
                  <a:pt x="19036" y="17914"/>
                </a:cubicBezTo>
                <a:cubicBezTo>
                  <a:pt x="19066" y="17894"/>
                  <a:pt x="19097" y="17876"/>
                  <a:pt x="19127" y="17857"/>
                </a:cubicBezTo>
                <a:cubicBezTo>
                  <a:pt x="19129" y="17854"/>
                  <a:pt x="19130" y="17851"/>
                  <a:pt x="19132" y="17848"/>
                </a:cubicBezTo>
                <a:cubicBezTo>
                  <a:pt x="19137" y="17842"/>
                  <a:pt x="19143" y="17836"/>
                  <a:pt x="19148" y="17830"/>
                </a:cubicBezTo>
                <a:cubicBezTo>
                  <a:pt x="19162" y="17814"/>
                  <a:pt x="19179" y="17805"/>
                  <a:pt x="19197" y="17797"/>
                </a:cubicBezTo>
                <a:cubicBezTo>
                  <a:pt x="19208" y="17793"/>
                  <a:pt x="19231" y="17788"/>
                  <a:pt x="19244" y="17791"/>
                </a:cubicBezTo>
                <a:cubicBezTo>
                  <a:pt x="19252" y="17794"/>
                  <a:pt x="19262" y="17796"/>
                  <a:pt x="19271" y="17794"/>
                </a:cubicBezTo>
                <a:cubicBezTo>
                  <a:pt x="19289" y="17791"/>
                  <a:pt x="19307" y="17789"/>
                  <a:pt x="19326" y="17786"/>
                </a:cubicBezTo>
                <a:cubicBezTo>
                  <a:pt x="19340" y="17793"/>
                  <a:pt x="19349" y="17825"/>
                  <a:pt x="19365" y="17833"/>
                </a:cubicBezTo>
                <a:cubicBezTo>
                  <a:pt x="19374" y="17838"/>
                  <a:pt x="19379" y="17825"/>
                  <a:pt x="19389" y="17829"/>
                </a:cubicBezTo>
                <a:cubicBezTo>
                  <a:pt x="19404" y="17833"/>
                  <a:pt x="19413" y="17848"/>
                  <a:pt x="19427" y="17854"/>
                </a:cubicBezTo>
                <a:cubicBezTo>
                  <a:pt x="19436" y="17857"/>
                  <a:pt x="19440" y="17851"/>
                  <a:pt x="19446" y="17849"/>
                </a:cubicBezTo>
                <a:cubicBezTo>
                  <a:pt x="19457" y="17845"/>
                  <a:pt x="19471" y="17865"/>
                  <a:pt x="19475" y="17874"/>
                </a:cubicBezTo>
                <a:cubicBezTo>
                  <a:pt x="19473" y="17881"/>
                  <a:pt x="19470" y="17891"/>
                  <a:pt x="19472" y="17902"/>
                </a:cubicBezTo>
                <a:cubicBezTo>
                  <a:pt x="19476" y="17905"/>
                  <a:pt x="19484" y="17902"/>
                  <a:pt x="19490" y="17902"/>
                </a:cubicBezTo>
                <a:cubicBezTo>
                  <a:pt x="19504" y="17927"/>
                  <a:pt x="19479" y="17941"/>
                  <a:pt x="19487" y="17967"/>
                </a:cubicBezTo>
                <a:cubicBezTo>
                  <a:pt x="19494" y="17987"/>
                  <a:pt x="19515" y="17991"/>
                  <a:pt x="19525" y="18005"/>
                </a:cubicBezTo>
                <a:cubicBezTo>
                  <a:pt x="19533" y="18016"/>
                  <a:pt x="19531" y="18044"/>
                  <a:pt x="19536" y="18060"/>
                </a:cubicBezTo>
                <a:cubicBezTo>
                  <a:pt x="19537" y="18063"/>
                  <a:pt x="19540" y="18063"/>
                  <a:pt x="19541" y="18064"/>
                </a:cubicBezTo>
                <a:cubicBezTo>
                  <a:pt x="19545" y="18067"/>
                  <a:pt x="19548" y="18072"/>
                  <a:pt x="19551" y="18077"/>
                </a:cubicBezTo>
                <a:cubicBezTo>
                  <a:pt x="19558" y="18095"/>
                  <a:pt x="19561" y="18119"/>
                  <a:pt x="19565" y="18143"/>
                </a:cubicBezTo>
                <a:cubicBezTo>
                  <a:pt x="19567" y="18150"/>
                  <a:pt x="19568" y="18157"/>
                  <a:pt x="19570" y="18164"/>
                </a:cubicBezTo>
                <a:cubicBezTo>
                  <a:pt x="19569" y="18170"/>
                  <a:pt x="19569" y="18176"/>
                  <a:pt x="19568" y="18182"/>
                </a:cubicBezTo>
                <a:cubicBezTo>
                  <a:pt x="19564" y="18181"/>
                  <a:pt x="19560" y="18179"/>
                  <a:pt x="19556" y="18178"/>
                </a:cubicBezTo>
                <a:cubicBezTo>
                  <a:pt x="19556" y="18181"/>
                  <a:pt x="19556" y="18184"/>
                  <a:pt x="19556" y="18186"/>
                </a:cubicBezTo>
                <a:cubicBezTo>
                  <a:pt x="19565" y="18207"/>
                  <a:pt x="19575" y="18232"/>
                  <a:pt x="19588" y="18245"/>
                </a:cubicBezTo>
                <a:cubicBezTo>
                  <a:pt x="19595" y="18252"/>
                  <a:pt x="19608" y="18253"/>
                  <a:pt x="19610" y="18237"/>
                </a:cubicBezTo>
                <a:cubicBezTo>
                  <a:pt x="19611" y="18225"/>
                  <a:pt x="19606" y="18215"/>
                  <a:pt x="19604" y="18208"/>
                </a:cubicBezTo>
                <a:cubicBezTo>
                  <a:pt x="19603" y="18205"/>
                  <a:pt x="19609" y="18194"/>
                  <a:pt x="19610" y="18190"/>
                </a:cubicBezTo>
                <a:cubicBezTo>
                  <a:pt x="19617" y="18170"/>
                  <a:pt x="19622" y="18149"/>
                  <a:pt x="19630" y="18130"/>
                </a:cubicBezTo>
                <a:cubicBezTo>
                  <a:pt x="19637" y="18111"/>
                  <a:pt x="19648" y="18087"/>
                  <a:pt x="19660" y="18077"/>
                </a:cubicBezTo>
                <a:cubicBezTo>
                  <a:pt x="19668" y="18071"/>
                  <a:pt x="19679" y="18070"/>
                  <a:pt x="19685" y="18060"/>
                </a:cubicBezTo>
                <a:cubicBezTo>
                  <a:pt x="19691" y="18052"/>
                  <a:pt x="19690" y="18042"/>
                  <a:pt x="19692" y="18028"/>
                </a:cubicBezTo>
                <a:cubicBezTo>
                  <a:pt x="19695" y="18016"/>
                  <a:pt x="19699" y="18005"/>
                  <a:pt x="19703" y="17995"/>
                </a:cubicBezTo>
                <a:cubicBezTo>
                  <a:pt x="19711" y="17976"/>
                  <a:pt x="19727" y="17959"/>
                  <a:pt x="19724" y="17926"/>
                </a:cubicBezTo>
                <a:cubicBezTo>
                  <a:pt x="19726" y="17931"/>
                  <a:pt x="19727" y="17936"/>
                  <a:pt x="19729" y="17941"/>
                </a:cubicBezTo>
                <a:cubicBezTo>
                  <a:pt x="19731" y="17952"/>
                  <a:pt x="19733" y="17961"/>
                  <a:pt x="19735" y="17971"/>
                </a:cubicBezTo>
                <a:cubicBezTo>
                  <a:pt x="19736" y="17974"/>
                  <a:pt x="19737" y="17977"/>
                  <a:pt x="19738" y="17980"/>
                </a:cubicBezTo>
                <a:cubicBezTo>
                  <a:pt x="19741" y="17994"/>
                  <a:pt x="19728" y="18011"/>
                  <a:pt x="19724" y="18013"/>
                </a:cubicBezTo>
                <a:cubicBezTo>
                  <a:pt x="19727" y="18021"/>
                  <a:pt x="19736" y="18031"/>
                  <a:pt x="19733" y="18047"/>
                </a:cubicBezTo>
                <a:cubicBezTo>
                  <a:pt x="19728" y="18070"/>
                  <a:pt x="19711" y="18077"/>
                  <a:pt x="19707" y="18101"/>
                </a:cubicBezTo>
                <a:cubicBezTo>
                  <a:pt x="19704" y="18114"/>
                  <a:pt x="19703" y="18126"/>
                  <a:pt x="19702" y="18142"/>
                </a:cubicBezTo>
                <a:cubicBezTo>
                  <a:pt x="19703" y="18152"/>
                  <a:pt x="19702" y="18162"/>
                  <a:pt x="19703" y="18172"/>
                </a:cubicBezTo>
                <a:cubicBezTo>
                  <a:pt x="19706" y="18207"/>
                  <a:pt x="19700" y="18230"/>
                  <a:pt x="19688" y="18238"/>
                </a:cubicBezTo>
                <a:cubicBezTo>
                  <a:pt x="19684" y="18241"/>
                  <a:pt x="19677" y="18243"/>
                  <a:pt x="19672" y="18241"/>
                </a:cubicBezTo>
                <a:cubicBezTo>
                  <a:pt x="19670" y="18255"/>
                  <a:pt x="19668" y="18270"/>
                  <a:pt x="19667" y="18285"/>
                </a:cubicBezTo>
                <a:cubicBezTo>
                  <a:pt x="19681" y="18285"/>
                  <a:pt x="19692" y="18284"/>
                  <a:pt x="19698" y="18268"/>
                </a:cubicBezTo>
                <a:cubicBezTo>
                  <a:pt x="19703" y="18268"/>
                  <a:pt x="19709" y="18278"/>
                  <a:pt x="19714" y="18273"/>
                </a:cubicBezTo>
                <a:cubicBezTo>
                  <a:pt x="19718" y="18268"/>
                  <a:pt x="19719" y="18251"/>
                  <a:pt x="19721" y="18241"/>
                </a:cubicBezTo>
                <a:cubicBezTo>
                  <a:pt x="19726" y="18211"/>
                  <a:pt x="19732" y="18182"/>
                  <a:pt x="19738" y="18152"/>
                </a:cubicBezTo>
                <a:cubicBezTo>
                  <a:pt x="19746" y="18154"/>
                  <a:pt x="19750" y="18174"/>
                  <a:pt x="19754" y="18184"/>
                </a:cubicBezTo>
                <a:cubicBezTo>
                  <a:pt x="19760" y="18199"/>
                  <a:pt x="19766" y="18213"/>
                  <a:pt x="19772" y="18227"/>
                </a:cubicBezTo>
                <a:cubicBezTo>
                  <a:pt x="19771" y="18248"/>
                  <a:pt x="19770" y="18270"/>
                  <a:pt x="19768" y="18291"/>
                </a:cubicBezTo>
                <a:cubicBezTo>
                  <a:pt x="19752" y="18297"/>
                  <a:pt x="19735" y="18303"/>
                  <a:pt x="19719" y="18309"/>
                </a:cubicBezTo>
                <a:cubicBezTo>
                  <a:pt x="19718" y="18320"/>
                  <a:pt x="19718" y="18327"/>
                  <a:pt x="19721" y="18334"/>
                </a:cubicBezTo>
                <a:cubicBezTo>
                  <a:pt x="19724" y="18334"/>
                  <a:pt x="19727" y="18333"/>
                  <a:pt x="19729" y="18333"/>
                </a:cubicBezTo>
                <a:cubicBezTo>
                  <a:pt x="19736" y="18336"/>
                  <a:pt x="19743" y="18340"/>
                  <a:pt x="19749" y="18343"/>
                </a:cubicBezTo>
                <a:cubicBezTo>
                  <a:pt x="19753" y="18344"/>
                  <a:pt x="19756" y="18337"/>
                  <a:pt x="19759" y="18338"/>
                </a:cubicBezTo>
                <a:cubicBezTo>
                  <a:pt x="19766" y="18341"/>
                  <a:pt x="19772" y="18345"/>
                  <a:pt x="19779" y="18349"/>
                </a:cubicBezTo>
                <a:cubicBezTo>
                  <a:pt x="19782" y="18347"/>
                  <a:pt x="19786" y="18340"/>
                  <a:pt x="19790" y="18338"/>
                </a:cubicBezTo>
                <a:cubicBezTo>
                  <a:pt x="19791" y="18337"/>
                  <a:pt x="19793" y="18336"/>
                  <a:pt x="19794" y="18335"/>
                </a:cubicBezTo>
                <a:cubicBezTo>
                  <a:pt x="19804" y="18344"/>
                  <a:pt x="19809" y="18360"/>
                  <a:pt x="19816" y="18375"/>
                </a:cubicBezTo>
                <a:cubicBezTo>
                  <a:pt x="19819" y="18385"/>
                  <a:pt x="19824" y="18394"/>
                  <a:pt x="19829" y="18403"/>
                </a:cubicBezTo>
                <a:cubicBezTo>
                  <a:pt x="19831" y="18406"/>
                  <a:pt x="19832" y="18408"/>
                  <a:pt x="19834" y="18411"/>
                </a:cubicBezTo>
                <a:cubicBezTo>
                  <a:pt x="19836" y="18419"/>
                  <a:pt x="19838" y="18428"/>
                  <a:pt x="19840" y="18436"/>
                </a:cubicBezTo>
                <a:cubicBezTo>
                  <a:pt x="19849" y="18474"/>
                  <a:pt x="19855" y="18520"/>
                  <a:pt x="19836" y="18544"/>
                </a:cubicBezTo>
                <a:cubicBezTo>
                  <a:pt x="19837" y="18593"/>
                  <a:pt x="19862" y="18606"/>
                  <a:pt x="19873" y="18637"/>
                </a:cubicBezTo>
                <a:cubicBezTo>
                  <a:pt x="19881" y="18658"/>
                  <a:pt x="19877" y="18674"/>
                  <a:pt x="19890" y="18689"/>
                </a:cubicBezTo>
                <a:cubicBezTo>
                  <a:pt x="19898" y="18697"/>
                  <a:pt x="19910" y="18698"/>
                  <a:pt x="19920" y="18702"/>
                </a:cubicBezTo>
                <a:cubicBezTo>
                  <a:pt x="19923" y="18703"/>
                  <a:pt x="19926" y="18704"/>
                  <a:pt x="19930" y="18705"/>
                </a:cubicBezTo>
                <a:cubicBezTo>
                  <a:pt x="19931" y="18709"/>
                  <a:pt x="19931" y="18712"/>
                  <a:pt x="19932" y="18715"/>
                </a:cubicBezTo>
                <a:cubicBezTo>
                  <a:pt x="19936" y="18725"/>
                  <a:pt x="19945" y="18751"/>
                  <a:pt x="19950" y="18757"/>
                </a:cubicBezTo>
                <a:cubicBezTo>
                  <a:pt x="19964" y="18773"/>
                  <a:pt x="19978" y="18722"/>
                  <a:pt x="19987" y="18762"/>
                </a:cubicBezTo>
                <a:cubicBezTo>
                  <a:pt x="19990" y="18760"/>
                  <a:pt x="19992" y="18758"/>
                  <a:pt x="19994" y="18757"/>
                </a:cubicBezTo>
                <a:cubicBezTo>
                  <a:pt x="20002" y="18753"/>
                  <a:pt x="20011" y="18758"/>
                  <a:pt x="20016" y="18764"/>
                </a:cubicBezTo>
                <a:cubicBezTo>
                  <a:pt x="20033" y="18782"/>
                  <a:pt x="20044" y="18810"/>
                  <a:pt x="20065" y="18823"/>
                </a:cubicBezTo>
                <a:cubicBezTo>
                  <a:pt x="20071" y="18826"/>
                  <a:pt x="20076" y="18836"/>
                  <a:pt x="20084" y="18831"/>
                </a:cubicBezTo>
                <a:cubicBezTo>
                  <a:pt x="20099" y="18823"/>
                  <a:pt x="20106" y="18789"/>
                  <a:pt x="20116" y="18770"/>
                </a:cubicBezTo>
                <a:cubicBezTo>
                  <a:pt x="20118" y="18766"/>
                  <a:pt x="20120" y="18762"/>
                  <a:pt x="20123" y="18758"/>
                </a:cubicBezTo>
                <a:cubicBezTo>
                  <a:pt x="20131" y="18750"/>
                  <a:pt x="20142" y="18755"/>
                  <a:pt x="20140" y="18729"/>
                </a:cubicBezTo>
                <a:cubicBezTo>
                  <a:pt x="20147" y="18726"/>
                  <a:pt x="20154" y="18700"/>
                  <a:pt x="20162" y="18704"/>
                </a:cubicBezTo>
                <a:cubicBezTo>
                  <a:pt x="20165" y="18705"/>
                  <a:pt x="20167" y="18713"/>
                  <a:pt x="20169" y="18717"/>
                </a:cubicBezTo>
                <a:cubicBezTo>
                  <a:pt x="20181" y="18743"/>
                  <a:pt x="20169" y="18771"/>
                  <a:pt x="20156" y="18779"/>
                </a:cubicBezTo>
                <a:cubicBezTo>
                  <a:pt x="20164" y="18800"/>
                  <a:pt x="20177" y="18774"/>
                  <a:pt x="20185" y="18769"/>
                </a:cubicBezTo>
                <a:cubicBezTo>
                  <a:pt x="20191" y="18765"/>
                  <a:pt x="20198" y="18771"/>
                  <a:pt x="20199" y="18781"/>
                </a:cubicBezTo>
                <a:cubicBezTo>
                  <a:pt x="20196" y="18788"/>
                  <a:pt x="20194" y="18795"/>
                  <a:pt x="20191" y="18803"/>
                </a:cubicBezTo>
                <a:cubicBezTo>
                  <a:pt x="20204" y="18824"/>
                  <a:pt x="20216" y="18846"/>
                  <a:pt x="20228" y="18866"/>
                </a:cubicBezTo>
                <a:cubicBezTo>
                  <a:pt x="20231" y="18869"/>
                  <a:pt x="20233" y="18866"/>
                  <a:pt x="20236" y="18869"/>
                </a:cubicBezTo>
                <a:cubicBezTo>
                  <a:pt x="20239" y="18876"/>
                  <a:pt x="20242" y="18884"/>
                  <a:pt x="20245" y="18892"/>
                </a:cubicBezTo>
                <a:cubicBezTo>
                  <a:pt x="20252" y="18900"/>
                  <a:pt x="20256" y="18885"/>
                  <a:pt x="20258" y="18878"/>
                </a:cubicBezTo>
                <a:cubicBezTo>
                  <a:pt x="20256" y="18861"/>
                  <a:pt x="20235" y="18867"/>
                  <a:pt x="20240" y="18847"/>
                </a:cubicBezTo>
                <a:cubicBezTo>
                  <a:pt x="20242" y="18842"/>
                  <a:pt x="20251" y="18843"/>
                  <a:pt x="20254" y="18841"/>
                </a:cubicBezTo>
                <a:cubicBezTo>
                  <a:pt x="20267" y="18835"/>
                  <a:pt x="20279" y="18829"/>
                  <a:pt x="20289" y="18819"/>
                </a:cubicBezTo>
                <a:cubicBezTo>
                  <a:pt x="20310" y="18801"/>
                  <a:pt x="20314" y="18749"/>
                  <a:pt x="20338" y="18738"/>
                </a:cubicBezTo>
                <a:cubicBezTo>
                  <a:pt x="20374" y="18735"/>
                  <a:pt x="20410" y="18732"/>
                  <a:pt x="20446" y="18729"/>
                </a:cubicBezTo>
                <a:cubicBezTo>
                  <a:pt x="20452" y="18721"/>
                  <a:pt x="20458" y="18713"/>
                  <a:pt x="20464" y="18704"/>
                </a:cubicBezTo>
                <a:cubicBezTo>
                  <a:pt x="20470" y="18700"/>
                  <a:pt x="20473" y="18703"/>
                  <a:pt x="20477" y="18697"/>
                </a:cubicBezTo>
                <a:cubicBezTo>
                  <a:pt x="20484" y="18687"/>
                  <a:pt x="20483" y="18661"/>
                  <a:pt x="20481" y="18639"/>
                </a:cubicBezTo>
                <a:cubicBezTo>
                  <a:pt x="20480" y="18633"/>
                  <a:pt x="20479" y="18626"/>
                  <a:pt x="20479" y="18619"/>
                </a:cubicBezTo>
                <a:cubicBezTo>
                  <a:pt x="20479" y="18611"/>
                  <a:pt x="20480" y="18604"/>
                  <a:pt x="20481" y="18596"/>
                </a:cubicBezTo>
                <a:cubicBezTo>
                  <a:pt x="20486" y="18553"/>
                  <a:pt x="20491" y="18510"/>
                  <a:pt x="20495" y="18468"/>
                </a:cubicBezTo>
                <a:cubicBezTo>
                  <a:pt x="20501" y="18435"/>
                  <a:pt x="20511" y="18407"/>
                  <a:pt x="20521" y="18382"/>
                </a:cubicBezTo>
                <a:cubicBezTo>
                  <a:pt x="20525" y="18371"/>
                  <a:pt x="20532" y="18350"/>
                  <a:pt x="20539" y="18344"/>
                </a:cubicBezTo>
                <a:cubicBezTo>
                  <a:pt x="20540" y="18340"/>
                  <a:pt x="20539" y="18336"/>
                  <a:pt x="20539" y="18331"/>
                </a:cubicBezTo>
                <a:cubicBezTo>
                  <a:pt x="20540" y="18323"/>
                  <a:pt x="20544" y="18313"/>
                  <a:pt x="20547" y="18310"/>
                </a:cubicBezTo>
                <a:cubicBezTo>
                  <a:pt x="20548" y="18310"/>
                  <a:pt x="20548" y="18309"/>
                  <a:pt x="20548" y="18309"/>
                </a:cubicBezTo>
                <a:cubicBezTo>
                  <a:pt x="20533" y="18272"/>
                  <a:pt x="20553" y="18255"/>
                  <a:pt x="20560" y="18232"/>
                </a:cubicBezTo>
                <a:cubicBezTo>
                  <a:pt x="20573" y="18190"/>
                  <a:pt x="20585" y="18148"/>
                  <a:pt x="20598" y="18106"/>
                </a:cubicBezTo>
                <a:cubicBezTo>
                  <a:pt x="20607" y="18090"/>
                  <a:pt x="20615" y="18074"/>
                  <a:pt x="20624" y="18058"/>
                </a:cubicBezTo>
                <a:cubicBezTo>
                  <a:pt x="20656" y="18065"/>
                  <a:pt x="20653" y="18001"/>
                  <a:pt x="20663" y="17968"/>
                </a:cubicBezTo>
                <a:cubicBezTo>
                  <a:pt x="20665" y="17960"/>
                  <a:pt x="20667" y="17951"/>
                  <a:pt x="20670" y="17946"/>
                </a:cubicBezTo>
                <a:cubicBezTo>
                  <a:pt x="20673" y="17943"/>
                  <a:pt x="20675" y="17941"/>
                  <a:pt x="20677" y="17935"/>
                </a:cubicBezTo>
                <a:cubicBezTo>
                  <a:pt x="20681" y="17919"/>
                  <a:pt x="20676" y="17894"/>
                  <a:pt x="20689" y="17890"/>
                </a:cubicBezTo>
                <a:cubicBezTo>
                  <a:pt x="20691" y="17851"/>
                  <a:pt x="20694" y="17811"/>
                  <a:pt x="20697" y="17772"/>
                </a:cubicBezTo>
                <a:cubicBezTo>
                  <a:pt x="20699" y="17767"/>
                  <a:pt x="20701" y="17760"/>
                  <a:pt x="20703" y="17755"/>
                </a:cubicBezTo>
                <a:cubicBezTo>
                  <a:pt x="20705" y="17745"/>
                  <a:pt x="20708" y="17734"/>
                  <a:pt x="20710" y="17723"/>
                </a:cubicBezTo>
                <a:cubicBezTo>
                  <a:pt x="20716" y="17688"/>
                  <a:pt x="20716" y="17647"/>
                  <a:pt x="20722" y="17614"/>
                </a:cubicBezTo>
                <a:cubicBezTo>
                  <a:pt x="20725" y="17601"/>
                  <a:pt x="20728" y="17589"/>
                  <a:pt x="20731" y="17576"/>
                </a:cubicBezTo>
                <a:cubicBezTo>
                  <a:pt x="20735" y="17559"/>
                  <a:pt x="20736" y="17541"/>
                  <a:pt x="20738" y="17522"/>
                </a:cubicBezTo>
                <a:cubicBezTo>
                  <a:pt x="20739" y="17511"/>
                  <a:pt x="20740" y="17501"/>
                  <a:pt x="20741" y="17490"/>
                </a:cubicBezTo>
                <a:cubicBezTo>
                  <a:pt x="20739" y="17480"/>
                  <a:pt x="20737" y="17473"/>
                  <a:pt x="20735" y="17463"/>
                </a:cubicBezTo>
                <a:cubicBezTo>
                  <a:pt x="20729" y="17438"/>
                  <a:pt x="20726" y="17412"/>
                  <a:pt x="20719" y="17389"/>
                </a:cubicBezTo>
                <a:cubicBezTo>
                  <a:pt x="20715" y="17374"/>
                  <a:pt x="20709" y="17362"/>
                  <a:pt x="20705" y="17349"/>
                </a:cubicBezTo>
                <a:cubicBezTo>
                  <a:pt x="20708" y="17343"/>
                  <a:pt x="20711" y="17336"/>
                  <a:pt x="20714" y="17330"/>
                </a:cubicBezTo>
                <a:cubicBezTo>
                  <a:pt x="20713" y="17313"/>
                  <a:pt x="20709" y="17291"/>
                  <a:pt x="20710" y="17271"/>
                </a:cubicBezTo>
                <a:cubicBezTo>
                  <a:pt x="20711" y="17256"/>
                  <a:pt x="20711" y="17241"/>
                  <a:pt x="20713" y="17227"/>
                </a:cubicBezTo>
                <a:cubicBezTo>
                  <a:pt x="20715" y="17216"/>
                  <a:pt x="20716" y="17207"/>
                  <a:pt x="20718" y="17197"/>
                </a:cubicBezTo>
                <a:cubicBezTo>
                  <a:pt x="20714" y="17190"/>
                  <a:pt x="20710" y="17186"/>
                  <a:pt x="20708" y="17176"/>
                </a:cubicBezTo>
                <a:cubicBezTo>
                  <a:pt x="20708" y="17168"/>
                  <a:pt x="20707" y="17159"/>
                  <a:pt x="20707" y="17151"/>
                </a:cubicBezTo>
                <a:cubicBezTo>
                  <a:pt x="20706" y="17147"/>
                  <a:pt x="20706" y="17143"/>
                  <a:pt x="20705" y="17139"/>
                </a:cubicBezTo>
                <a:cubicBezTo>
                  <a:pt x="20712" y="17122"/>
                  <a:pt x="20715" y="17104"/>
                  <a:pt x="20701" y="17087"/>
                </a:cubicBezTo>
                <a:cubicBezTo>
                  <a:pt x="20701" y="17092"/>
                  <a:pt x="20700" y="17095"/>
                  <a:pt x="20700" y="17099"/>
                </a:cubicBezTo>
                <a:cubicBezTo>
                  <a:pt x="20700" y="17100"/>
                  <a:pt x="20700" y="17100"/>
                  <a:pt x="20700" y="17101"/>
                </a:cubicBezTo>
                <a:cubicBezTo>
                  <a:pt x="20697" y="17089"/>
                  <a:pt x="20693" y="17080"/>
                  <a:pt x="20683" y="17075"/>
                </a:cubicBezTo>
                <a:cubicBezTo>
                  <a:pt x="20688" y="17046"/>
                  <a:pt x="20671" y="17024"/>
                  <a:pt x="20661" y="17012"/>
                </a:cubicBezTo>
                <a:cubicBezTo>
                  <a:pt x="20656" y="17005"/>
                  <a:pt x="20650" y="16994"/>
                  <a:pt x="20648" y="16982"/>
                </a:cubicBezTo>
                <a:cubicBezTo>
                  <a:pt x="20645" y="16971"/>
                  <a:pt x="20647" y="16968"/>
                  <a:pt x="20643" y="16960"/>
                </a:cubicBezTo>
                <a:cubicBezTo>
                  <a:pt x="20629" y="16933"/>
                  <a:pt x="20584" y="16910"/>
                  <a:pt x="20601" y="16862"/>
                </a:cubicBezTo>
                <a:cubicBezTo>
                  <a:pt x="20595" y="16844"/>
                  <a:pt x="20584" y="16863"/>
                  <a:pt x="20578" y="16851"/>
                </a:cubicBezTo>
                <a:cubicBezTo>
                  <a:pt x="20570" y="16836"/>
                  <a:pt x="20571" y="16777"/>
                  <a:pt x="20573" y="16758"/>
                </a:cubicBezTo>
                <a:cubicBezTo>
                  <a:pt x="20574" y="16750"/>
                  <a:pt x="20575" y="16742"/>
                  <a:pt x="20576" y="16734"/>
                </a:cubicBezTo>
                <a:cubicBezTo>
                  <a:pt x="20573" y="16728"/>
                  <a:pt x="20570" y="16721"/>
                  <a:pt x="20567" y="16715"/>
                </a:cubicBezTo>
                <a:cubicBezTo>
                  <a:pt x="20566" y="16714"/>
                  <a:pt x="20567" y="16715"/>
                  <a:pt x="20566" y="16714"/>
                </a:cubicBezTo>
                <a:cubicBezTo>
                  <a:pt x="20564" y="16721"/>
                  <a:pt x="20562" y="16728"/>
                  <a:pt x="20560" y="16735"/>
                </a:cubicBezTo>
                <a:cubicBezTo>
                  <a:pt x="20556" y="16736"/>
                  <a:pt x="20552" y="16728"/>
                  <a:pt x="20550" y="16725"/>
                </a:cubicBezTo>
                <a:cubicBezTo>
                  <a:pt x="20540" y="16712"/>
                  <a:pt x="20533" y="16692"/>
                  <a:pt x="20523" y="16678"/>
                </a:cubicBezTo>
                <a:cubicBezTo>
                  <a:pt x="20518" y="16686"/>
                  <a:pt x="20517" y="16702"/>
                  <a:pt x="20521" y="16716"/>
                </a:cubicBezTo>
                <a:cubicBezTo>
                  <a:pt x="20512" y="16717"/>
                  <a:pt x="20501" y="16706"/>
                  <a:pt x="20497" y="16696"/>
                </a:cubicBezTo>
                <a:cubicBezTo>
                  <a:pt x="20492" y="16682"/>
                  <a:pt x="20494" y="16660"/>
                  <a:pt x="20492" y="16641"/>
                </a:cubicBezTo>
                <a:cubicBezTo>
                  <a:pt x="20491" y="16631"/>
                  <a:pt x="20490" y="16622"/>
                  <a:pt x="20490" y="16613"/>
                </a:cubicBezTo>
                <a:cubicBezTo>
                  <a:pt x="20486" y="16590"/>
                  <a:pt x="20481" y="16564"/>
                  <a:pt x="20470" y="16555"/>
                </a:cubicBezTo>
                <a:cubicBezTo>
                  <a:pt x="20469" y="16552"/>
                  <a:pt x="20472" y="16541"/>
                  <a:pt x="20468" y="16530"/>
                </a:cubicBezTo>
                <a:cubicBezTo>
                  <a:pt x="20465" y="16522"/>
                  <a:pt x="20460" y="16515"/>
                  <a:pt x="20455" y="16510"/>
                </a:cubicBezTo>
                <a:cubicBezTo>
                  <a:pt x="20453" y="16508"/>
                  <a:pt x="20452" y="16506"/>
                  <a:pt x="20450" y="16504"/>
                </a:cubicBezTo>
                <a:cubicBezTo>
                  <a:pt x="20445" y="16494"/>
                  <a:pt x="20439" y="16470"/>
                  <a:pt x="20444" y="16457"/>
                </a:cubicBezTo>
                <a:cubicBezTo>
                  <a:pt x="20446" y="16453"/>
                  <a:pt x="20449" y="16450"/>
                  <a:pt x="20452" y="16448"/>
                </a:cubicBezTo>
                <a:cubicBezTo>
                  <a:pt x="20456" y="16428"/>
                  <a:pt x="20441" y="16422"/>
                  <a:pt x="20437" y="16408"/>
                </a:cubicBezTo>
                <a:cubicBezTo>
                  <a:pt x="20433" y="16406"/>
                  <a:pt x="20429" y="16405"/>
                  <a:pt x="20425" y="16404"/>
                </a:cubicBezTo>
                <a:cubicBezTo>
                  <a:pt x="20412" y="16396"/>
                  <a:pt x="20403" y="16383"/>
                  <a:pt x="20392" y="16370"/>
                </a:cubicBezTo>
                <a:cubicBezTo>
                  <a:pt x="20390" y="16367"/>
                  <a:pt x="20385" y="16362"/>
                  <a:pt x="20383" y="16357"/>
                </a:cubicBezTo>
                <a:cubicBezTo>
                  <a:pt x="20382" y="16357"/>
                  <a:pt x="20381" y="16358"/>
                  <a:pt x="20379" y="16358"/>
                </a:cubicBezTo>
                <a:cubicBezTo>
                  <a:pt x="20373" y="16360"/>
                  <a:pt x="20364" y="16351"/>
                  <a:pt x="20363" y="16345"/>
                </a:cubicBezTo>
                <a:cubicBezTo>
                  <a:pt x="20362" y="16344"/>
                  <a:pt x="20362" y="16343"/>
                  <a:pt x="20361" y="16343"/>
                </a:cubicBezTo>
                <a:cubicBezTo>
                  <a:pt x="20368" y="16333"/>
                  <a:pt x="20369" y="16320"/>
                  <a:pt x="20363" y="16307"/>
                </a:cubicBezTo>
                <a:cubicBezTo>
                  <a:pt x="20350" y="16310"/>
                  <a:pt x="20339" y="16314"/>
                  <a:pt x="20334" y="16292"/>
                </a:cubicBezTo>
                <a:cubicBezTo>
                  <a:pt x="20324" y="16301"/>
                  <a:pt x="20322" y="16291"/>
                  <a:pt x="20314" y="16285"/>
                </a:cubicBezTo>
                <a:cubicBezTo>
                  <a:pt x="20284" y="16264"/>
                  <a:pt x="20289" y="16247"/>
                  <a:pt x="20287" y="16184"/>
                </a:cubicBezTo>
                <a:cubicBezTo>
                  <a:pt x="20273" y="16177"/>
                  <a:pt x="20269" y="16149"/>
                  <a:pt x="20274" y="16125"/>
                </a:cubicBezTo>
                <a:cubicBezTo>
                  <a:pt x="20276" y="16119"/>
                  <a:pt x="20278" y="16112"/>
                  <a:pt x="20280" y="16105"/>
                </a:cubicBezTo>
                <a:cubicBezTo>
                  <a:pt x="20278" y="16088"/>
                  <a:pt x="20276" y="16071"/>
                  <a:pt x="20274" y="16054"/>
                </a:cubicBezTo>
                <a:cubicBezTo>
                  <a:pt x="20273" y="16046"/>
                  <a:pt x="20272" y="16031"/>
                  <a:pt x="20269" y="16023"/>
                </a:cubicBezTo>
                <a:cubicBezTo>
                  <a:pt x="20259" y="15997"/>
                  <a:pt x="20240" y="15983"/>
                  <a:pt x="20234" y="15951"/>
                </a:cubicBezTo>
                <a:cubicBezTo>
                  <a:pt x="20231" y="15939"/>
                  <a:pt x="20234" y="15911"/>
                  <a:pt x="20235" y="15896"/>
                </a:cubicBezTo>
                <a:cubicBezTo>
                  <a:pt x="20237" y="15866"/>
                  <a:pt x="20228" y="15843"/>
                  <a:pt x="20221" y="15827"/>
                </a:cubicBezTo>
                <a:cubicBezTo>
                  <a:pt x="20224" y="15824"/>
                  <a:pt x="20229" y="15821"/>
                  <a:pt x="20230" y="15815"/>
                </a:cubicBezTo>
                <a:cubicBezTo>
                  <a:pt x="20233" y="15800"/>
                  <a:pt x="20219" y="15796"/>
                  <a:pt x="20226" y="15777"/>
                </a:cubicBezTo>
                <a:cubicBezTo>
                  <a:pt x="20207" y="15768"/>
                  <a:pt x="20204" y="15730"/>
                  <a:pt x="20186" y="15721"/>
                </a:cubicBezTo>
                <a:cubicBezTo>
                  <a:pt x="20182" y="15708"/>
                  <a:pt x="20186" y="15686"/>
                  <a:pt x="20177" y="15681"/>
                </a:cubicBezTo>
                <a:cubicBezTo>
                  <a:pt x="20175" y="15685"/>
                  <a:pt x="20172" y="15689"/>
                  <a:pt x="20169" y="15692"/>
                </a:cubicBezTo>
                <a:cubicBezTo>
                  <a:pt x="20157" y="15700"/>
                  <a:pt x="20148" y="15694"/>
                  <a:pt x="20142" y="15713"/>
                </a:cubicBezTo>
                <a:cubicBezTo>
                  <a:pt x="20130" y="15714"/>
                  <a:pt x="20125" y="15695"/>
                  <a:pt x="20122" y="15678"/>
                </a:cubicBezTo>
                <a:cubicBezTo>
                  <a:pt x="20121" y="15674"/>
                  <a:pt x="20120" y="15668"/>
                  <a:pt x="20118" y="15663"/>
                </a:cubicBezTo>
                <a:cubicBezTo>
                  <a:pt x="20117" y="15654"/>
                  <a:pt x="20116" y="15644"/>
                  <a:pt x="20115" y="15635"/>
                </a:cubicBezTo>
                <a:cubicBezTo>
                  <a:pt x="20111" y="15604"/>
                  <a:pt x="20117" y="15572"/>
                  <a:pt x="20113" y="15542"/>
                </a:cubicBezTo>
                <a:cubicBezTo>
                  <a:pt x="20108" y="15501"/>
                  <a:pt x="20098" y="15475"/>
                  <a:pt x="20079" y="15459"/>
                </a:cubicBezTo>
                <a:cubicBezTo>
                  <a:pt x="20082" y="15448"/>
                  <a:pt x="20084" y="15437"/>
                  <a:pt x="20086" y="15426"/>
                </a:cubicBezTo>
                <a:cubicBezTo>
                  <a:pt x="20072" y="15417"/>
                  <a:pt x="20068" y="15390"/>
                  <a:pt x="20064" y="15363"/>
                </a:cubicBezTo>
                <a:cubicBezTo>
                  <a:pt x="20062" y="15352"/>
                  <a:pt x="20062" y="15339"/>
                  <a:pt x="20059" y="15330"/>
                </a:cubicBezTo>
                <a:cubicBezTo>
                  <a:pt x="20056" y="15325"/>
                  <a:pt x="20053" y="15320"/>
                  <a:pt x="20049" y="15315"/>
                </a:cubicBezTo>
                <a:cubicBezTo>
                  <a:pt x="20047" y="15306"/>
                  <a:pt x="20044" y="15298"/>
                  <a:pt x="20041" y="15289"/>
                </a:cubicBezTo>
                <a:close/>
                <a:moveTo>
                  <a:pt x="19733" y="15590"/>
                </a:moveTo>
                <a:cubicBezTo>
                  <a:pt x="19722" y="15597"/>
                  <a:pt x="19723" y="15601"/>
                  <a:pt x="19720" y="15621"/>
                </a:cubicBezTo>
                <a:cubicBezTo>
                  <a:pt x="19720" y="15625"/>
                  <a:pt x="19719" y="15629"/>
                  <a:pt x="19718" y="15633"/>
                </a:cubicBezTo>
                <a:cubicBezTo>
                  <a:pt x="19723" y="15638"/>
                  <a:pt x="19727" y="15642"/>
                  <a:pt x="19732" y="15647"/>
                </a:cubicBezTo>
                <a:cubicBezTo>
                  <a:pt x="19748" y="15645"/>
                  <a:pt x="19738" y="15610"/>
                  <a:pt x="19744" y="15591"/>
                </a:cubicBezTo>
                <a:cubicBezTo>
                  <a:pt x="19740" y="15590"/>
                  <a:pt x="19737" y="15590"/>
                  <a:pt x="19733" y="15590"/>
                </a:cubicBezTo>
                <a:close/>
                <a:moveTo>
                  <a:pt x="19894" y="15889"/>
                </a:moveTo>
                <a:cubicBezTo>
                  <a:pt x="19889" y="15896"/>
                  <a:pt x="19884" y="15903"/>
                  <a:pt x="19880" y="15910"/>
                </a:cubicBezTo>
                <a:cubicBezTo>
                  <a:pt x="19888" y="15906"/>
                  <a:pt x="19896" y="15899"/>
                  <a:pt x="19904" y="15895"/>
                </a:cubicBezTo>
                <a:lnTo>
                  <a:pt x="19904" y="15893"/>
                </a:lnTo>
                <a:cubicBezTo>
                  <a:pt x="19901" y="15892"/>
                  <a:pt x="19897" y="15890"/>
                  <a:pt x="19894" y="15889"/>
                </a:cubicBezTo>
                <a:close/>
                <a:moveTo>
                  <a:pt x="18103" y="17087"/>
                </a:moveTo>
                <a:cubicBezTo>
                  <a:pt x="18103" y="17089"/>
                  <a:pt x="18102" y="17089"/>
                  <a:pt x="18101" y="17091"/>
                </a:cubicBezTo>
                <a:cubicBezTo>
                  <a:pt x="18101" y="17094"/>
                  <a:pt x="18104" y="17099"/>
                  <a:pt x="18105" y="17102"/>
                </a:cubicBezTo>
                <a:cubicBezTo>
                  <a:pt x="18110" y="17121"/>
                  <a:pt x="18110" y="17127"/>
                  <a:pt x="18119" y="17140"/>
                </a:cubicBezTo>
                <a:cubicBezTo>
                  <a:pt x="18119" y="17141"/>
                  <a:pt x="18119" y="17141"/>
                  <a:pt x="18120" y="17141"/>
                </a:cubicBezTo>
                <a:cubicBezTo>
                  <a:pt x="18129" y="17105"/>
                  <a:pt x="18117" y="17101"/>
                  <a:pt x="18103" y="17087"/>
                </a:cubicBezTo>
                <a:close/>
                <a:moveTo>
                  <a:pt x="20204" y="18884"/>
                </a:moveTo>
                <a:cubicBezTo>
                  <a:pt x="20203" y="18891"/>
                  <a:pt x="20204" y="18900"/>
                  <a:pt x="20204" y="18908"/>
                </a:cubicBezTo>
                <a:cubicBezTo>
                  <a:pt x="20203" y="18912"/>
                  <a:pt x="20204" y="18919"/>
                  <a:pt x="20204" y="18923"/>
                </a:cubicBezTo>
                <a:cubicBezTo>
                  <a:pt x="20204" y="18924"/>
                  <a:pt x="20204" y="18926"/>
                  <a:pt x="20204" y="18928"/>
                </a:cubicBezTo>
                <a:cubicBezTo>
                  <a:pt x="20203" y="18947"/>
                  <a:pt x="20203" y="18967"/>
                  <a:pt x="20203" y="18986"/>
                </a:cubicBezTo>
                <a:cubicBezTo>
                  <a:pt x="20209" y="19030"/>
                  <a:pt x="20227" y="19055"/>
                  <a:pt x="20234" y="19099"/>
                </a:cubicBezTo>
                <a:cubicBezTo>
                  <a:pt x="20236" y="19115"/>
                  <a:pt x="20234" y="19132"/>
                  <a:pt x="20232" y="19144"/>
                </a:cubicBezTo>
                <a:cubicBezTo>
                  <a:pt x="20233" y="19153"/>
                  <a:pt x="20235" y="19161"/>
                  <a:pt x="20236" y="19170"/>
                </a:cubicBezTo>
                <a:cubicBezTo>
                  <a:pt x="20240" y="19196"/>
                  <a:pt x="20243" y="19225"/>
                  <a:pt x="20254" y="19236"/>
                </a:cubicBezTo>
                <a:cubicBezTo>
                  <a:pt x="20256" y="19281"/>
                  <a:pt x="20280" y="19252"/>
                  <a:pt x="20284" y="19292"/>
                </a:cubicBezTo>
                <a:cubicBezTo>
                  <a:pt x="20281" y="19298"/>
                  <a:pt x="20279" y="19303"/>
                  <a:pt x="20276" y="19310"/>
                </a:cubicBezTo>
                <a:cubicBezTo>
                  <a:pt x="20276" y="19310"/>
                  <a:pt x="20276" y="19310"/>
                  <a:pt x="20276" y="19311"/>
                </a:cubicBezTo>
                <a:cubicBezTo>
                  <a:pt x="20291" y="19346"/>
                  <a:pt x="20313" y="19319"/>
                  <a:pt x="20333" y="19336"/>
                </a:cubicBezTo>
                <a:cubicBezTo>
                  <a:pt x="20345" y="19301"/>
                  <a:pt x="20353" y="19245"/>
                  <a:pt x="20384" y="19245"/>
                </a:cubicBezTo>
                <a:cubicBezTo>
                  <a:pt x="20384" y="19256"/>
                  <a:pt x="20384" y="19267"/>
                  <a:pt x="20385" y="19278"/>
                </a:cubicBezTo>
                <a:cubicBezTo>
                  <a:pt x="20388" y="19278"/>
                  <a:pt x="20391" y="19278"/>
                  <a:pt x="20394" y="19277"/>
                </a:cubicBezTo>
                <a:cubicBezTo>
                  <a:pt x="20394" y="19251"/>
                  <a:pt x="20393" y="19225"/>
                  <a:pt x="20393" y="19198"/>
                </a:cubicBezTo>
                <a:cubicBezTo>
                  <a:pt x="20396" y="19180"/>
                  <a:pt x="20408" y="19168"/>
                  <a:pt x="20404" y="19145"/>
                </a:cubicBezTo>
                <a:cubicBezTo>
                  <a:pt x="20417" y="19116"/>
                  <a:pt x="20425" y="19105"/>
                  <a:pt x="20428" y="19057"/>
                </a:cubicBezTo>
                <a:cubicBezTo>
                  <a:pt x="20428" y="19049"/>
                  <a:pt x="20428" y="19041"/>
                  <a:pt x="20428" y="19033"/>
                </a:cubicBezTo>
                <a:cubicBezTo>
                  <a:pt x="20427" y="19026"/>
                  <a:pt x="20423" y="19021"/>
                  <a:pt x="20422" y="19012"/>
                </a:cubicBezTo>
                <a:cubicBezTo>
                  <a:pt x="20420" y="19000"/>
                  <a:pt x="20421" y="18987"/>
                  <a:pt x="20422" y="18978"/>
                </a:cubicBezTo>
                <a:cubicBezTo>
                  <a:pt x="20423" y="18949"/>
                  <a:pt x="20416" y="18932"/>
                  <a:pt x="20407" y="18923"/>
                </a:cubicBezTo>
                <a:cubicBezTo>
                  <a:pt x="20404" y="18928"/>
                  <a:pt x="20404" y="18934"/>
                  <a:pt x="20399" y="18936"/>
                </a:cubicBezTo>
                <a:cubicBezTo>
                  <a:pt x="20396" y="18936"/>
                  <a:pt x="20392" y="18936"/>
                  <a:pt x="20389" y="18936"/>
                </a:cubicBezTo>
                <a:cubicBezTo>
                  <a:pt x="20389" y="18936"/>
                  <a:pt x="20390" y="18935"/>
                  <a:pt x="20390" y="18935"/>
                </a:cubicBezTo>
                <a:cubicBezTo>
                  <a:pt x="20389" y="18930"/>
                  <a:pt x="20368" y="18889"/>
                  <a:pt x="20365" y="18884"/>
                </a:cubicBezTo>
                <a:cubicBezTo>
                  <a:pt x="20367" y="18905"/>
                  <a:pt x="20370" y="18925"/>
                  <a:pt x="20372" y="18946"/>
                </a:cubicBezTo>
                <a:cubicBezTo>
                  <a:pt x="20372" y="18946"/>
                  <a:pt x="20372" y="18946"/>
                  <a:pt x="20372" y="18946"/>
                </a:cubicBezTo>
                <a:cubicBezTo>
                  <a:pt x="20365" y="18946"/>
                  <a:pt x="20360" y="18946"/>
                  <a:pt x="20353" y="18947"/>
                </a:cubicBezTo>
                <a:cubicBezTo>
                  <a:pt x="20337" y="18947"/>
                  <a:pt x="20325" y="18955"/>
                  <a:pt x="20319" y="18974"/>
                </a:cubicBezTo>
                <a:cubicBezTo>
                  <a:pt x="20297" y="18958"/>
                  <a:pt x="20277" y="18940"/>
                  <a:pt x="20258" y="18918"/>
                </a:cubicBezTo>
                <a:cubicBezTo>
                  <a:pt x="20251" y="18910"/>
                  <a:pt x="20244" y="18901"/>
                  <a:pt x="20237" y="18893"/>
                </a:cubicBezTo>
                <a:cubicBezTo>
                  <a:pt x="20227" y="18910"/>
                  <a:pt x="20221" y="18895"/>
                  <a:pt x="20212" y="18889"/>
                </a:cubicBezTo>
                <a:cubicBezTo>
                  <a:pt x="20211" y="18888"/>
                  <a:pt x="20210" y="18886"/>
                  <a:pt x="20209" y="18884"/>
                </a:cubicBezTo>
                <a:cubicBezTo>
                  <a:pt x="20209" y="18885"/>
                  <a:pt x="20208" y="18886"/>
                  <a:pt x="20208" y="18887"/>
                </a:cubicBezTo>
                <a:cubicBezTo>
                  <a:pt x="20207" y="18886"/>
                  <a:pt x="20206" y="18884"/>
                  <a:pt x="20204" y="1888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ïsḷîḓe">
            <a:extLst>
              <a:ext uri="{FF2B5EF4-FFF2-40B4-BE49-F238E27FC236}">
                <a16:creationId xmlns:a16="http://schemas.microsoft.com/office/drawing/2014/main" id="{0BA34E55-2D4E-4074-B127-0B46FA277086}"/>
              </a:ext>
            </a:extLst>
          </p:cNvPr>
          <p:cNvSpPr/>
          <p:nvPr/>
        </p:nvSpPr>
        <p:spPr bwMode="auto">
          <a:xfrm>
            <a:off x="6122893" y="1594512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75%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ïSlïḋè">
            <a:extLst>
              <a:ext uri="{FF2B5EF4-FFF2-40B4-BE49-F238E27FC236}">
                <a16:creationId xmlns:a16="http://schemas.microsoft.com/office/drawing/2014/main" id="{26E33B4E-042D-41CC-9492-0980FE831588}"/>
              </a:ext>
            </a:extLst>
          </p:cNvPr>
          <p:cNvSpPr/>
          <p:nvPr/>
        </p:nvSpPr>
        <p:spPr bwMode="auto">
          <a:xfrm>
            <a:off x="6777811" y="1588184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25%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ïṡḻíďè">
            <a:extLst>
              <a:ext uri="{FF2B5EF4-FFF2-40B4-BE49-F238E27FC236}">
                <a16:creationId xmlns:a16="http://schemas.microsoft.com/office/drawing/2014/main" id="{DD70FD6D-A7AB-4DA5-96BB-881ADA246E97}"/>
              </a:ext>
            </a:extLst>
          </p:cNvPr>
          <p:cNvSpPr/>
          <p:nvPr/>
        </p:nvSpPr>
        <p:spPr bwMode="auto">
          <a:xfrm>
            <a:off x="3014403" y="2353838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75%</a:t>
            </a:r>
          </a:p>
        </p:txBody>
      </p:sp>
      <p:sp>
        <p:nvSpPr>
          <p:cNvPr id="9" name="ïṡḷiḋe">
            <a:extLst>
              <a:ext uri="{FF2B5EF4-FFF2-40B4-BE49-F238E27FC236}">
                <a16:creationId xmlns:a16="http://schemas.microsoft.com/office/drawing/2014/main" id="{3B8845F3-4A24-41F1-882A-C2A6AD3623C3}"/>
              </a:ext>
            </a:extLst>
          </p:cNvPr>
          <p:cNvSpPr/>
          <p:nvPr/>
        </p:nvSpPr>
        <p:spPr bwMode="auto">
          <a:xfrm>
            <a:off x="3670113" y="2347510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25%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ïṥḻiḓè">
            <a:extLst>
              <a:ext uri="{FF2B5EF4-FFF2-40B4-BE49-F238E27FC236}">
                <a16:creationId xmlns:a16="http://schemas.microsoft.com/office/drawing/2014/main" id="{7C853BA8-834B-4C12-8C85-253518407B16}"/>
              </a:ext>
            </a:extLst>
          </p:cNvPr>
          <p:cNvSpPr/>
          <p:nvPr/>
        </p:nvSpPr>
        <p:spPr bwMode="auto">
          <a:xfrm>
            <a:off x="3670113" y="3695313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  <a:effectLst/>
        </p:spPr>
        <p:txBody>
          <a:bodyPr wrap="none" anchor="ctr"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cs typeface="+mn-ea"/>
                <a:sym typeface="+mn-lt"/>
              </a:rPr>
              <a:t>75%</a:t>
            </a:r>
            <a:endParaRPr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iṧḷíḓé">
            <a:extLst>
              <a:ext uri="{FF2B5EF4-FFF2-40B4-BE49-F238E27FC236}">
                <a16:creationId xmlns:a16="http://schemas.microsoft.com/office/drawing/2014/main" id="{21454AE0-F039-4F66-B46F-EE07419633BF}"/>
              </a:ext>
            </a:extLst>
          </p:cNvPr>
          <p:cNvSpPr/>
          <p:nvPr/>
        </p:nvSpPr>
        <p:spPr bwMode="auto">
          <a:xfrm>
            <a:off x="4325822" y="3688986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cs typeface="+mn-ea"/>
                <a:sym typeface="+mn-lt"/>
              </a:rPr>
              <a:t>25%</a:t>
            </a:r>
            <a:endParaRPr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išľïḍê">
            <a:extLst>
              <a:ext uri="{FF2B5EF4-FFF2-40B4-BE49-F238E27FC236}">
                <a16:creationId xmlns:a16="http://schemas.microsoft.com/office/drawing/2014/main" id="{245CC8A5-CBED-4204-8B63-78D92357ABAC}"/>
              </a:ext>
            </a:extLst>
          </p:cNvPr>
          <p:cNvSpPr/>
          <p:nvPr/>
        </p:nvSpPr>
        <p:spPr bwMode="auto">
          <a:xfrm>
            <a:off x="7775217" y="2347510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75%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i$líďé">
            <a:extLst>
              <a:ext uri="{FF2B5EF4-FFF2-40B4-BE49-F238E27FC236}">
                <a16:creationId xmlns:a16="http://schemas.microsoft.com/office/drawing/2014/main" id="{999EFA22-0958-4C6E-96B8-EF8B1CA40D60}"/>
              </a:ext>
            </a:extLst>
          </p:cNvPr>
          <p:cNvSpPr/>
          <p:nvPr/>
        </p:nvSpPr>
        <p:spPr bwMode="auto">
          <a:xfrm>
            <a:off x="8430926" y="2341182"/>
            <a:ext cx="746670" cy="746670"/>
          </a:xfrm>
          <a:custGeom>
            <a:avLst/>
            <a:gdLst>
              <a:gd name="T0" fmla="*/ 749262 w 19679"/>
              <a:gd name="T1" fmla="*/ 822444 h 19679"/>
              <a:gd name="T2" fmla="*/ 749262 w 19679"/>
              <a:gd name="T3" fmla="*/ 822444 h 19679"/>
              <a:gd name="T4" fmla="*/ 749262 w 19679"/>
              <a:gd name="T5" fmla="*/ 822444 h 19679"/>
              <a:gd name="T6" fmla="*/ 749262 w 19679"/>
              <a:gd name="T7" fmla="*/ 822444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accent1">
              <a:alpha val="7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anchor="ctr">
            <a:normAutofit/>
          </a:bodyPr>
          <a:lstStyle/>
          <a:p>
            <a:pPr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25%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íṡļiḓè">
            <a:extLst>
              <a:ext uri="{FF2B5EF4-FFF2-40B4-BE49-F238E27FC236}">
                <a16:creationId xmlns:a16="http://schemas.microsoft.com/office/drawing/2014/main" id="{9E5B8E2F-CA24-463B-BF03-F4DB3FEDA9F6}"/>
              </a:ext>
            </a:extLst>
          </p:cNvPr>
          <p:cNvSpPr/>
          <p:nvPr/>
        </p:nvSpPr>
        <p:spPr bwMode="auto">
          <a:xfrm>
            <a:off x="3283976" y="3095022"/>
            <a:ext cx="938375" cy="30995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norm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îŝḻïďè">
            <a:extLst>
              <a:ext uri="{FF2B5EF4-FFF2-40B4-BE49-F238E27FC236}">
                <a16:creationId xmlns:a16="http://schemas.microsoft.com/office/drawing/2014/main" id="{EF82C9C1-43FC-48FE-BBDC-8D2D2E5FCA01}"/>
              </a:ext>
            </a:extLst>
          </p:cNvPr>
          <p:cNvSpPr/>
          <p:nvPr/>
        </p:nvSpPr>
        <p:spPr bwMode="auto">
          <a:xfrm>
            <a:off x="3871663" y="4436497"/>
            <a:ext cx="938375" cy="30995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norm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íṧľïḓè">
            <a:extLst>
              <a:ext uri="{FF2B5EF4-FFF2-40B4-BE49-F238E27FC236}">
                <a16:creationId xmlns:a16="http://schemas.microsoft.com/office/drawing/2014/main" id="{811FB1DF-5752-43CF-AE0A-8CE8C8EE2D46}"/>
              </a:ext>
            </a:extLst>
          </p:cNvPr>
          <p:cNvSpPr/>
          <p:nvPr/>
        </p:nvSpPr>
        <p:spPr bwMode="auto">
          <a:xfrm>
            <a:off x="6354500" y="2348352"/>
            <a:ext cx="938375" cy="30995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norm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îṡḷíḋe">
            <a:extLst>
              <a:ext uri="{FF2B5EF4-FFF2-40B4-BE49-F238E27FC236}">
                <a16:creationId xmlns:a16="http://schemas.microsoft.com/office/drawing/2014/main" id="{03500F8B-09E7-4145-BA3F-7EA0A930B8F4}"/>
              </a:ext>
            </a:extLst>
          </p:cNvPr>
          <p:cNvSpPr/>
          <p:nvPr/>
        </p:nvSpPr>
        <p:spPr bwMode="auto">
          <a:xfrm>
            <a:off x="7955411" y="3107677"/>
            <a:ext cx="938375" cy="30995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normAutofit/>
          </a:bodyPr>
          <a:lstStyle/>
          <a:p>
            <a:pPr algn="ctr">
              <a:defRPr/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iSḻïďe">
            <a:extLst>
              <a:ext uri="{FF2B5EF4-FFF2-40B4-BE49-F238E27FC236}">
                <a16:creationId xmlns:a16="http://schemas.microsoft.com/office/drawing/2014/main" id="{35B6B163-805B-494D-9F8F-81BE08C36B90}"/>
              </a:ext>
            </a:extLst>
          </p:cNvPr>
          <p:cNvSpPr/>
          <p:nvPr/>
        </p:nvSpPr>
        <p:spPr bwMode="auto">
          <a:xfrm>
            <a:off x="1154308" y="548161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ïṡļiḑè">
            <a:extLst>
              <a:ext uri="{FF2B5EF4-FFF2-40B4-BE49-F238E27FC236}">
                <a16:creationId xmlns:a16="http://schemas.microsoft.com/office/drawing/2014/main" id="{B2A8EEFD-CEDC-4F08-A3F8-91DCBDC0202F}"/>
              </a:ext>
            </a:extLst>
          </p:cNvPr>
          <p:cNvSpPr txBox="1"/>
          <p:nvPr/>
        </p:nvSpPr>
        <p:spPr bwMode="auto">
          <a:xfrm>
            <a:off x="1154308" y="5094020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ï$ḻíďe">
            <a:extLst>
              <a:ext uri="{FF2B5EF4-FFF2-40B4-BE49-F238E27FC236}">
                <a16:creationId xmlns:a16="http://schemas.microsoft.com/office/drawing/2014/main" id="{B3CF7E16-AB25-4C5D-A423-1C26A3B8816D}"/>
              </a:ext>
            </a:extLst>
          </p:cNvPr>
          <p:cNvSpPr/>
          <p:nvPr/>
        </p:nvSpPr>
        <p:spPr bwMode="auto">
          <a:xfrm>
            <a:off x="3746081" y="548161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îṡ1iḑé">
            <a:extLst>
              <a:ext uri="{FF2B5EF4-FFF2-40B4-BE49-F238E27FC236}">
                <a16:creationId xmlns:a16="http://schemas.microsoft.com/office/drawing/2014/main" id="{C1861CCB-BB4E-4132-BF11-4D4DDCF92401}"/>
              </a:ext>
            </a:extLst>
          </p:cNvPr>
          <p:cNvSpPr txBox="1"/>
          <p:nvPr/>
        </p:nvSpPr>
        <p:spPr bwMode="auto">
          <a:xfrm>
            <a:off x="3746081" y="5094020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" name="í$ľîḓé">
            <a:extLst>
              <a:ext uri="{FF2B5EF4-FFF2-40B4-BE49-F238E27FC236}">
                <a16:creationId xmlns:a16="http://schemas.microsoft.com/office/drawing/2014/main" id="{A381A96E-33F2-49E7-B472-6790F42324A4}"/>
              </a:ext>
            </a:extLst>
          </p:cNvPr>
          <p:cNvSpPr/>
          <p:nvPr/>
        </p:nvSpPr>
        <p:spPr bwMode="auto">
          <a:xfrm>
            <a:off x="6337854" y="548161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ïş1ídé">
            <a:extLst>
              <a:ext uri="{FF2B5EF4-FFF2-40B4-BE49-F238E27FC236}">
                <a16:creationId xmlns:a16="http://schemas.microsoft.com/office/drawing/2014/main" id="{BD8C7928-5CD5-4EBD-8C45-C277A0DBCA9C}"/>
              </a:ext>
            </a:extLst>
          </p:cNvPr>
          <p:cNvSpPr txBox="1"/>
          <p:nvPr/>
        </p:nvSpPr>
        <p:spPr bwMode="auto">
          <a:xfrm>
            <a:off x="6337854" y="5094020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íṣḷïďè">
            <a:extLst>
              <a:ext uri="{FF2B5EF4-FFF2-40B4-BE49-F238E27FC236}">
                <a16:creationId xmlns:a16="http://schemas.microsoft.com/office/drawing/2014/main" id="{0D9319A5-739B-4AE4-9CDD-0E6293039C5E}"/>
              </a:ext>
            </a:extLst>
          </p:cNvPr>
          <p:cNvSpPr/>
          <p:nvPr/>
        </p:nvSpPr>
        <p:spPr bwMode="auto">
          <a:xfrm>
            <a:off x="8929628" y="548161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fontScale="8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îS1iḋé">
            <a:extLst>
              <a:ext uri="{FF2B5EF4-FFF2-40B4-BE49-F238E27FC236}">
                <a16:creationId xmlns:a16="http://schemas.microsoft.com/office/drawing/2014/main" id="{9CB00A7E-77AA-4318-851C-A556C4704502}"/>
              </a:ext>
            </a:extLst>
          </p:cNvPr>
          <p:cNvSpPr txBox="1"/>
          <p:nvPr/>
        </p:nvSpPr>
        <p:spPr bwMode="auto">
          <a:xfrm>
            <a:off x="8929628" y="5094020"/>
            <a:ext cx="210806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sz="18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8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463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750"/>
                            </p:stCondLst>
                            <p:childTnLst>
                              <p:par>
                                <p:cTn id="3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4250"/>
                            </p:stCondLst>
                            <p:childTnLst>
                              <p:par>
                                <p:cTn id="3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75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250"/>
                            </p:stCondLst>
                            <p:childTnLst>
                              <p:par>
                                <p:cTn id="5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750"/>
                            </p:stCondLst>
                            <p:childTnLst>
                              <p:par>
                                <p:cTn id="5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6250"/>
                            </p:stCondLst>
                            <p:childTnLst>
                              <p:par>
                                <p:cTn id="6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6750"/>
                            </p:stCondLst>
                            <p:childTnLst>
                              <p:par>
                                <p:cTn id="6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7250"/>
                            </p:stCondLst>
                            <p:childTnLst>
                              <p:par>
                                <p:cTn id="7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7750"/>
                            </p:stCondLst>
                            <p:childTnLst>
                              <p:par>
                                <p:cTn id="8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8250"/>
                            </p:stCondLst>
                            <p:childTnLst>
                              <p:par>
                                <p:cTn id="8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8750"/>
                            </p:stCondLst>
                            <p:childTnLst>
                              <p:par>
                                <p:cTn id="92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9500"/>
                            </p:stCondLst>
                            <p:childTnLst>
                              <p:par>
                                <p:cTn id="9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99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10250"/>
                            </p:stCondLst>
                            <p:childTnLst>
                              <p:par>
                                <p:cTn id="10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11000"/>
                            </p:stCondLst>
                            <p:childTnLst>
                              <p:par>
                                <p:cTn id="10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8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11750"/>
                            </p:stCondLst>
                            <p:childTnLst>
                              <p:par>
                                <p:cTn id="11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3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12500"/>
                            </p:stCondLst>
                            <p:childTnLst>
                              <p:par>
                                <p:cTn id="11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>
                            <p:stCondLst>
                              <p:cond delay="13250"/>
                            </p:stCondLst>
                            <p:childTnLst>
                              <p:par>
                                <p:cTn id="119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14000"/>
                            </p:stCondLst>
                            <p:childTnLst>
                              <p:par>
                                <p:cTn id="12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26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  <p:bldP spid="13" grpId="0" animBg="1"/>
      <p:bldP spid="14" grpId="0"/>
      <p:bldP spid="15" grpId="0"/>
      <p:bldP spid="16" grpId="0"/>
      <p:bldP spid="17" grpId="0"/>
      <p:bldP spid="18" grpId="0"/>
      <p:bldP spid="19" grpId="0"/>
      <p:bldP spid="20" grpId="0"/>
      <p:bldP spid="21" grpId="0"/>
      <p:bldP spid="22" grpId="0"/>
      <p:bldP spid="23" grpId="0"/>
      <p:bldP spid="24" grpId="0"/>
      <p:bldP spid="25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29908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Main busines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2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1151BE2B-B464-46A4-8785-DC02E521DA2A}"/>
              </a:ext>
            </a:extLst>
          </p:cNvPr>
          <p:cNvGrpSpPr/>
          <p:nvPr/>
        </p:nvGrpSpPr>
        <p:grpSpPr>
          <a:xfrm>
            <a:off x="2538471" y="2628900"/>
            <a:ext cx="7115059" cy="4249878"/>
            <a:chOff x="2538471" y="2628900"/>
            <a:chExt cx="7115059" cy="4249878"/>
          </a:xfrm>
        </p:grpSpPr>
        <p:sp>
          <p:nvSpPr>
            <p:cNvPr id="40" name="ï$ḻïḋê">
              <a:extLst>
                <a:ext uri="{FF2B5EF4-FFF2-40B4-BE49-F238E27FC236}">
                  <a16:creationId xmlns:a16="http://schemas.microsoft.com/office/drawing/2014/main" id="{BB9AC837-48CF-4DBE-A3AA-8F855201A2A1}"/>
                </a:ext>
              </a:extLst>
            </p:cNvPr>
            <p:cNvSpPr/>
            <p:nvPr/>
          </p:nvSpPr>
          <p:spPr bwMode="auto">
            <a:xfrm flipH="1">
              <a:off x="2538471" y="2628900"/>
              <a:ext cx="7115059" cy="4249878"/>
            </a:xfrm>
            <a:custGeom>
              <a:avLst/>
              <a:gdLst>
                <a:gd name="connsiteX0" fmla="*/ 2861657 w 7746527"/>
                <a:gd name="connsiteY0" fmla="*/ 165 h 4627058"/>
                <a:gd name="connsiteX1" fmla="*/ 3296422 w 7746527"/>
                <a:gd name="connsiteY1" fmla="*/ 122899 h 4627058"/>
                <a:gd name="connsiteX2" fmla="*/ 3526051 w 7746527"/>
                <a:gd name="connsiteY2" fmla="*/ 1193759 h 4627058"/>
                <a:gd name="connsiteX3" fmla="*/ 3311730 w 7746527"/>
                <a:gd name="connsiteY3" fmla="*/ 1414682 h 4627058"/>
                <a:gd name="connsiteX4" fmla="*/ 3250496 w 7746527"/>
                <a:gd name="connsiteY4" fmla="*/ 1445365 h 4627058"/>
                <a:gd name="connsiteX5" fmla="*/ 3229064 w 7746527"/>
                <a:gd name="connsiteY5" fmla="*/ 1469912 h 4627058"/>
                <a:gd name="connsiteX6" fmla="*/ 3137212 w 7746527"/>
                <a:gd name="connsiteY6" fmla="*/ 1773681 h 4627058"/>
                <a:gd name="connsiteX7" fmla="*/ 3274989 w 7746527"/>
                <a:gd name="connsiteY7" fmla="*/ 2055970 h 4627058"/>
                <a:gd name="connsiteX8" fmla="*/ 3339286 w 7746527"/>
                <a:gd name="connsiteY8" fmla="*/ 2105064 h 4627058"/>
                <a:gd name="connsiteX9" fmla="*/ 3409705 w 7746527"/>
                <a:gd name="connsiteY9" fmla="*/ 2111201 h 4627058"/>
                <a:gd name="connsiteX10" fmla="*/ 3694446 w 7746527"/>
                <a:gd name="connsiteY10" fmla="*/ 2221662 h 4627058"/>
                <a:gd name="connsiteX11" fmla="*/ 3749557 w 7746527"/>
                <a:gd name="connsiteY11" fmla="*/ 2267688 h 4627058"/>
                <a:gd name="connsiteX12" fmla="*/ 3780174 w 7746527"/>
                <a:gd name="connsiteY12" fmla="*/ 2270756 h 4627058"/>
                <a:gd name="connsiteX13" fmla="*/ 4009803 w 7746527"/>
                <a:gd name="connsiteY13" fmla="*/ 2209389 h 4627058"/>
                <a:gd name="connsiteX14" fmla="*/ 4218001 w 7746527"/>
                <a:gd name="connsiteY14" fmla="*/ 1841185 h 4627058"/>
                <a:gd name="connsiteX15" fmla="*/ 4218001 w 7746527"/>
                <a:gd name="connsiteY15" fmla="*/ 1807433 h 4627058"/>
                <a:gd name="connsiteX16" fmla="*/ 4211877 w 7746527"/>
                <a:gd name="connsiteY16" fmla="*/ 1792091 h 4627058"/>
                <a:gd name="connsiteX17" fmla="*/ 4199631 w 7746527"/>
                <a:gd name="connsiteY17" fmla="*/ 1727655 h 4627058"/>
                <a:gd name="connsiteX18" fmla="*/ 4184322 w 7746527"/>
                <a:gd name="connsiteY18" fmla="*/ 1666288 h 4627058"/>
                <a:gd name="connsiteX19" fmla="*/ 4257803 w 7746527"/>
                <a:gd name="connsiteY19" fmla="*/ 1221375 h 4627058"/>
                <a:gd name="connsiteX20" fmla="*/ 5286543 w 7746527"/>
                <a:gd name="connsiteY20" fmla="*/ 865444 h 4627058"/>
                <a:gd name="connsiteX21" fmla="*/ 5528419 w 7746527"/>
                <a:gd name="connsiteY21" fmla="*/ 1052614 h 4627058"/>
                <a:gd name="connsiteX22" fmla="*/ 5598839 w 7746527"/>
                <a:gd name="connsiteY22" fmla="*/ 1150802 h 4627058"/>
                <a:gd name="connsiteX23" fmla="*/ 5635579 w 7746527"/>
                <a:gd name="connsiteY23" fmla="*/ 1169212 h 4627058"/>
                <a:gd name="connsiteX24" fmla="*/ 5871332 w 7746527"/>
                <a:gd name="connsiteY24" fmla="*/ 1190691 h 4627058"/>
                <a:gd name="connsiteX25" fmla="*/ 6195875 w 7746527"/>
                <a:gd name="connsiteY25" fmla="*/ 920675 h 4627058"/>
                <a:gd name="connsiteX26" fmla="*/ 6208122 w 7746527"/>
                <a:gd name="connsiteY26" fmla="*/ 889991 h 4627058"/>
                <a:gd name="connsiteX27" fmla="*/ 6208122 w 7746527"/>
                <a:gd name="connsiteY27" fmla="*/ 874649 h 4627058"/>
                <a:gd name="connsiteX28" fmla="*/ 6284665 w 7746527"/>
                <a:gd name="connsiteY28" fmla="*/ 577018 h 4627058"/>
                <a:gd name="connsiteX29" fmla="*/ 7019479 w 7746527"/>
                <a:gd name="connsiteY29" fmla="*/ 144378 h 4627058"/>
                <a:gd name="connsiteX30" fmla="*/ 7313405 w 7746527"/>
                <a:gd name="connsiteY30" fmla="*/ 221087 h 4627058"/>
                <a:gd name="connsiteX31" fmla="*/ 7383825 w 7746527"/>
                <a:gd name="connsiteY31" fmla="*/ 260976 h 4627058"/>
                <a:gd name="connsiteX32" fmla="*/ 7668565 w 7746527"/>
                <a:gd name="connsiteY32" fmla="*/ 1255127 h 4627058"/>
                <a:gd name="connsiteX33" fmla="*/ 6636763 w 7746527"/>
                <a:gd name="connsiteY33" fmla="*/ 1611057 h 4627058"/>
                <a:gd name="connsiteX34" fmla="*/ 6394887 w 7746527"/>
                <a:gd name="connsiteY34" fmla="*/ 1423887 h 4627058"/>
                <a:gd name="connsiteX35" fmla="*/ 6355085 w 7746527"/>
                <a:gd name="connsiteY35" fmla="*/ 1368656 h 4627058"/>
                <a:gd name="connsiteX36" fmla="*/ 6327529 w 7746527"/>
                <a:gd name="connsiteY36" fmla="*/ 1347178 h 4627058"/>
                <a:gd name="connsiteX37" fmla="*/ 6018295 w 7746527"/>
                <a:gd name="connsiteY37" fmla="*/ 1288879 h 4627058"/>
                <a:gd name="connsiteX38" fmla="*/ 5754987 w 7746527"/>
                <a:gd name="connsiteY38" fmla="*/ 1463776 h 4627058"/>
                <a:gd name="connsiteX39" fmla="*/ 5715184 w 7746527"/>
                <a:gd name="connsiteY39" fmla="*/ 1531280 h 4627058"/>
                <a:gd name="connsiteX40" fmla="*/ 5718246 w 7746527"/>
                <a:gd name="connsiteY40" fmla="*/ 1604920 h 4627058"/>
                <a:gd name="connsiteX41" fmla="*/ 5638641 w 7746527"/>
                <a:gd name="connsiteY41" fmla="*/ 1899484 h 4627058"/>
                <a:gd name="connsiteX42" fmla="*/ 5617209 w 7746527"/>
                <a:gd name="connsiteY42" fmla="*/ 1936304 h 4627058"/>
                <a:gd name="connsiteX43" fmla="*/ 5620271 w 7746527"/>
                <a:gd name="connsiteY43" fmla="*/ 2006876 h 4627058"/>
                <a:gd name="connsiteX44" fmla="*/ 5712123 w 7746527"/>
                <a:gd name="connsiteY44" fmla="*/ 2224730 h 4627058"/>
                <a:gd name="connsiteX45" fmla="*/ 5987677 w 7746527"/>
                <a:gd name="connsiteY45" fmla="*/ 2378149 h 4627058"/>
                <a:gd name="connsiteX46" fmla="*/ 6067283 w 7746527"/>
                <a:gd name="connsiteY46" fmla="*/ 2381217 h 4627058"/>
                <a:gd name="connsiteX47" fmla="*/ 6128517 w 7746527"/>
                <a:gd name="connsiteY47" fmla="*/ 2344397 h 4627058"/>
                <a:gd name="connsiteX48" fmla="*/ 6425505 w 7746527"/>
                <a:gd name="connsiteY48" fmla="*/ 2273824 h 4627058"/>
                <a:gd name="connsiteX49" fmla="*/ 6860269 w 7746527"/>
                <a:gd name="connsiteY49" fmla="*/ 2390422 h 4627058"/>
                <a:gd name="connsiteX50" fmla="*/ 7221553 w 7746527"/>
                <a:gd name="connsiteY50" fmla="*/ 3019437 h 4627058"/>
                <a:gd name="connsiteX51" fmla="*/ 6777603 w 7746527"/>
                <a:gd name="connsiteY51" fmla="*/ 3749709 h 4627058"/>
                <a:gd name="connsiteX52" fmla="*/ 6664319 w 7746527"/>
                <a:gd name="connsiteY52" fmla="*/ 3786529 h 4627058"/>
                <a:gd name="connsiteX53" fmla="*/ 6612269 w 7746527"/>
                <a:gd name="connsiteY53" fmla="*/ 3844828 h 4627058"/>
                <a:gd name="connsiteX54" fmla="*/ 6523479 w 7746527"/>
                <a:gd name="connsiteY54" fmla="*/ 4065751 h 4627058"/>
                <a:gd name="connsiteX55" fmla="*/ 6520418 w 7746527"/>
                <a:gd name="connsiteY55" fmla="*/ 4120981 h 4627058"/>
                <a:gd name="connsiteX56" fmla="*/ 6520418 w 7746527"/>
                <a:gd name="connsiteY56" fmla="*/ 4305083 h 4627058"/>
                <a:gd name="connsiteX57" fmla="*/ 6519010 w 7746527"/>
                <a:gd name="connsiteY57" fmla="*/ 4305083 h 4627058"/>
                <a:gd name="connsiteX58" fmla="*/ 6519010 w 7746527"/>
                <a:gd name="connsiteY58" fmla="*/ 4627058 h 4627058"/>
                <a:gd name="connsiteX59" fmla="*/ 6385810 w 7746527"/>
                <a:gd name="connsiteY59" fmla="*/ 4627058 h 4627058"/>
                <a:gd name="connsiteX60" fmla="*/ 6385810 w 7746527"/>
                <a:gd name="connsiteY60" fmla="*/ 4102693 h 4627058"/>
                <a:gd name="connsiteX61" fmla="*/ 6374124 w 7746527"/>
                <a:gd name="connsiteY61" fmla="*/ 4030320 h 4627058"/>
                <a:gd name="connsiteX62" fmla="*/ 6223431 w 7746527"/>
                <a:gd name="connsiteY62" fmla="*/ 3786529 h 4627058"/>
                <a:gd name="connsiteX63" fmla="*/ 6211183 w 7746527"/>
                <a:gd name="connsiteY63" fmla="*/ 3777324 h 4627058"/>
                <a:gd name="connsiteX64" fmla="*/ 6177505 w 7746527"/>
                <a:gd name="connsiteY64" fmla="*/ 3768119 h 4627058"/>
                <a:gd name="connsiteX65" fmla="*/ 5684567 w 7746527"/>
                <a:gd name="connsiteY65" fmla="*/ 3074668 h 4627058"/>
                <a:gd name="connsiteX66" fmla="*/ 5733555 w 7746527"/>
                <a:gd name="connsiteY66" fmla="*/ 2770900 h 4627058"/>
                <a:gd name="connsiteX67" fmla="*/ 5785604 w 7746527"/>
                <a:gd name="connsiteY67" fmla="*/ 2663507 h 4627058"/>
                <a:gd name="connsiteX68" fmla="*/ 5785604 w 7746527"/>
                <a:gd name="connsiteY68" fmla="*/ 2620550 h 4627058"/>
                <a:gd name="connsiteX69" fmla="*/ 5693752 w 7746527"/>
                <a:gd name="connsiteY69" fmla="*/ 2402696 h 4627058"/>
                <a:gd name="connsiteX70" fmla="*/ 5418197 w 7746527"/>
                <a:gd name="connsiteY70" fmla="*/ 2249277 h 4627058"/>
                <a:gd name="connsiteX71" fmla="*/ 5307975 w 7746527"/>
                <a:gd name="connsiteY71" fmla="*/ 2243141 h 4627058"/>
                <a:gd name="connsiteX72" fmla="*/ 5197753 w 7746527"/>
                <a:gd name="connsiteY72" fmla="*/ 2292235 h 4627058"/>
                <a:gd name="connsiteX73" fmla="*/ 4609902 w 7746527"/>
                <a:gd name="connsiteY73" fmla="*/ 2255414 h 4627058"/>
                <a:gd name="connsiteX74" fmla="*/ 4606840 w 7746527"/>
                <a:gd name="connsiteY74" fmla="*/ 2252346 h 4627058"/>
                <a:gd name="connsiteX75" fmla="*/ 4579284 w 7746527"/>
                <a:gd name="connsiteY75" fmla="*/ 2243141 h 4627058"/>
                <a:gd name="connsiteX76" fmla="*/ 4524173 w 7746527"/>
                <a:gd name="connsiteY76" fmla="*/ 2203252 h 4627058"/>
                <a:gd name="connsiteX77" fmla="*/ 4490494 w 7746527"/>
                <a:gd name="connsiteY77" fmla="*/ 2194047 h 4627058"/>
                <a:gd name="connsiteX78" fmla="*/ 4181260 w 7746527"/>
                <a:gd name="connsiteY78" fmla="*/ 2249277 h 4627058"/>
                <a:gd name="connsiteX79" fmla="*/ 3994495 w 7746527"/>
                <a:gd name="connsiteY79" fmla="*/ 2503952 h 4627058"/>
                <a:gd name="connsiteX80" fmla="*/ 3982248 w 7746527"/>
                <a:gd name="connsiteY80" fmla="*/ 2562251 h 4627058"/>
                <a:gd name="connsiteX81" fmla="*/ 3985310 w 7746527"/>
                <a:gd name="connsiteY81" fmla="*/ 2568388 h 4627058"/>
                <a:gd name="connsiteX82" fmla="*/ 3927137 w 7746527"/>
                <a:gd name="connsiteY82" fmla="*/ 3292522 h 4627058"/>
                <a:gd name="connsiteX83" fmla="*/ 2861657 w 7746527"/>
                <a:gd name="connsiteY83" fmla="*/ 3522650 h 4627058"/>
                <a:gd name="connsiteX84" fmla="*/ 2632027 w 7746527"/>
                <a:gd name="connsiteY84" fmla="*/ 2454858 h 4627058"/>
                <a:gd name="connsiteX85" fmla="*/ 2843286 w 7746527"/>
                <a:gd name="connsiteY85" fmla="*/ 2233936 h 4627058"/>
                <a:gd name="connsiteX86" fmla="*/ 2947385 w 7746527"/>
                <a:gd name="connsiteY86" fmla="*/ 2175637 h 4627058"/>
                <a:gd name="connsiteX87" fmla="*/ 2971879 w 7746527"/>
                <a:gd name="connsiteY87" fmla="*/ 2138816 h 4627058"/>
                <a:gd name="connsiteX88" fmla="*/ 3020866 w 7746527"/>
                <a:gd name="connsiteY88" fmla="*/ 1908689 h 4627058"/>
                <a:gd name="connsiteX89" fmla="*/ 2791237 w 7746527"/>
                <a:gd name="connsiteY89" fmla="*/ 1552758 h 4627058"/>
                <a:gd name="connsiteX90" fmla="*/ 2760620 w 7746527"/>
                <a:gd name="connsiteY90" fmla="*/ 1537416 h 4627058"/>
                <a:gd name="connsiteX91" fmla="*/ 2745311 w 7746527"/>
                <a:gd name="connsiteY91" fmla="*/ 1537416 h 4627058"/>
                <a:gd name="connsiteX92" fmla="*/ 2460571 w 7746527"/>
                <a:gd name="connsiteY92" fmla="*/ 1423887 h 4627058"/>
                <a:gd name="connsiteX93" fmla="*/ 2169707 w 7746527"/>
                <a:gd name="connsiteY93" fmla="*/ 1080230 h 4627058"/>
                <a:gd name="connsiteX94" fmla="*/ 2136028 w 7746527"/>
                <a:gd name="connsiteY94" fmla="*/ 972837 h 4627058"/>
                <a:gd name="connsiteX95" fmla="*/ 2093164 w 7746527"/>
                <a:gd name="connsiteY95" fmla="*/ 929880 h 4627058"/>
                <a:gd name="connsiteX96" fmla="*/ 1872719 w 7746527"/>
                <a:gd name="connsiteY96" fmla="*/ 840897 h 4627058"/>
                <a:gd name="connsiteX97" fmla="*/ 1572670 w 7746527"/>
                <a:gd name="connsiteY97" fmla="*/ 929880 h 4627058"/>
                <a:gd name="connsiteX98" fmla="*/ 1511436 w 7746527"/>
                <a:gd name="connsiteY98" fmla="*/ 982042 h 4627058"/>
                <a:gd name="connsiteX99" fmla="*/ 1493066 w 7746527"/>
                <a:gd name="connsiteY99" fmla="*/ 1052614 h 4627058"/>
                <a:gd name="connsiteX100" fmla="*/ 1333856 w 7746527"/>
                <a:gd name="connsiteY100" fmla="*/ 1313426 h 4627058"/>
                <a:gd name="connsiteX101" fmla="*/ 243882 w 7746527"/>
                <a:gd name="connsiteY101" fmla="*/ 1350246 h 4627058"/>
                <a:gd name="connsiteX102" fmla="*/ 207141 w 7746527"/>
                <a:gd name="connsiteY102" fmla="*/ 257907 h 4627058"/>
                <a:gd name="connsiteX103" fmla="*/ 1294053 w 7746527"/>
                <a:gd name="connsiteY103" fmla="*/ 221087 h 4627058"/>
                <a:gd name="connsiteX104" fmla="*/ 1471633 w 7746527"/>
                <a:gd name="connsiteY104" fmla="*/ 469625 h 4627058"/>
                <a:gd name="connsiteX105" fmla="*/ 1511436 w 7746527"/>
                <a:gd name="connsiteY105" fmla="*/ 583154 h 4627058"/>
                <a:gd name="connsiteX106" fmla="*/ 1542053 w 7746527"/>
                <a:gd name="connsiteY106" fmla="*/ 613838 h 4627058"/>
                <a:gd name="connsiteX107" fmla="*/ 1762497 w 7746527"/>
                <a:gd name="connsiteY107" fmla="*/ 702821 h 4627058"/>
                <a:gd name="connsiteX108" fmla="*/ 2062546 w 7746527"/>
                <a:gd name="connsiteY108" fmla="*/ 616906 h 4627058"/>
                <a:gd name="connsiteX109" fmla="*/ 2148275 w 7746527"/>
                <a:gd name="connsiteY109" fmla="*/ 540197 h 4627058"/>
                <a:gd name="connsiteX110" fmla="*/ 2160522 w 7746527"/>
                <a:gd name="connsiteY110" fmla="*/ 494172 h 4627058"/>
                <a:gd name="connsiteX111" fmla="*/ 2230941 w 7746527"/>
                <a:gd name="connsiteY111" fmla="*/ 356095 h 4627058"/>
                <a:gd name="connsiteX112" fmla="*/ 2861657 w 7746527"/>
                <a:gd name="connsiteY112" fmla="*/ 165 h 46270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</a:cxnLst>
              <a:rect l="l" t="t" r="r" b="b"/>
              <a:pathLst>
                <a:path w="7746527" h="4627058">
                  <a:moveTo>
                    <a:pt x="2861657" y="165"/>
                  </a:moveTo>
                  <a:cubicBezTo>
                    <a:pt x="3011681" y="-2904"/>
                    <a:pt x="3161706" y="36985"/>
                    <a:pt x="3296422" y="122899"/>
                  </a:cubicBezTo>
                  <a:cubicBezTo>
                    <a:pt x="3651582" y="356095"/>
                    <a:pt x="3755680" y="834760"/>
                    <a:pt x="3526051" y="1193759"/>
                  </a:cubicBezTo>
                  <a:cubicBezTo>
                    <a:pt x="3467878" y="1282742"/>
                    <a:pt x="3394397" y="1356383"/>
                    <a:pt x="3311730" y="1414682"/>
                  </a:cubicBezTo>
                  <a:cubicBezTo>
                    <a:pt x="3311730" y="1414682"/>
                    <a:pt x="3311730" y="1414682"/>
                    <a:pt x="3250496" y="1445365"/>
                  </a:cubicBezTo>
                  <a:cubicBezTo>
                    <a:pt x="3250496" y="1445365"/>
                    <a:pt x="3250496" y="1445365"/>
                    <a:pt x="3229064" y="1469912"/>
                  </a:cubicBezTo>
                  <a:cubicBezTo>
                    <a:pt x="3161706" y="1558895"/>
                    <a:pt x="3128027" y="1663219"/>
                    <a:pt x="3137212" y="1773681"/>
                  </a:cubicBezTo>
                  <a:cubicBezTo>
                    <a:pt x="3146397" y="1881073"/>
                    <a:pt x="3195385" y="1979261"/>
                    <a:pt x="3274989" y="2055970"/>
                  </a:cubicBezTo>
                  <a:cubicBezTo>
                    <a:pt x="3274989" y="2055970"/>
                    <a:pt x="3274989" y="2055970"/>
                    <a:pt x="3339286" y="2105064"/>
                  </a:cubicBezTo>
                  <a:cubicBezTo>
                    <a:pt x="3339286" y="2105064"/>
                    <a:pt x="3339286" y="2105064"/>
                    <a:pt x="3409705" y="2111201"/>
                  </a:cubicBezTo>
                  <a:cubicBezTo>
                    <a:pt x="3510742" y="2129611"/>
                    <a:pt x="3605656" y="2166431"/>
                    <a:pt x="3694446" y="2221662"/>
                  </a:cubicBezTo>
                  <a:cubicBezTo>
                    <a:pt x="3694446" y="2221662"/>
                    <a:pt x="3694446" y="2221662"/>
                    <a:pt x="3749557" y="2267688"/>
                  </a:cubicBezTo>
                  <a:cubicBezTo>
                    <a:pt x="3749557" y="2267688"/>
                    <a:pt x="3749557" y="2267688"/>
                    <a:pt x="3780174" y="2270756"/>
                  </a:cubicBezTo>
                  <a:cubicBezTo>
                    <a:pt x="3862841" y="2270756"/>
                    <a:pt x="3939384" y="2249277"/>
                    <a:pt x="4009803" y="2209389"/>
                  </a:cubicBezTo>
                  <a:cubicBezTo>
                    <a:pt x="4132273" y="2132679"/>
                    <a:pt x="4202692" y="1997671"/>
                    <a:pt x="4218001" y="1841185"/>
                  </a:cubicBezTo>
                  <a:cubicBezTo>
                    <a:pt x="4218001" y="1841185"/>
                    <a:pt x="4218001" y="1841185"/>
                    <a:pt x="4218001" y="1807433"/>
                  </a:cubicBezTo>
                  <a:cubicBezTo>
                    <a:pt x="4218001" y="1807433"/>
                    <a:pt x="4218001" y="1807433"/>
                    <a:pt x="4211877" y="1792091"/>
                  </a:cubicBezTo>
                  <a:cubicBezTo>
                    <a:pt x="4211877" y="1792091"/>
                    <a:pt x="4211877" y="1792091"/>
                    <a:pt x="4199631" y="1727655"/>
                  </a:cubicBezTo>
                  <a:cubicBezTo>
                    <a:pt x="4199631" y="1727655"/>
                    <a:pt x="4199631" y="1727655"/>
                    <a:pt x="4184322" y="1666288"/>
                  </a:cubicBezTo>
                  <a:cubicBezTo>
                    <a:pt x="4165952" y="1519006"/>
                    <a:pt x="4187384" y="1365588"/>
                    <a:pt x="4257803" y="1221375"/>
                  </a:cubicBezTo>
                  <a:cubicBezTo>
                    <a:pt x="4444569" y="837829"/>
                    <a:pt x="4903827" y="678274"/>
                    <a:pt x="5286543" y="865444"/>
                  </a:cubicBezTo>
                  <a:cubicBezTo>
                    <a:pt x="5381456" y="911470"/>
                    <a:pt x="5464123" y="975905"/>
                    <a:pt x="5528419" y="1052614"/>
                  </a:cubicBezTo>
                  <a:cubicBezTo>
                    <a:pt x="5528419" y="1052614"/>
                    <a:pt x="5528419" y="1052614"/>
                    <a:pt x="5598839" y="1150802"/>
                  </a:cubicBezTo>
                  <a:cubicBezTo>
                    <a:pt x="5598839" y="1150802"/>
                    <a:pt x="5598839" y="1150802"/>
                    <a:pt x="5635579" y="1169212"/>
                  </a:cubicBezTo>
                  <a:cubicBezTo>
                    <a:pt x="5712123" y="1196828"/>
                    <a:pt x="5791727" y="1206033"/>
                    <a:pt x="5871332" y="1190691"/>
                  </a:cubicBezTo>
                  <a:cubicBezTo>
                    <a:pt x="6015233" y="1163076"/>
                    <a:pt x="6125455" y="1061820"/>
                    <a:pt x="6195875" y="920675"/>
                  </a:cubicBezTo>
                  <a:cubicBezTo>
                    <a:pt x="6195875" y="920675"/>
                    <a:pt x="6195875" y="920675"/>
                    <a:pt x="6208122" y="889991"/>
                  </a:cubicBezTo>
                  <a:cubicBezTo>
                    <a:pt x="6208122" y="889991"/>
                    <a:pt x="6208122" y="889991"/>
                    <a:pt x="6208122" y="874649"/>
                  </a:cubicBezTo>
                  <a:cubicBezTo>
                    <a:pt x="6211183" y="773393"/>
                    <a:pt x="6238739" y="672137"/>
                    <a:pt x="6284665" y="577018"/>
                  </a:cubicBezTo>
                  <a:cubicBezTo>
                    <a:pt x="6425505" y="288591"/>
                    <a:pt x="6719430" y="125968"/>
                    <a:pt x="7019479" y="144378"/>
                  </a:cubicBezTo>
                  <a:cubicBezTo>
                    <a:pt x="7117454" y="150515"/>
                    <a:pt x="7218491" y="175061"/>
                    <a:pt x="7313405" y="221087"/>
                  </a:cubicBezTo>
                  <a:cubicBezTo>
                    <a:pt x="7337899" y="233360"/>
                    <a:pt x="7362392" y="245634"/>
                    <a:pt x="7383825" y="260976"/>
                  </a:cubicBezTo>
                  <a:cubicBezTo>
                    <a:pt x="7714491" y="466556"/>
                    <a:pt x="7843083" y="896128"/>
                    <a:pt x="7668565" y="1255127"/>
                  </a:cubicBezTo>
                  <a:cubicBezTo>
                    <a:pt x="7481799" y="1638672"/>
                    <a:pt x="7019479" y="1798228"/>
                    <a:pt x="6636763" y="1611057"/>
                  </a:cubicBezTo>
                  <a:cubicBezTo>
                    <a:pt x="6541850" y="1565032"/>
                    <a:pt x="6459183" y="1500596"/>
                    <a:pt x="6394887" y="1423887"/>
                  </a:cubicBezTo>
                  <a:cubicBezTo>
                    <a:pt x="6394887" y="1423887"/>
                    <a:pt x="6394887" y="1423887"/>
                    <a:pt x="6355085" y="1368656"/>
                  </a:cubicBezTo>
                  <a:cubicBezTo>
                    <a:pt x="6355085" y="1368656"/>
                    <a:pt x="6355085" y="1368656"/>
                    <a:pt x="6327529" y="1347178"/>
                  </a:cubicBezTo>
                  <a:cubicBezTo>
                    <a:pt x="6232615" y="1291947"/>
                    <a:pt x="6125455" y="1270468"/>
                    <a:pt x="6018295" y="1288879"/>
                  </a:cubicBezTo>
                  <a:cubicBezTo>
                    <a:pt x="5914197" y="1310357"/>
                    <a:pt x="5822345" y="1374793"/>
                    <a:pt x="5754987" y="1463776"/>
                  </a:cubicBezTo>
                  <a:cubicBezTo>
                    <a:pt x="5754987" y="1463776"/>
                    <a:pt x="5754987" y="1463776"/>
                    <a:pt x="5715184" y="1531280"/>
                  </a:cubicBezTo>
                  <a:cubicBezTo>
                    <a:pt x="5715184" y="1531280"/>
                    <a:pt x="5715184" y="1531280"/>
                    <a:pt x="5718246" y="1604920"/>
                  </a:cubicBezTo>
                  <a:cubicBezTo>
                    <a:pt x="5712123" y="1703108"/>
                    <a:pt x="5687629" y="1804364"/>
                    <a:pt x="5638641" y="1899484"/>
                  </a:cubicBezTo>
                  <a:cubicBezTo>
                    <a:pt x="5638641" y="1899484"/>
                    <a:pt x="5638641" y="1899484"/>
                    <a:pt x="5617209" y="1936304"/>
                  </a:cubicBezTo>
                  <a:cubicBezTo>
                    <a:pt x="5617209" y="1936304"/>
                    <a:pt x="5617209" y="1936304"/>
                    <a:pt x="5620271" y="2006876"/>
                  </a:cubicBezTo>
                  <a:cubicBezTo>
                    <a:pt x="5629456" y="2086654"/>
                    <a:pt x="5660073" y="2160295"/>
                    <a:pt x="5712123" y="2224730"/>
                  </a:cubicBezTo>
                  <a:cubicBezTo>
                    <a:pt x="5779481" y="2307576"/>
                    <a:pt x="5877455" y="2359739"/>
                    <a:pt x="5987677" y="2378149"/>
                  </a:cubicBezTo>
                  <a:cubicBezTo>
                    <a:pt x="5987677" y="2378149"/>
                    <a:pt x="5987677" y="2378149"/>
                    <a:pt x="6067283" y="2381217"/>
                  </a:cubicBezTo>
                  <a:cubicBezTo>
                    <a:pt x="6067283" y="2381217"/>
                    <a:pt x="6067283" y="2381217"/>
                    <a:pt x="6128517" y="2344397"/>
                  </a:cubicBezTo>
                  <a:cubicBezTo>
                    <a:pt x="6220369" y="2301440"/>
                    <a:pt x="6321405" y="2276893"/>
                    <a:pt x="6425505" y="2273824"/>
                  </a:cubicBezTo>
                  <a:cubicBezTo>
                    <a:pt x="6584714" y="2267688"/>
                    <a:pt x="6734739" y="2310645"/>
                    <a:pt x="6860269" y="2390422"/>
                  </a:cubicBezTo>
                  <a:cubicBezTo>
                    <a:pt x="7071529" y="2522362"/>
                    <a:pt x="7212367" y="2752490"/>
                    <a:pt x="7221553" y="3019437"/>
                  </a:cubicBezTo>
                  <a:cubicBezTo>
                    <a:pt x="7233799" y="3341616"/>
                    <a:pt x="7050096" y="3620837"/>
                    <a:pt x="6777603" y="3749709"/>
                  </a:cubicBezTo>
                  <a:cubicBezTo>
                    <a:pt x="6777603" y="3749709"/>
                    <a:pt x="6777603" y="3749709"/>
                    <a:pt x="6664319" y="3786529"/>
                  </a:cubicBezTo>
                  <a:cubicBezTo>
                    <a:pt x="6664319" y="3786529"/>
                    <a:pt x="6664319" y="3786529"/>
                    <a:pt x="6612269" y="3844828"/>
                  </a:cubicBezTo>
                  <a:cubicBezTo>
                    <a:pt x="6563282" y="3909264"/>
                    <a:pt x="6532665" y="3982905"/>
                    <a:pt x="6523479" y="4065751"/>
                  </a:cubicBezTo>
                  <a:cubicBezTo>
                    <a:pt x="6520418" y="4084161"/>
                    <a:pt x="6520418" y="4102571"/>
                    <a:pt x="6520418" y="4120981"/>
                  </a:cubicBezTo>
                  <a:cubicBezTo>
                    <a:pt x="6520418" y="4120981"/>
                    <a:pt x="6520418" y="4120981"/>
                    <a:pt x="6520418" y="4305083"/>
                  </a:cubicBezTo>
                  <a:lnTo>
                    <a:pt x="6519010" y="4305083"/>
                  </a:lnTo>
                  <a:lnTo>
                    <a:pt x="6519010" y="4627058"/>
                  </a:lnTo>
                  <a:lnTo>
                    <a:pt x="6385810" y="4627058"/>
                  </a:lnTo>
                  <a:lnTo>
                    <a:pt x="6385810" y="4102693"/>
                  </a:lnTo>
                  <a:lnTo>
                    <a:pt x="6374124" y="4030320"/>
                  </a:lnTo>
                  <a:cubicBezTo>
                    <a:pt x="6349726" y="3941290"/>
                    <a:pt x="6296912" y="3857869"/>
                    <a:pt x="6223431" y="3786529"/>
                  </a:cubicBezTo>
                  <a:cubicBezTo>
                    <a:pt x="6223431" y="3786529"/>
                    <a:pt x="6223431" y="3786529"/>
                    <a:pt x="6211183" y="3777324"/>
                  </a:cubicBezTo>
                  <a:cubicBezTo>
                    <a:pt x="6211183" y="3777324"/>
                    <a:pt x="6211183" y="3777324"/>
                    <a:pt x="6177505" y="3768119"/>
                  </a:cubicBezTo>
                  <a:cubicBezTo>
                    <a:pt x="5898887" y="3660726"/>
                    <a:pt x="5693752" y="3393778"/>
                    <a:pt x="5684567" y="3074668"/>
                  </a:cubicBezTo>
                  <a:cubicBezTo>
                    <a:pt x="5678443" y="2967275"/>
                    <a:pt x="5696814" y="2866019"/>
                    <a:pt x="5733555" y="2770900"/>
                  </a:cubicBezTo>
                  <a:cubicBezTo>
                    <a:pt x="5733555" y="2770900"/>
                    <a:pt x="5733555" y="2770900"/>
                    <a:pt x="5785604" y="2663507"/>
                  </a:cubicBezTo>
                  <a:cubicBezTo>
                    <a:pt x="5785604" y="2663507"/>
                    <a:pt x="5785604" y="2663507"/>
                    <a:pt x="5785604" y="2620550"/>
                  </a:cubicBezTo>
                  <a:cubicBezTo>
                    <a:pt x="5773357" y="2540772"/>
                    <a:pt x="5745801" y="2464063"/>
                    <a:pt x="5693752" y="2402696"/>
                  </a:cubicBezTo>
                  <a:cubicBezTo>
                    <a:pt x="5626394" y="2316781"/>
                    <a:pt x="5528419" y="2267688"/>
                    <a:pt x="5418197" y="2249277"/>
                  </a:cubicBezTo>
                  <a:cubicBezTo>
                    <a:pt x="5418197" y="2249277"/>
                    <a:pt x="5418197" y="2249277"/>
                    <a:pt x="5307975" y="2243141"/>
                  </a:cubicBezTo>
                  <a:cubicBezTo>
                    <a:pt x="5307975" y="2243141"/>
                    <a:pt x="5307975" y="2243141"/>
                    <a:pt x="5197753" y="2292235"/>
                  </a:cubicBezTo>
                  <a:cubicBezTo>
                    <a:pt x="5010988" y="2356670"/>
                    <a:pt x="4799729" y="2350533"/>
                    <a:pt x="4609902" y="2255414"/>
                  </a:cubicBezTo>
                  <a:cubicBezTo>
                    <a:pt x="4609902" y="2255414"/>
                    <a:pt x="4609902" y="2255414"/>
                    <a:pt x="4606840" y="2252346"/>
                  </a:cubicBezTo>
                  <a:cubicBezTo>
                    <a:pt x="4606840" y="2252346"/>
                    <a:pt x="4606840" y="2252346"/>
                    <a:pt x="4579284" y="2243141"/>
                  </a:cubicBezTo>
                  <a:cubicBezTo>
                    <a:pt x="4579284" y="2243141"/>
                    <a:pt x="4579284" y="2243141"/>
                    <a:pt x="4524173" y="2203252"/>
                  </a:cubicBezTo>
                  <a:cubicBezTo>
                    <a:pt x="4524173" y="2203252"/>
                    <a:pt x="4524173" y="2203252"/>
                    <a:pt x="4490494" y="2194047"/>
                  </a:cubicBezTo>
                  <a:cubicBezTo>
                    <a:pt x="4383334" y="2175637"/>
                    <a:pt x="4273112" y="2190978"/>
                    <a:pt x="4181260" y="2249277"/>
                  </a:cubicBezTo>
                  <a:cubicBezTo>
                    <a:pt x="4089408" y="2307576"/>
                    <a:pt x="4028174" y="2396559"/>
                    <a:pt x="3994495" y="2503952"/>
                  </a:cubicBezTo>
                  <a:cubicBezTo>
                    <a:pt x="3994495" y="2503952"/>
                    <a:pt x="3994495" y="2503952"/>
                    <a:pt x="3982248" y="2562251"/>
                  </a:cubicBezTo>
                  <a:cubicBezTo>
                    <a:pt x="3982248" y="2562251"/>
                    <a:pt x="3982248" y="2562251"/>
                    <a:pt x="3985310" y="2568388"/>
                  </a:cubicBezTo>
                  <a:cubicBezTo>
                    <a:pt x="4083285" y="2795447"/>
                    <a:pt x="4071038" y="3068531"/>
                    <a:pt x="3927137" y="3292522"/>
                  </a:cubicBezTo>
                  <a:cubicBezTo>
                    <a:pt x="3694446" y="3651521"/>
                    <a:pt x="3219878" y="3755845"/>
                    <a:pt x="2861657" y="3522650"/>
                  </a:cubicBezTo>
                  <a:cubicBezTo>
                    <a:pt x="2503435" y="3292522"/>
                    <a:pt x="2402398" y="2813857"/>
                    <a:pt x="2632027" y="2454858"/>
                  </a:cubicBezTo>
                  <a:cubicBezTo>
                    <a:pt x="2690200" y="2365875"/>
                    <a:pt x="2760620" y="2292235"/>
                    <a:pt x="2843286" y="2233936"/>
                  </a:cubicBezTo>
                  <a:cubicBezTo>
                    <a:pt x="2843286" y="2233936"/>
                    <a:pt x="2843286" y="2233936"/>
                    <a:pt x="2947385" y="2175637"/>
                  </a:cubicBezTo>
                  <a:cubicBezTo>
                    <a:pt x="2947385" y="2175637"/>
                    <a:pt x="2947385" y="2175637"/>
                    <a:pt x="2971879" y="2138816"/>
                  </a:cubicBezTo>
                  <a:cubicBezTo>
                    <a:pt x="3008619" y="2068244"/>
                    <a:pt x="3026990" y="1988466"/>
                    <a:pt x="3020866" y="1908689"/>
                  </a:cubicBezTo>
                  <a:cubicBezTo>
                    <a:pt x="3008619" y="1764476"/>
                    <a:pt x="2922891" y="1638672"/>
                    <a:pt x="2791237" y="1552758"/>
                  </a:cubicBezTo>
                  <a:cubicBezTo>
                    <a:pt x="2791237" y="1552758"/>
                    <a:pt x="2791237" y="1552758"/>
                    <a:pt x="2760620" y="1537416"/>
                  </a:cubicBezTo>
                  <a:cubicBezTo>
                    <a:pt x="2760620" y="1537416"/>
                    <a:pt x="2760620" y="1537416"/>
                    <a:pt x="2745311" y="1537416"/>
                  </a:cubicBezTo>
                  <a:cubicBezTo>
                    <a:pt x="2647336" y="1519006"/>
                    <a:pt x="2552422" y="1482186"/>
                    <a:pt x="2460571" y="1423887"/>
                  </a:cubicBezTo>
                  <a:cubicBezTo>
                    <a:pt x="2328916" y="1337973"/>
                    <a:pt x="2230941" y="1215238"/>
                    <a:pt x="2169707" y="1080230"/>
                  </a:cubicBezTo>
                  <a:cubicBezTo>
                    <a:pt x="2169707" y="1080230"/>
                    <a:pt x="2169707" y="1080230"/>
                    <a:pt x="2136028" y="972837"/>
                  </a:cubicBezTo>
                  <a:cubicBezTo>
                    <a:pt x="2136028" y="972837"/>
                    <a:pt x="2136028" y="972837"/>
                    <a:pt x="2093164" y="929880"/>
                  </a:cubicBezTo>
                  <a:cubicBezTo>
                    <a:pt x="2028867" y="880786"/>
                    <a:pt x="1955386" y="850102"/>
                    <a:pt x="1872719" y="840897"/>
                  </a:cubicBezTo>
                  <a:cubicBezTo>
                    <a:pt x="1765559" y="831692"/>
                    <a:pt x="1661460" y="862376"/>
                    <a:pt x="1572670" y="929880"/>
                  </a:cubicBezTo>
                  <a:cubicBezTo>
                    <a:pt x="1572670" y="929880"/>
                    <a:pt x="1572670" y="929880"/>
                    <a:pt x="1511436" y="982042"/>
                  </a:cubicBezTo>
                  <a:cubicBezTo>
                    <a:pt x="1511436" y="982042"/>
                    <a:pt x="1511436" y="982042"/>
                    <a:pt x="1493066" y="1052614"/>
                  </a:cubicBezTo>
                  <a:cubicBezTo>
                    <a:pt x="1459387" y="1147734"/>
                    <a:pt x="1404276" y="1236716"/>
                    <a:pt x="1333856" y="1313426"/>
                  </a:cubicBezTo>
                  <a:cubicBezTo>
                    <a:pt x="1042992" y="1626399"/>
                    <a:pt x="556178" y="1641741"/>
                    <a:pt x="243882" y="1350246"/>
                  </a:cubicBezTo>
                  <a:cubicBezTo>
                    <a:pt x="-65352" y="1061820"/>
                    <a:pt x="-83723" y="570881"/>
                    <a:pt x="207141" y="257907"/>
                  </a:cubicBezTo>
                  <a:cubicBezTo>
                    <a:pt x="498005" y="-55066"/>
                    <a:pt x="984819" y="-70408"/>
                    <a:pt x="1294053" y="221087"/>
                  </a:cubicBezTo>
                  <a:cubicBezTo>
                    <a:pt x="1373658" y="294728"/>
                    <a:pt x="1431831" y="377574"/>
                    <a:pt x="1471633" y="469625"/>
                  </a:cubicBezTo>
                  <a:cubicBezTo>
                    <a:pt x="1471633" y="469625"/>
                    <a:pt x="1471633" y="469625"/>
                    <a:pt x="1511436" y="583154"/>
                  </a:cubicBezTo>
                  <a:cubicBezTo>
                    <a:pt x="1511436" y="583154"/>
                    <a:pt x="1511436" y="583154"/>
                    <a:pt x="1542053" y="613838"/>
                  </a:cubicBezTo>
                  <a:cubicBezTo>
                    <a:pt x="1606349" y="662932"/>
                    <a:pt x="1679831" y="693615"/>
                    <a:pt x="1762497" y="702821"/>
                  </a:cubicBezTo>
                  <a:cubicBezTo>
                    <a:pt x="1869658" y="715094"/>
                    <a:pt x="1973756" y="681342"/>
                    <a:pt x="2062546" y="616906"/>
                  </a:cubicBezTo>
                  <a:cubicBezTo>
                    <a:pt x="2062546" y="616906"/>
                    <a:pt x="2062546" y="616906"/>
                    <a:pt x="2148275" y="540197"/>
                  </a:cubicBezTo>
                  <a:cubicBezTo>
                    <a:pt x="2148275" y="540197"/>
                    <a:pt x="2148275" y="540197"/>
                    <a:pt x="2160522" y="494172"/>
                  </a:cubicBezTo>
                  <a:cubicBezTo>
                    <a:pt x="2178892" y="448146"/>
                    <a:pt x="2203386" y="402121"/>
                    <a:pt x="2230941" y="356095"/>
                  </a:cubicBezTo>
                  <a:cubicBezTo>
                    <a:pt x="2374842" y="132104"/>
                    <a:pt x="2616719" y="6301"/>
                    <a:pt x="2861657" y="165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chemeClr val="accent1">
                  <a:lumMod val="20000"/>
                  <a:lumOff val="8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ID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1" name="ïSḷíḑê">
              <a:extLst>
                <a:ext uri="{FF2B5EF4-FFF2-40B4-BE49-F238E27FC236}">
                  <a16:creationId xmlns:a16="http://schemas.microsoft.com/office/drawing/2014/main" id="{6169AE91-3C76-4639-902F-E25E99340C9C}"/>
                </a:ext>
              </a:extLst>
            </p:cNvPr>
            <p:cNvSpPr/>
            <p:nvPr/>
          </p:nvSpPr>
          <p:spPr bwMode="auto">
            <a:xfrm>
              <a:off x="8718160" y="3021608"/>
              <a:ext cx="511566" cy="511562"/>
            </a:xfrm>
            <a:custGeom>
              <a:avLst/>
              <a:gdLst>
                <a:gd name="connsiteX0" fmla="*/ 222250 w 577851"/>
                <a:gd name="connsiteY0" fmla="*/ 165100 h 577850"/>
                <a:gd name="connsiteX1" fmla="*/ 444500 w 577851"/>
                <a:gd name="connsiteY1" fmla="*/ 371475 h 577850"/>
                <a:gd name="connsiteX2" fmla="*/ 222250 w 577851"/>
                <a:gd name="connsiteY2" fmla="*/ 577850 h 577850"/>
                <a:gd name="connsiteX3" fmla="*/ 126631 w 577851"/>
                <a:gd name="connsiteY3" fmla="*/ 557213 h 577850"/>
                <a:gd name="connsiteX4" fmla="*/ 108541 w 577851"/>
                <a:gd name="connsiteY4" fmla="*/ 557213 h 577850"/>
                <a:gd name="connsiteX5" fmla="*/ 46517 w 577851"/>
                <a:gd name="connsiteY5" fmla="*/ 572691 h 577850"/>
                <a:gd name="connsiteX6" fmla="*/ 36180 w 577851"/>
                <a:gd name="connsiteY6" fmla="*/ 562372 h 577850"/>
                <a:gd name="connsiteX7" fmla="*/ 49102 w 577851"/>
                <a:gd name="connsiteY7" fmla="*/ 515938 h 577850"/>
                <a:gd name="connsiteX8" fmla="*/ 43933 w 577851"/>
                <a:gd name="connsiteY8" fmla="*/ 495300 h 577850"/>
                <a:gd name="connsiteX9" fmla="*/ 0 w 577851"/>
                <a:gd name="connsiteY9" fmla="*/ 371475 h 577850"/>
                <a:gd name="connsiteX10" fmla="*/ 222250 w 577851"/>
                <a:gd name="connsiteY10" fmla="*/ 165100 h 577850"/>
                <a:gd name="connsiteX11" fmla="*/ 356208 w 577851"/>
                <a:gd name="connsiteY11" fmla="*/ 0 h 577850"/>
                <a:gd name="connsiteX12" fmla="*/ 577851 w 577851"/>
                <a:gd name="connsiteY12" fmla="*/ 206076 h 577850"/>
                <a:gd name="connsiteX13" fmla="*/ 534038 w 577851"/>
                <a:gd name="connsiteY13" fmla="*/ 327145 h 577850"/>
                <a:gd name="connsiteX14" fmla="*/ 528884 w 577851"/>
                <a:gd name="connsiteY14" fmla="*/ 350329 h 577850"/>
                <a:gd name="connsiteX15" fmla="*/ 541770 w 577851"/>
                <a:gd name="connsiteY15" fmla="*/ 396696 h 577850"/>
                <a:gd name="connsiteX16" fmla="*/ 531461 w 577851"/>
                <a:gd name="connsiteY16" fmla="*/ 406999 h 577850"/>
                <a:gd name="connsiteX17" fmla="*/ 505688 w 577851"/>
                <a:gd name="connsiteY17" fmla="*/ 399271 h 577850"/>
                <a:gd name="connsiteX18" fmla="*/ 485070 w 577851"/>
                <a:gd name="connsiteY18" fmla="*/ 370936 h 577850"/>
                <a:gd name="connsiteX19" fmla="*/ 222192 w 577851"/>
                <a:gd name="connsiteY19" fmla="*/ 123646 h 577850"/>
                <a:gd name="connsiteX20" fmla="*/ 191265 w 577851"/>
                <a:gd name="connsiteY20" fmla="*/ 126221 h 577850"/>
                <a:gd name="connsiteX21" fmla="*/ 170647 w 577851"/>
                <a:gd name="connsiteY21" fmla="*/ 92734 h 577850"/>
                <a:gd name="connsiteX22" fmla="*/ 356208 w 577851"/>
                <a:gd name="connsiteY22" fmla="*/ 0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7851" h="577850">
                  <a:moveTo>
                    <a:pt x="222250" y="165100"/>
                  </a:moveTo>
                  <a:cubicBezTo>
                    <a:pt x="346297" y="165100"/>
                    <a:pt x="444500" y="257969"/>
                    <a:pt x="444500" y="371475"/>
                  </a:cubicBezTo>
                  <a:cubicBezTo>
                    <a:pt x="444500" y="484981"/>
                    <a:pt x="346297" y="577850"/>
                    <a:pt x="222250" y="577850"/>
                  </a:cubicBezTo>
                  <a:cubicBezTo>
                    <a:pt x="188654" y="577850"/>
                    <a:pt x="155058" y="570111"/>
                    <a:pt x="126631" y="557213"/>
                  </a:cubicBezTo>
                  <a:cubicBezTo>
                    <a:pt x="121462" y="554633"/>
                    <a:pt x="116293" y="554633"/>
                    <a:pt x="108541" y="557213"/>
                  </a:cubicBezTo>
                  <a:cubicBezTo>
                    <a:pt x="108541" y="557213"/>
                    <a:pt x="108541" y="557213"/>
                    <a:pt x="46517" y="572691"/>
                  </a:cubicBezTo>
                  <a:cubicBezTo>
                    <a:pt x="38764" y="575271"/>
                    <a:pt x="33596" y="570111"/>
                    <a:pt x="36180" y="562372"/>
                  </a:cubicBezTo>
                  <a:cubicBezTo>
                    <a:pt x="36180" y="562372"/>
                    <a:pt x="36180" y="562372"/>
                    <a:pt x="49102" y="515938"/>
                  </a:cubicBezTo>
                  <a:cubicBezTo>
                    <a:pt x="51686" y="508199"/>
                    <a:pt x="49102" y="500460"/>
                    <a:pt x="43933" y="495300"/>
                  </a:cubicBezTo>
                  <a:cubicBezTo>
                    <a:pt x="15506" y="459185"/>
                    <a:pt x="0" y="417910"/>
                    <a:pt x="0" y="371475"/>
                  </a:cubicBezTo>
                  <a:cubicBezTo>
                    <a:pt x="0" y="257969"/>
                    <a:pt x="100788" y="165100"/>
                    <a:pt x="222250" y="165100"/>
                  </a:cubicBezTo>
                  <a:close/>
                  <a:moveTo>
                    <a:pt x="356208" y="0"/>
                  </a:moveTo>
                  <a:cubicBezTo>
                    <a:pt x="477339" y="0"/>
                    <a:pt x="577851" y="92734"/>
                    <a:pt x="577851" y="206076"/>
                  </a:cubicBezTo>
                  <a:cubicBezTo>
                    <a:pt x="577851" y="252443"/>
                    <a:pt x="562388" y="293658"/>
                    <a:pt x="534038" y="327145"/>
                  </a:cubicBezTo>
                  <a:cubicBezTo>
                    <a:pt x="528884" y="334873"/>
                    <a:pt x="526306" y="342601"/>
                    <a:pt x="528884" y="350329"/>
                  </a:cubicBezTo>
                  <a:cubicBezTo>
                    <a:pt x="528884" y="350329"/>
                    <a:pt x="528884" y="350329"/>
                    <a:pt x="541770" y="396696"/>
                  </a:cubicBezTo>
                  <a:cubicBezTo>
                    <a:pt x="544347" y="404423"/>
                    <a:pt x="539193" y="409575"/>
                    <a:pt x="531461" y="406999"/>
                  </a:cubicBezTo>
                  <a:cubicBezTo>
                    <a:pt x="531461" y="406999"/>
                    <a:pt x="531461" y="406999"/>
                    <a:pt x="505688" y="399271"/>
                  </a:cubicBezTo>
                  <a:cubicBezTo>
                    <a:pt x="492802" y="396696"/>
                    <a:pt x="485070" y="383816"/>
                    <a:pt x="485070" y="370936"/>
                  </a:cubicBezTo>
                  <a:cubicBezTo>
                    <a:pt x="485070" y="234411"/>
                    <a:pt x="366517" y="123646"/>
                    <a:pt x="222192" y="123646"/>
                  </a:cubicBezTo>
                  <a:cubicBezTo>
                    <a:pt x="211883" y="123646"/>
                    <a:pt x="201574" y="126221"/>
                    <a:pt x="191265" y="126221"/>
                  </a:cubicBezTo>
                  <a:cubicBezTo>
                    <a:pt x="173224" y="128797"/>
                    <a:pt x="160338" y="108190"/>
                    <a:pt x="170647" y="92734"/>
                  </a:cubicBezTo>
                  <a:cubicBezTo>
                    <a:pt x="211883" y="36063"/>
                    <a:pt x="278891" y="0"/>
                    <a:pt x="35620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ID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2" name="îśļîḋé">
              <a:extLst>
                <a:ext uri="{FF2B5EF4-FFF2-40B4-BE49-F238E27FC236}">
                  <a16:creationId xmlns:a16="http://schemas.microsoft.com/office/drawing/2014/main" id="{C0F488B0-E60C-4C1B-82E7-B50F6754E97B}"/>
                </a:ext>
              </a:extLst>
            </p:cNvPr>
            <p:cNvSpPr/>
            <p:nvPr/>
          </p:nvSpPr>
          <p:spPr bwMode="auto">
            <a:xfrm>
              <a:off x="6441685" y="5021858"/>
              <a:ext cx="511566" cy="511562"/>
            </a:xfrm>
            <a:custGeom>
              <a:avLst/>
              <a:gdLst>
                <a:gd name="connsiteX0" fmla="*/ 222250 w 577851"/>
                <a:gd name="connsiteY0" fmla="*/ 165100 h 577850"/>
                <a:gd name="connsiteX1" fmla="*/ 444500 w 577851"/>
                <a:gd name="connsiteY1" fmla="*/ 371475 h 577850"/>
                <a:gd name="connsiteX2" fmla="*/ 222250 w 577851"/>
                <a:gd name="connsiteY2" fmla="*/ 577850 h 577850"/>
                <a:gd name="connsiteX3" fmla="*/ 126631 w 577851"/>
                <a:gd name="connsiteY3" fmla="*/ 557213 h 577850"/>
                <a:gd name="connsiteX4" fmla="*/ 108541 w 577851"/>
                <a:gd name="connsiteY4" fmla="*/ 557213 h 577850"/>
                <a:gd name="connsiteX5" fmla="*/ 46517 w 577851"/>
                <a:gd name="connsiteY5" fmla="*/ 572691 h 577850"/>
                <a:gd name="connsiteX6" fmla="*/ 36180 w 577851"/>
                <a:gd name="connsiteY6" fmla="*/ 562372 h 577850"/>
                <a:gd name="connsiteX7" fmla="*/ 49102 w 577851"/>
                <a:gd name="connsiteY7" fmla="*/ 515938 h 577850"/>
                <a:gd name="connsiteX8" fmla="*/ 43933 w 577851"/>
                <a:gd name="connsiteY8" fmla="*/ 495300 h 577850"/>
                <a:gd name="connsiteX9" fmla="*/ 0 w 577851"/>
                <a:gd name="connsiteY9" fmla="*/ 371475 h 577850"/>
                <a:gd name="connsiteX10" fmla="*/ 222250 w 577851"/>
                <a:gd name="connsiteY10" fmla="*/ 165100 h 577850"/>
                <a:gd name="connsiteX11" fmla="*/ 356208 w 577851"/>
                <a:gd name="connsiteY11" fmla="*/ 0 h 577850"/>
                <a:gd name="connsiteX12" fmla="*/ 577851 w 577851"/>
                <a:gd name="connsiteY12" fmla="*/ 206076 h 577850"/>
                <a:gd name="connsiteX13" fmla="*/ 534038 w 577851"/>
                <a:gd name="connsiteY13" fmla="*/ 327145 h 577850"/>
                <a:gd name="connsiteX14" fmla="*/ 528884 w 577851"/>
                <a:gd name="connsiteY14" fmla="*/ 350329 h 577850"/>
                <a:gd name="connsiteX15" fmla="*/ 541770 w 577851"/>
                <a:gd name="connsiteY15" fmla="*/ 396696 h 577850"/>
                <a:gd name="connsiteX16" fmla="*/ 531461 w 577851"/>
                <a:gd name="connsiteY16" fmla="*/ 406999 h 577850"/>
                <a:gd name="connsiteX17" fmla="*/ 505688 w 577851"/>
                <a:gd name="connsiteY17" fmla="*/ 399271 h 577850"/>
                <a:gd name="connsiteX18" fmla="*/ 485070 w 577851"/>
                <a:gd name="connsiteY18" fmla="*/ 370936 h 577850"/>
                <a:gd name="connsiteX19" fmla="*/ 222192 w 577851"/>
                <a:gd name="connsiteY19" fmla="*/ 123646 h 577850"/>
                <a:gd name="connsiteX20" fmla="*/ 191265 w 577851"/>
                <a:gd name="connsiteY20" fmla="*/ 126221 h 577850"/>
                <a:gd name="connsiteX21" fmla="*/ 170647 w 577851"/>
                <a:gd name="connsiteY21" fmla="*/ 92734 h 577850"/>
                <a:gd name="connsiteX22" fmla="*/ 356208 w 577851"/>
                <a:gd name="connsiteY22" fmla="*/ 0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7851" h="577850">
                  <a:moveTo>
                    <a:pt x="222250" y="165100"/>
                  </a:moveTo>
                  <a:cubicBezTo>
                    <a:pt x="346297" y="165100"/>
                    <a:pt x="444500" y="257969"/>
                    <a:pt x="444500" y="371475"/>
                  </a:cubicBezTo>
                  <a:cubicBezTo>
                    <a:pt x="444500" y="484981"/>
                    <a:pt x="346297" y="577850"/>
                    <a:pt x="222250" y="577850"/>
                  </a:cubicBezTo>
                  <a:cubicBezTo>
                    <a:pt x="188654" y="577850"/>
                    <a:pt x="155058" y="570111"/>
                    <a:pt x="126631" y="557213"/>
                  </a:cubicBezTo>
                  <a:cubicBezTo>
                    <a:pt x="121462" y="554633"/>
                    <a:pt x="116293" y="554633"/>
                    <a:pt x="108541" y="557213"/>
                  </a:cubicBezTo>
                  <a:cubicBezTo>
                    <a:pt x="108541" y="557213"/>
                    <a:pt x="108541" y="557213"/>
                    <a:pt x="46517" y="572691"/>
                  </a:cubicBezTo>
                  <a:cubicBezTo>
                    <a:pt x="38764" y="575271"/>
                    <a:pt x="33596" y="570111"/>
                    <a:pt x="36180" y="562372"/>
                  </a:cubicBezTo>
                  <a:cubicBezTo>
                    <a:pt x="36180" y="562372"/>
                    <a:pt x="36180" y="562372"/>
                    <a:pt x="49102" y="515938"/>
                  </a:cubicBezTo>
                  <a:cubicBezTo>
                    <a:pt x="51686" y="508199"/>
                    <a:pt x="49102" y="500460"/>
                    <a:pt x="43933" y="495300"/>
                  </a:cubicBezTo>
                  <a:cubicBezTo>
                    <a:pt x="15506" y="459185"/>
                    <a:pt x="0" y="417910"/>
                    <a:pt x="0" y="371475"/>
                  </a:cubicBezTo>
                  <a:cubicBezTo>
                    <a:pt x="0" y="257969"/>
                    <a:pt x="100788" y="165100"/>
                    <a:pt x="222250" y="165100"/>
                  </a:cubicBezTo>
                  <a:close/>
                  <a:moveTo>
                    <a:pt x="356208" y="0"/>
                  </a:moveTo>
                  <a:cubicBezTo>
                    <a:pt x="477339" y="0"/>
                    <a:pt x="577851" y="92734"/>
                    <a:pt x="577851" y="206076"/>
                  </a:cubicBezTo>
                  <a:cubicBezTo>
                    <a:pt x="577851" y="252443"/>
                    <a:pt x="562388" y="293658"/>
                    <a:pt x="534038" y="327145"/>
                  </a:cubicBezTo>
                  <a:cubicBezTo>
                    <a:pt x="528884" y="334873"/>
                    <a:pt x="526306" y="342601"/>
                    <a:pt x="528884" y="350329"/>
                  </a:cubicBezTo>
                  <a:cubicBezTo>
                    <a:pt x="528884" y="350329"/>
                    <a:pt x="528884" y="350329"/>
                    <a:pt x="541770" y="396696"/>
                  </a:cubicBezTo>
                  <a:cubicBezTo>
                    <a:pt x="544347" y="404423"/>
                    <a:pt x="539193" y="409575"/>
                    <a:pt x="531461" y="406999"/>
                  </a:cubicBezTo>
                  <a:cubicBezTo>
                    <a:pt x="531461" y="406999"/>
                    <a:pt x="531461" y="406999"/>
                    <a:pt x="505688" y="399271"/>
                  </a:cubicBezTo>
                  <a:cubicBezTo>
                    <a:pt x="492802" y="396696"/>
                    <a:pt x="485070" y="383816"/>
                    <a:pt x="485070" y="370936"/>
                  </a:cubicBezTo>
                  <a:cubicBezTo>
                    <a:pt x="485070" y="234411"/>
                    <a:pt x="366517" y="123646"/>
                    <a:pt x="222192" y="123646"/>
                  </a:cubicBezTo>
                  <a:cubicBezTo>
                    <a:pt x="211883" y="123646"/>
                    <a:pt x="201574" y="126221"/>
                    <a:pt x="191265" y="126221"/>
                  </a:cubicBezTo>
                  <a:cubicBezTo>
                    <a:pt x="173224" y="128797"/>
                    <a:pt x="160338" y="108190"/>
                    <a:pt x="170647" y="92734"/>
                  </a:cubicBezTo>
                  <a:cubicBezTo>
                    <a:pt x="211883" y="36063"/>
                    <a:pt x="278891" y="0"/>
                    <a:pt x="35620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ID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3" name="ïš1iďé">
              <a:extLst>
                <a:ext uri="{FF2B5EF4-FFF2-40B4-BE49-F238E27FC236}">
                  <a16:creationId xmlns:a16="http://schemas.microsoft.com/office/drawing/2014/main" id="{89B50FDD-0432-4518-A8C9-9222C9B3AF93}"/>
                </a:ext>
              </a:extLst>
            </p:cNvPr>
            <p:cNvSpPr/>
            <p:nvPr/>
          </p:nvSpPr>
          <p:spPr bwMode="auto">
            <a:xfrm>
              <a:off x="3485623" y="5193308"/>
              <a:ext cx="511566" cy="511562"/>
            </a:xfrm>
            <a:custGeom>
              <a:avLst/>
              <a:gdLst>
                <a:gd name="connsiteX0" fmla="*/ 222250 w 577851"/>
                <a:gd name="connsiteY0" fmla="*/ 165100 h 577850"/>
                <a:gd name="connsiteX1" fmla="*/ 444500 w 577851"/>
                <a:gd name="connsiteY1" fmla="*/ 371475 h 577850"/>
                <a:gd name="connsiteX2" fmla="*/ 222250 w 577851"/>
                <a:gd name="connsiteY2" fmla="*/ 577850 h 577850"/>
                <a:gd name="connsiteX3" fmla="*/ 126631 w 577851"/>
                <a:gd name="connsiteY3" fmla="*/ 557213 h 577850"/>
                <a:gd name="connsiteX4" fmla="*/ 108541 w 577851"/>
                <a:gd name="connsiteY4" fmla="*/ 557213 h 577850"/>
                <a:gd name="connsiteX5" fmla="*/ 46517 w 577851"/>
                <a:gd name="connsiteY5" fmla="*/ 572691 h 577850"/>
                <a:gd name="connsiteX6" fmla="*/ 36180 w 577851"/>
                <a:gd name="connsiteY6" fmla="*/ 562372 h 577850"/>
                <a:gd name="connsiteX7" fmla="*/ 49102 w 577851"/>
                <a:gd name="connsiteY7" fmla="*/ 515938 h 577850"/>
                <a:gd name="connsiteX8" fmla="*/ 43933 w 577851"/>
                <a:gd name="connsiteY8" fmla="*/ 495300 h 577850"/>
                <a:gd name="connsiteX9" fmla="*/ 0 w 577851"/>
                <a:gd name="connsiteY9" fmla="*/ 371475 h 577850"/>
                <a:gd name="connsiteX10" fmla="*/ 222250 w 577851"/>
                <a:gd name="connsiteY10" fmla="*/ 165100 h 577850"/>
                <a:gd name="connsiteX11" fmla="*/ 356208 w 577851"/>
                <a:gd name="connsiteY11" fmla="*/ 0 h 577850"/>
                <a:gd name="connsiteX12" fmla="*/ 577851 w 577851"/>
                <a:gd name="connsiteY12" fmla="*/ 206076 h 577850"/>
                <a:gd name="connsiteX13" fmla="*/ 534038 w 577851"/>
                <a:gd name="connsiteY13" fmla="*/ 327145 h 577850"/>
                <a:gd name="connsiteX14" fmla="*/ 528884 w 577851"/>
                <a:gd name="connsiteY14" fmla="*/ 350329 h 577850"/>
                <a:gd name="connsiteX15" fmla="*/ 541770 w 577851"/>
                <a:gd name="connsiteY15" fmla="*/ 396696 h 577850"/>
                <a:gd name="connsiteX16" fmla="*/ 531461 w 577851"/>
                <a:gd name="connsiteY16" fmla="*/ 406999 h 577850"/>
                <a:gd name="connsiteX17" fmla="*/ 505688 w 577851"/>
                <a:gd name="connsiteY17" fmla="*/ 399271 h 577850"/>
                <a:gd name="connsiteX18" fmla="*/ 485070 w 577851"/>
                <a:gd name="connsiteY18" fmla="*/ 370936 h 577850"/>
                <a:gd name="connsiteX19" fmla="*/ 222192 w 577851"/>
                <a:gd name="connsiteY19" fmla="*/ 123646 h 577850"/>
                <a:gd name="connsiteX20" fmla="*/ 191265 w 577851"/>
                <a:gd name="connsiteY20" fmla="*/ 126221 h 577850"/>
                <a:gd name="connsiteX21" fmla="*/ 170647 w 577851"/>
                <a:gd name="connsiteY21" fmla="*/ 92734 h 577850"/>
                <a:gd name="connsiteX22" fmla="*/ 356208 w 577851"/>
                <a:gd name="connsiteY22" fmla="*/ 0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7851" h="577850">
                  <a:moveTo>
                    <a:pt x="222250" y="165100"/>
                  </a:moveTo>
                  <a:cubicBezTo>
                    <a:pt x="346297" y="165100"/>
                    <a:pt x="444500" y="257969"/>
                    <a:pt x="444500" y="371475"/>
                  </a:cubicBezTo>
                  <a:cubicBezTo>
                    <a:pt x="444500" y="484981"/>
                    <a:pt x="346297" y="577850"/>
                    <a:pt x="222250" y="577850"/>
                  </a:cubicBezTo>
                  <a:cubicBezTo>
                    <a:pt x="188654" y="577850"/>
                    <a:pt x="155058" y="570111"/>
                    <a:pt x="126631" y="557213"/>
                  </a:cubicBezTo>
                  <a:cubicBezTo>
                    <a:pt x="121462" y="554633"/>
                    <a:pt x="116293" y="554633"/>
                    <a:pt x="108541" y="557213"/>
                  </a:cubicBezTo>
                  <a:cubicBezTo>
                    <a:pt x="108541" y="557213"/>
                    <a:pt x="108541" y="557213"/>
                    <a:pt x="46517" y="572691"/>
                  </a:cubicBezTo>
                  <a:cubicBezTo>
                    <a:pt x="38764" y="575271"/>
                    <a:pt x="33596" y="570111"/>
                    <a:pt x="36180" y="562372"/>
                  </a:cubicBezTo>
                  <a:cubicBezTo>
                    <a:pt x="36180" y="562372"/>
                    <a:pt x="36180" y="562372"/>
                    <a:pt x="49102" y="515938"/>
                  </a:cubicBezTo>
                  <a:cubicBezTo>
                    <a:pt x="51686" y="508199"/>
                    <a:pt x="49102" y="500460"/>
                    <a:pt x="43933" y="495300"/>
                  </a:cubicBezTo>
                  <a:cubicBezTo>
                    <a:pt x="15506" y="459185"/>
                    <a:pt x="0" y="417910"/>
                    <a:pt x="0" y="371475"/>
                  </a:cubicBezTo>
                  <a:cubicBezTo>
                    <a:pt x="0" y="257969"/>
                    <a:pt x="100788" y="165100"/>
                    <a:pt x="222250" y="165100"/>
                  </a:cubicBezTo>
                  <a:close/>
                  <a:moveTo>
                    <a:pt x="356208" y="0"/>
                  </a:moveTo>
                  <a:cubicBezTo>
                    <a:pt x="477339" y="0"/>
                    <a:pt x="577851" y="92734"/>
                    <a:pt x="577851" y="206076"/>
                  </a:cubicBezTo>
                  <a:cubicBezTo>
                    <a:pt x="577851" y="252443"/>
                    <a:pt x="562388" y="293658"/>
                    <a:pt x="534038" y="327145"/>
                  </a:cubicBezTo>
                  <a:cubicBezTo>
                    <a:pt x="528884" y="334873"/>
                    <a:pt x="526306" y="342601"/>
                    <a:pt x="528884" y="350329"/>
                  </a:cubicBezTo>
                  <a:cubicBezTo>
                    <a:pt x="528884" y="350329"/>
                    <a:pt x="528884" y="350329"/>
                    <a:pt x="541770" y="396696"/>
                  </a:cubicBezTo>
                  <a:cubicBezTo>
                    <a:pt x="544347" y="404423"/>
                    <a:pt x="539193" y="409575"/>
                    <a:pt x="531461" y="406999"/>
                  </a:cubicBezTo>
                  <a:cubicBezTo>
                    <a:pt x="531461" y="406999"/>
                    <a:pt x="531461" y="406999"/>
                    <a:pt x="505688" y="399271"/>
                  </a:cubicBezTo>
                  <a:cubicBezTo>
                    <a:pt x="492802" y="396696"/>
                    <a:pt x="485070" y="383816"/>
                    <a:pt x="485070" y="370936"/>
                  </a:cubicBezTo>
                  <a:cubicBezTo>
                    <a:pt x="485070" y="234411"/>
                    <a:pt x="366517" y="123646"/>
                    <a:pt x="222192" y="123646"/>
                  </a:cubicBezTo>
                  <a:cubicBezTo>
                    <a:pt x="211883" y="123646"/>
                    <a:pt x="201574" y="126221"/>
                    <a:pt x="191265" y="126221"/>
                  </a:cubicBezTo>
                  <a:cubicBezTo>
                    <a:pt x="173224" y="128797"/>
                    <a:pt x="160338" y="108190"/>
                    <a:pt x="170647" y="92734"/>
                  </a:cubicBezTo>
                  <a:cubicBezTo>
                    <a:pt x="211883" y="36063"/>
                    <a:pt x="278891" y="0"/>
                    <a:pt x="35620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ID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4" name="iSliďe">
              <a:extLst>
                <a:ext uri="{FF2B5EF4-FFF2-40B4-BE49-F238E27FC236}">
                  <a16:creationId xmlns:a16="http://schemas.microsoft.com/office/drawing/2014/main" id="{AFFBEE63-14D5-4F6E-85B5-08CEB3455C48}"/>
                </a:ext>
              </a:extLst>
            </p:cNvPr>
            <p:cNvSpPr/>
            <p:nvPr/>
          </p:nvSpPr>
          <p:spPr bwMode="auto">
            <a:xfrm>
              <a:off x="3010238" y="3173219"/>
              <a:ext cx="511566" cy="511562"/>
            </a:xfrm>
            <a:custGeom>
              <a:avLst/>
              <a:gdLst>
                <a:gd name="connsiteX0" fmla="*/ 222250 w 577851"/>
                <a:gd name="connsiteY0" fmla="*/ 165100 h 577850"/>
                <a:gd name="connsiteX1" fmla="*/ 444500 w 577851"/>
                <a:gd name="connsiteY1" fmla="*/ 371475 h 577850"/>
                <a:gd name="connsiteX2" fmla="*/ 222250 w 577851"/>
                <a:gd name="connsiteY2" fmla="*/ 577850 h 577850"/>
                <a:gd name="connsiteX3" fmla="*/ 126631 w 577851"/>
                <a:gd name="connsiteY3" fmla="*/ 557213 h 577850"/>
                <a:gd name="connsiteX4" fmla="*/ 108541 w 577851"/>
                <a:gd name="connsiteY4" fmla="*/ 557213 h 577850"/>
                <a:gd name="connsiteX5" fmla="*/ 46517 w 577851"/>
                <a:gd name="connsiteY5" fmla="*/ 572691 h 577850"/>
                <a:gd name="connsiteX6" fmla="*/ 36180 w 577851"/>
                <a:gd name="connsiteY6" fmla="*/ 562372 h 577850"/>
                <a:gd name="connsiteX7" fmla="*/ 49102 w 577851"/>
                <a:gd name="connsiteY7" fmla="*/ 515938 h 577850"/>
                <a:gd name="connsiteX8" fmla="*/ 43933 w 577851"/>
                <a:gd name="connsiteY8" fmla="*/ 495300 h 577850"/>
                <a:gd name="connsiteX9" fmla="*/ 0 w 577851"/>
                <a:gd name="connsiteY9" fmla="*/ 371475 h 577850"/>
                <a:gd name="connsiteX10" fmla="*/ 222250 w 577851"/>
                <a:gd name="connsiteY10" fmla="*/ 165100 h 577850"/>
                <a:gd name="connsiteX11" fmla="*/ 356208 w 577851"/>
                <a:gd name="connsiteY11" fmla="*/ 0 h 577850"/>
                <a:gd name="connsiteX12" fmla="*/ 577851 w 577851"/>
                <a:gd name="connsiteY12" fmla="*/ 206076 h 577850"/>
                <a:gd name="connsiteX13" fmla="*/ 534038 w 577851"/>
                <a:gd name="connsiteY13" fmla="*/ 327145 h 577850"/>
                <a:gd name="connsiteX14" fmla="*/ 528884 w 577851"/>
                <a:gd name="connsiteY14" fmla="*/ 350329 h 577850"/>
                <a:gd name="connsiteX15" fmla="*/ 541770 w 577851"/>
                <a:gd name="connsiteY15" fmla="*/ 396696 h 577850"/>
                <a:gd name="connsiteX16" fmla="*/ 531461 w 577851"/>
                <a:gd name="connsiteY16" fmla="*/ 406999 h 577850"/>
                <a:gd name="connsiteX17" fmla="*/ 505688 w 577851"/>
                <a:gd name="connsiteY17" fmla="*/ 399271 h 577850"/>
                <a:gd name="connsiteX18" fmla="*/ 485070 w 577851"/>
                <a:gd name="connsiteY18" fmla="*/ 370936 h 577850"/>
                <a:gd name="connsiteX19" fmla="*/ 222192 w 577851"/>
                <a:gd name="connsiteY19" fmla="*/ 123646 h 577850"/>
                <a:gd name="connsiteX20" fmla="*/ 191265 w 577851"/>
                <a:gd name="connsiteY20" fmla="*/ 126221 h 577850"/>
                <a:gd name="connsiteX21" fmla="*/ 170647 w 577851"/>
                <a:gd name="connsiteY21" fmla="*/ 92734 h 577850"/>
                <a:gd name="connsiteX22" fmla="*/ 356208 w 577851"/>
                <a:gd name="connsiteY22" fmla="*/ 0 h 577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577851" h="577850">
                  <a:moveTo>
                    <a:pt x="222250" y="165100"/>
                  </a:moveTo>
                  <a:cubicBezTo>
                    <a:pt x="346297" y="165100"/>
                    <a:pt x="444500" y="257969"/>
                    <a:pt x="444500" y="371475"/>
                  </a:cubicBezTo>
                  <a:cubicBezTo>
                    <a:pt x="444500" y="484981"/>
                    <a:pt x="346297" y="577850"/>
                    <a:pt x="222250" y="577850"/>
                  </a:cubicBezTo>
                  <a:cubicBezTo>
                    <a:pt x="188654" y="577850"/>
                    <a:pt x="155058" y="570111"/>
                    <a:pt x="126631" y="557213"/>
                  </a:cubicBezTo>
                  <a:cubicBezTo>
                    <a:pt x="121462" y="554633"/>
                    <a:pt x="116293" y="554633"/>
                    <a:pt x="108541" y="557213"/>
                  </a:cubicBezTo>
                  <a:cubicBezTo>
                    <a:pt x="108541" y="557213"/>
                    <a:pt x="108541" y="557213"/>
                    <a:pt x="46517" y="572691"/>
                  </a:cubicBezTo>
                  <a:cubicBezTo>
                    <a:pt x="38764" y="575271"/>
                    <a:pt x="33596" y="570111"/>
                    <a:pt x="36180" y="562372"/>
                  </a:cubicBezTo>
                  <a:cubicBezTo>
                    <a:pt x="36180" y="562372"/>
                    <a:pt x="36180" y="562372"/>
                    <a:pt x="49102" y="515938"/>
                  </a:cubicBezTo>
                  <a:cubicBezTo>
                    <a:pt x="51686" y="508199"/>
                    <a:pt x="49102" y="500460"/>
                    <a:pt x="43933" y="495300"/>
                  </a:cubicBezTo>
                  <a:cubicBezTo>
                    <a:pt x="15506" y="459185"/>
                    <a:pt x="0" y="417910"/>
                    <a:pt x="0" y="371475"/>
                  </a:cubicBezTo>
                  <a:cubicBezTo>
                    <a:pt x="0" y="257969"/>
                    <a:pt x="100788" y="165100"/>
                    <a:pt x="222250" y="165100"/>
                  </a:cubicBezTo>
                  <a:close/>
                  <a:moveTo>
                    <a:pt x="356208" y="0"/>
                  </a:moveTo>
                  <a:cubicBezTo>
                    <a:pt x="477339" y="0"/>
                    <a:pt x="577851" y="92734"/>
                    <a:pt x="577851" y="206076"/>
                  </a:cubicBezTo>
                  <a:cubicBezTo>
                    <a:pt x="577851" y="252443"/>
                    <a:pt x="562388" y="293658"/>
                    <a:pt x="534038" y="327145"/>
                  </a:cubicBezTo>
                  <a:cubicBezTo>
                    <a:pt x="528884" y="334873"/>
                    <a:pt x="526306" y="342601"/>
                    <a:pt x="528884" y="350329"/>
                  </a:cubicBezTo>
                  <a:cubicBezTo>
                    <a:pt x="528884" y="350329"/>
                    <a:pt x="528884" y="350329"/>
                    <a:pt x="541770" y="396696"/>
                  </a:cubicBezTo>
                  <a:cubicBezTo>
                    <a:pt x="544347" y="404423"/>
                    <a:pt x="539193" y="409575"/>
                    <a:pt x="531461" y="406999"/>
                  </a:cubicBezTo>
                  <a:cubicBezTo>
                    <a:pt x="531461" y="406999"/>
                    <a:pt x="531461" y="406999"/>
                    <a:pt x="505688" y="399271"/>
                  </a:cubicBezTo>
                  <a:cubicBezTo>
                    <a:pt x="492802" y="396696"/>
                    <a:pt x="485070" y="383816"/>
                    <a:pt x="485070" y="370936"/>
                  </a:cubicBezTo>
                  <a:cubicBezTo>
                    <a:pt x="485070" y="234411"/>
                    <a:pt x="366517" y="123646"/>
                    <a:pt x="222192" y="123646"/>
                  </a:cubicBezTo>
                  <a:cubicBezTo>
                    <a:pt x="211883" y="123646"/>
                    <a:pt x="201574" y="126221"/>
                    <a:pt x="191265" y="126221"/>
                  </a:cubicBezTo>
                  <a:cubicBezTo>
                    <a:pt x="173224" y="128797"/>
                    <a:pt x="160338" y="108190"/>
                    <a:pt x="170647" y="92734"/>
                  </a:cubicBezTo>
                  <a:cubicBezTo>
                    <a:pt x="211883" y="36063"/>
                    <a:pt x="278891" y="0"/>
                    <a:pt x="356208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ID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5" name="ïṣlîḑè">
            <a:extLst>
              <a:ext uri="{FF2B5EF4-FFF2-40B4-BE49-F238E27FC236}">
                <a16:creationId xmlns:a16="http://schemas.microsoft.com/office/drawing/2014/main" id="{1EC28AA2-AC17-4A80-886B-E9A362DF1FD4}"/>
              </a:ext>
            </a:extLst>
          </p:cNvPr>
          <p:cNvSpPr txBox="1"/>
          <p:nvPr/>
        </p:nvSpPr>
        <p:spPr>
          <a:xfrm>
            <a:off x="4342004" y="3816468"/>
            <a:ext cx="1620646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80%</a:t>
            </a:r>
            <a:endParaRPr lang="vi-VN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6" name="í$líďe">
            <a:extLst>
              <a:ext uri="{FF2B5EF4-FFF2-40B4-BE49-F238E27FC236}">
                <a16:creationId xmlns:a16="http://schemas.microsoft.com/office/drawing/2014/main" id="{53633797-E805-4F05-AFF0-843E7B38FE96}"/>
              </a:ext>
            </a:extLst>
          </p:cNvPr>
          <p:cNvSpPr txBox="1"/>
          <p:nvPr/>
        </p:nvSpPr>
        <p:spPr>
          <a:xfrm>
            <a:off x="6229352" y="3041262"/>
            <a:ext cx="1620646" cy="52705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/>
          <a:p>
            <a:pPr algn="ctr"/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20%</a:t>
            </a:r>
            <a:endParaRPr lang="vi-VN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7" name="iṥḷidè">
            <a:extLst>
              <a:ext uri="{FF2B5EF4-FFF2-40B4-BE49-F238E27FC236}">
                <a16:creationId xmlns:a16="http://schemas.microsoft.com/office/drawing/2014/main" id="{58655555-431D-4F58-AFC0-B7FCD9C8F64E}"/>
              </a:ext>
            </a:extLst>
          </p:cNvPr>
          <p:cNvSpPr/>
          <p:nvPr/>
        </p:nvSpPr>
        <p:spPr bwMode="auto">
          <a:xfrm>
            <a:off x="660400" y="2136033"/>
            <a:ext cx="2575327" cy="751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8" name="îṥ1íḍè">
            <a:extLst>
              <a:ext uri="{FF2B5EF4-FFF2-40B4-BE49-F238E27FC236}">
                <a16:creationId xmlns:a16="http://schemas.microsoft.com/office/drawing/2014/main" id="{741E3261-31E6-460A-8F3F-870910A0336F}"/>
              </a:ext>
            </a:extLst>
          </p:cNvPr>
          <p:cNvSpPr txBox="1"/>
          <p:nvPr/>
        </p:nvSpPr>
        <p:spPr bwMode="auto">
          <a:xfrm>
            <a:off x="660400" y="1741543"/>
            <a:ext cx="2575327" cy="380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9" name="íṧlíďe">
            <a:extLst>
              <a:ext uri="{FF2B5EF4-FFF2-40B4-BE49-F238E27FC236}">
                <a16:creationId xmlns:a16="http://schemas.microsoft.com/office/drawing/2014/main" id="{5F31C18B-26A2-45D2-8B8D-ABFA991F614B}"/>
              </a:ext>
            </a:extLst>
          </p:cNvPr>
          <p:cNvSpPr/>
          <p:nvPr/>
        </p:nvSpPr>
        <p:spPr bwMode="auto">
          <a:xfrm>
            <a:off x="8943573" y="2093931"/>
            <a:ext cx="2575327" cy="751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0" name="îš1ïḍê">
            <a:extLst>
              <a:ext uri="{FF2B5EF4-FFF2-40B4-BE49-F238E27FC236}">
                <a16:creationId xmlns:a16="http://schemas.microsoft.com/office/drawing/2014/main" id="{D8197B1A-93A5-4D68-889A-C3562CC0A5BE}"/>
              </a:ext>
            </a:extLst>
          </p:cNvPr>
          <p:cNvSpPr txBox="1"/>
          <p:nvPr/>
        </p:nvSpPr>
        <p:spPr bwMode="auto">
          <a:xfrm>
            <a:off x="8943573" y="1699441"/>
            <a:ext cx="2575327" cy="380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1" name="íşḷiḋe">
            <a:extLst>
              <a:ext uri="{FF2B5EF4-FFF2-40B4-BE49-F238E27FC236}">
                <a16:creationId xmlns:a16="http://schemas.microsoft.com/office/drawing/2014/main" id="{145BBC48-57F9-4972-ADC4-2725A2661001}"/>
              </a:ext>
            </a:extLst>
          </p:cNvPr>
          <p:cNvSpPr/>
          <p:nvPr/>
        </p:nvSpPr>
        <p:spPr bwMode="auto">
          <a:xfrm>
            <a:off x="660400" y="5391917"/>
            <a:ext cx="2174739" cy="751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2" name="iṥḻiďè">
            <a:extLst>
              <a:ext uri="{FF2B5EF4-FFF2-40B4-BE49-F238E27FC236}">
                <a16:creationId xmlns:a16="http://schemas.microsoft.com/office/drawing/2014/main" id="{0DF8298D-1613-4ACB-B59C-DFEBCEF6BFCE}"/>
              </a:ext>
            </a:extLst>
          </p:cNvPr>
          <p:cNvSpPr txBox="1"/>
          <p:nvPr/>
        </p:nvSpPr>
        <p:spPr bwMode="auto">
          <a:xfrm>
            <a:off x="660400" y="4997427"/>
            <a:ext cx="2174739" cy="380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3" name="ïSḻïḍè">
            <a:extLst>
              <a:ext uri="{FF2B5EF4-FFF2-40B4-BE49-F238E27FC236}">
                <a16:creationId xmlns:a16="http://schemas.microsoft.com/office/drawing/2014/main" id="{C9368FD1-5732-4FFB-9CB6-22798EAD029A}"/>
              </a:ext>
            </a:extLst>
          </p:cNvPr>
          <p:cNvSpPr/>
          <p:nvPr/>
        </p:nvSpPr>
        <p:spPr bwMode="auto">
          <a:xfrm>
            <a:off x="7449853" y="5201702"/>
            <a:ext cx="2174738" cy="751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4" name="ïṡlïdê">
            <a:extLst>
              <a:ext uri="{FF2B5EF4-FFF2-40B4-BE49-F238E27FC236}">
                <a16:creationId xmlns:a16="http://schemas.microsoft.com/office/drawing/2014/main" id="{B3F55691-9C61-4F36-965D-4BCBCA8CFF57}"/>
              </a:ext>
            </a:extLst>
          </p:cNvPr>
          <p:cNvSpPr txBox="1"/>
          <p:nvPr/>
        </p:nvSpPr>
        <p:spPr bwMode="auto">
          <a:xfrm>
            <a:off x="7449853" y="4807212"/>
            <a:ext cx="2174738" cy="380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8737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50"/>
                            </p:stCondLst>
                            <p:childTnLst>
                              <p:par>
                                <p:cTn id="3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75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250"/>
                            </p:stCondLst>
                            <p:childTnLst>
                              <p:par>
                                <p:cTn id="4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000"/>
                            </p:stCondLst>
                            <p:childTnLst>
                              <p:par>
                                <p:cTn id="4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75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750"/>
                            </p:stCondLst>
                            <p:childTnLst>
                              <p:par>
                                <p:cTn id="5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75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7500"/>
                            </p:stCondLst>
                            <p:childTnLst>
                              <p:par>
                                <p:cTn id="5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7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25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75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75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75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45" grpId="0"/>
      <p:bldP spid="46" grpId="0"/>
      <p:bldP spid="47" grpId="0"/>
      <p:bldP spid="48" grpId="0"/>
      <p:bldP spid="49" grpId="0"/>
      <p:bldP spid="50" grpId="0"/>
      <p:bldP spid="51" grpId="0"/>
      <p:bldP spid="52" grpId="0"/>
      <p:bldP spid="53" grpId="0"/>
      <p:bldP spid="5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283677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Main busines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2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118" name="ïş1îdé">
            <a:extLst>
              <a:ext uri="{FF2B5EF4-FFF2-40B4-BE49-F238E27FC236}">
                <a16:creationId xmlns:a16="http://schemas.microsoft.com/office/drawing/2014/main" id="{90D22C57-7AA7-4ACF-BC2C-E8EFB716A421}"/>
              </a:ext>
            </a:extLst>
          </p:cNvPr>
          <p:cNvGrpSpPr/>
          <p:nvPr/>
        </p:nvGrpSpPr>
        <p:grpSpPr>
          <a:xfrm>
            <a:off x="1769478" y="3661778"/>
            <a:ext cx="545098" cy="545096"/>
            <a:chOff x="1678604" y="2702157"/>
            <a:chExt cx="726845" cy="726843"/>
          </a:xfrm>
        </p:grpSpPr>
        <p:sp>
          <p:nvSpPr>
            <p:cNvPr id="154" name="íşḻïdè">
              <a:extLst>
                <a:ext uri="{FF2B5EF4-FFF2-40B4-BE49-F238E27FC236}">
                  <a16:creationId xmlns:a16="http://schemas.microsoft.com/office/drawing/2014/main" id="{C5FBD8CA-7FEA-416A-B634-0850B49919A2}"/>
                </a:ext>
              </a:extLst>
            </p:cNvPr>
            <p:cNvSpPr/>
            <p:nvPr/>
          </p:nvSpPr>
          <p:spPr>
            <a:xfrm>
              <a:off x="1678604" y="2702157"/>
              <a:ext cx="726845" cy="726843"/>
            </a:xfrm>
            <a:prstGeom prst="flowChartConnector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5" name="íŝḷîḋe">
              <a:extLst>
                <a:ext uri="{FF2B5EF4-FFF2-40B4-BE49-F238E27FC236}">
                  <a16:creationId xmlns:a16="http://schemas.microsoft.com/office/drawing/2014/main" id="{9CA6BDCF-7D75-4090-8A50-C8E42AE03416}"/>
                </a:ext>
              </a:extLst>
            </p:cNvPr>
            <p:cNvSpPr/>
            <p:nvPr/>
          </p:nvSpPr>
          <p:spPr>
            <a:xfrm>
              <a:off x="1850910" y="2829720"/>
              <a:ext cx="382232" cy="471718"/>
            </a:xfrm>
            <a:custGeom>
              <a:avLst/>
              <a:gdLst>
                <a:gd name="connsiteX0" fmla="*/ 35879 w 485081"/>
                <a:gd name="connsiteY0" fmla="*/ 269773 h 598645"/>
                <a:gd name="connsiteX1" fmla="*/ 35879 w 485081"/>
                <a:gd name="connsiteY1" fmla="*/ 468960 h 598645"/>
                <a:gd name="connsiteX2" fmla="*/ 206662 w 485081"/>
                <a:gd name="connsiteY2" fmla="*/ 544908 h 598645"/>
                <a:gd name="connsiteX3" fmla="*/ 206662 w 485081"/>
                <a:gd name="connsiteY3" fmla="*/ 345722 h 598645"/>
                <a:gd name="connsiteX4" fmla="*/ 142080 w 485081"/>
                <a:gd name="connsiteY4" fmla="*/ 150835 h 598645"/>
                <a:gd name="connsiteX5" fmla="*/ 143515 w 485081"/>
                <a:gd name="connsiteY5" fmla="*/ 153701 h 598645"/>
                <a:gd name="connsiteX6" fmla="*/ 170783 w 485081"/>
                <a:gd name="connsiteY6" fmla="*/ 169464 h 598645"/>
                <a:gd name="connsiteX7" fmla="*/ 188005 w 485081"/>
                <a:gd name="connsiteY7" fmla="*/ 169464 h 598645"/>
                <a:gd name="connsiteX8" fmla="*/ 188005 w 485081"/>
                <a:gd name="connsiteY8" fmla="*/ 226784 h 598645"/>
                <a:gd name="connsiteX9" fmla="*/ 221013 w 485081"/>
                <a:gd name="connsiteY9" fmla="*/ 259743 h 598645"/>
                <a:gd name="connsiteX10" fmla="*/ 264068 w 485081"/>
                <a:gd name="connsiteY10" fmla="*/ 259743 h 598645"/>
                <a:gd name="connsiteX11" fmla="*/ 295641 w 485081"/>
                <a:gd name="connsiteY11" fmla="*/ 226784 h 598645"/>
                <a:gd name="connsiteX12" fmla="*/ 295641 w 485081"/>
                <a:gd name="connsiteY12" fmla="*/ 169464 h 598645"/>
                <a:gd name="connsiteX13" fmla="*/ 312863 w 485081"/>
                <a:gd name="connsiteY13" fmla="*/ 169464 h 598645"/>
                <a:gd name="connsiteX14" fmla="*/ 341566 w 485081"/>
                <a:gd name="connsiteY14" fmla="*/ 153701 h 598645"/>
                <a:gd name="connsiteX15" fmla="*/ 343001 w 485081"/>
                <a:gd name="connsiteY15" fmla="*/ 150835 h 598645"/>
                <a:gd name="connsiteX16" fmla="*/ 475035 w 485081"/>
                <a:gd name="connsiteY16" fmla="*/ 209588 h 598645"/>
                <a:gd name="connsiteX17" fmla="*/ 485081 w 485081"/>
                <a:gd name="connsiteY17" fmla="*/ 225351 h 598645"/>
                <a:gd name="connsiteX18" fmla="*/ 485081 w 485081"/>
                <a:gd name="connsiteY18" fmla="*/ 481857 h 598645"/>
                <a:gd name="connsiteX19" fmla="*/ 475035 w 485081"/>
                <a:gd name="connsiteY19" fmla="*/ 496186 h 598645"/>
                <a:gd name="connsiteX20" fmla="*/ 248281 w 485081"/>
                <a:gd name="connsiteY20" fmla="*/ 596496 h 598645"/>
                <a:gd name="connsiteX21" fmla="*/ 235365 w 485081"/>
                <a:gd name="connsiteY21" fmla="*/ 596496 h 598645"/>
                <a:gd name="connsiteX22" fmla="*/ 8611 w 485081"/>
                <a:gd name="connsiteY22" fmla="*/ 496186 h 598645"/>
                <a:gd name="connsiteX23" fmla="*/ 0 w 485081"/>
                <a:gd name="connsiteY23" fmla="*/ 481857 h 598645"/>
                <a:gd name="connsiteX24" fmla="*/ 0 w 485081"/>
                <a:gd name="connsiteY24" fmla="*/ 225351 h 598645"/>
                <a:gd name="connsiteX25" fmla="*/ 8611 w 485081"/>
                <a:gd name="connsiteY25" fmla="*/ 209588 h 598645"/>
                <a:gd name="connsiteX26" fmla="*/ 241824 w 485081"/>
                <a:gd name="connsiteY26" fmla="*/ 0 h 598645"/>
                <a:gd name="connsiteX27" fmla="*/ 254021 w 485081"/>
                <a:gd name="connsiteY27" fmla="*/ 7519 h 598645"/>
                <a:gd name="connsiteX28" fmla="*/ 325771 w 485081"/>
                <a:gd name="connsiteY28" fmla="*/ 130681 h 598645"/>
                <a:gd name="connsiteX29" fmla="*/ 312856 w 485081"/>
                <a:gd name="connsiteY29" fmla="*/ 152163 h 598645"/>
                <a:gd name="connsiteX30" fmla="*/ 276981 w 485081"/>
                <a:gd name="connsiteY30" fmla="*/ 152163 h 598645"/>
                <a:gd name="connsiteX31" fmla="*/ 276981 w 485081"/>
                <a:gd name="connsiteY31" fmla="*/ 226633 h 598645"/>
                <a:gd name="connsiteX32" fmla="*/ 264066 w 485081"/>
                <a:gd name="connsiteY32" fmla="*/ 240954 h 598645"/>
                <a:gd name="connsiteX33" fmla="*/ 221016 w 485081"/>
                <a:gd name="connsiteY33" fmla="*/ 240954 h 598645"/>
                <a:gd name="connsiteX34" fmla="*/ 206666 w 485081"/>
                <a:gd name="connsiteY34" fmla="*/ 226633 h 598645"/>
                <a:gd name="connsiteX35" fmla="*/ 206666 w 485081"/>
                <a:gd name="connsiteY35" fmla="*/ 152163 h 598645"/>
                <a:gd name="connsiteX36" fmla="*/ 170791 w 485081"/>
                <a:gd name="connsiteY36" fmla="*/ 152163 h 598645"/>
                <a:gd name="connsiteX37" fmla="*/ 159311 w 485081"/>
                <a:gd name="connsiteY37" fmla="*/ 130681 h 598645"/>
                <a:gd name="connsiteX38" fmla="*/ 229626 w 485081"/>
                <a:gd name="connsiteY38" fmla="*/ 7519 h 598645"/>
                <a:gd name="connsiteX39" fmla="*/ 241824 w 485081"/>
                <a:gd name="connsiteY39" fmla="*/ 0 h 59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5081" h="598645">
                  <a:moveTo>
                    <a:pt x="35879" y="269773"/>
                  </a:moveTo>
                  <a:lnTo>
                    <a:pt x="35879" y="468960"/>
                  </a:lnTo>
                  <a:lnTo>
                    <a:pt x="206662" y="544908"/>
                  </a:lnTo>
                  <a:lnTo>
                    <a:pt x="206662" y="345722"/>
                  </a:lnTo>
                  <a:close/>
                  <a:moveTo>
                    <a:pt x="142080" y="150835"/>
                  </a:moveTo>
                  <a:cubicBezTo>
                    <a:pt x="142080" y="150835"/>
                    <a:pt x="142080" y="152268"/>
                    <a:pt x="143515" y="153701"/>
                  </a:cubicBezTo>
                  <a:cubicBezTo>
                    <a:pt x="149256" y="163732"/>
                    <a:pt x="159302" y="169464"/>
                    <a:pt x="170783" y="169464"/>
                  </a:cubicBezTo>
                  <a:lnTo>
                    <a:pt x="188005" y="169464"/>
                  </a:lnTo>
                  <a:lnTo>
                    <a:pt x="188005" y="226784"/>
                  </a:lnTo>
                  <a:cubicBezTo>
                    <a:pt x="188005" y="245413"/>
                    <a:pt x="202356" y="259743"/>
                    <a:pt x="221013" y="259743"/>
                  </a:cubicBezTo>
                  <a:lnTo>
                    <a:pt x="264068" y="259743"/>
                  </a:lnTo>
                  <a:cubicBezTo>
                    <a:pt x="281290" y="259743"/>
                    <a:pt x="295641" y="245413"/>
                    <a:pt x="295641" y="226784"/>
                  </a:cubicBezTo>
                  <a:lnTo>
                    <a:pt x="295641" y="169464"/>
                  </a:lnTo>
                  <a:lnTo>
                    <a:pt x="312863" y="169464"/>
                  </a:lnTo>
                  <a:cubicBezTo>
                    <a:pt x="324344" y="169464"/>
                    <a:pt x="335825" y="163732"/>
                    <a:pt x="341566" y="153701"/>
                  </a:cubicBezTo>
                  <a:cubicBezTo>
                    <a:pt x="341566" y="152268"/>
                    <a:pt x="341566" y="150835"/>
                    <a:pt x="343001" y="150835"/>
                  </a:cubicBezTo>
                  <a:lnTo>
                    <a:pt x="475035" y="209588"/>
                  </a:lnTo>
                  <a:cubicBezTo>
                    <a:pt x="480776" y="212454"/>
                    <a:pt x="485081" y="218186"/>
                    <a:pt x="485081" y="225351"/>
                  </a:cubicBezTo>
                  <a:lnTo>
                    <a:pt x="485081" y="481857"/>
                  </a:lnTo>
                  <a:cubicBezTo>
                    <a:pt x="485081" y="487589"/>
                    <a:pt x="480776" y="493320"/>
                    <a:pt x="475035" y="496186"/>
                  </a:cubicBezTo>
                  <a:lnTo>
                    <a:pt x="248281" y="596496"/>
                  </a:lnTo>
                  <a:cubicBezTo>
                    <a:pt x="243976" y="599362"/>
                    <a:pt x="239670" y="599362"/>
                    <a:pt x="235365" y="596496"/>
                  </a:cubicBezTo>
                  <a:lnTo>
                    <a:pt x="8611" y="496186"/>
                  </a:lnTo>
                  <a:cubicBezTo>
                    <a:pt x="2870" y="493320"/>
                    <a:pt x="0" y="487589"/>
                    <a:pt x="0" y="481857"/>
                  </a:cubicBezTo>
                  <a:lnTo>
                    <a:pt x="0" y="225351"/>
                  </a:lnTo>
                  <a:cubicBezTo>
                    <a:pt x="0" y="218186"/>
                    <a:pt x="2870" y="212454"/>
                    <a:pt x="8611" y="209588"/>
                  </a:cubicBezTo>
                  <a:close/>
                  <a:moveTo>
                    <a:pt x="241824" y="0"/>
                  </a:moveTo>
                  <a:cubicBezTo>
                    <a:pt x="246487" y="0"/>
                    <a:pt x="251151" y="2507"/>
                    <a:pt x="254021" y="7519"/>
                  </a:cubicBezTo>
                  <a:lnTo>
                    <a:pt x="325771" y="130681"/>
                  </a:lnTo>
                  <a:cubicBezTo>
                    <a:pt x="331511" y="139274"/>
                    <a:pt x="324336" y="152163"/>
                    <a:pt x="312856" y="152163"/>
                  </a:cubicBezTo>
                  <a:lnTo>
                    <a:pt x="276981" y="152163"/>
                  </a:lnTo>
                  <a:lnTo>
                    <a:pt x="276981" y="226633"/>
                  </a:lnTo>
                  <a:cubicBezTo>
                    <a:pt x="276981" y="235226"/>
                    <a:pt x="271241" y="240954"/>
                    <a:pt x="264066" y="240954"/>
                  </a:cubicBezTo>
                  <a:lnTo>
                    <a:pt x="221016" y="240954"/>
                  </a:lnTo>
                  <a:cubicBezTo>
                    <a:pt x="212406" y="240954"/>
                    <a:pt x="206666" y="235226"/>
                    <a:pt x="206666" y="226633"/>
                  </a:cubicBezTo>
                  <a:lnTo>
                    <a:pt x="206666" y="152163"/>
                  </a:lnTo>
                  <a:lnTo>
                    <a:pt x="170791" y="152163"/>
                  </a:lnTo>
                  <a:cubicBezTo>
                    <a:pt x="160746" y="152163"/>
                    <a:pt x="153571" y="139274"/>
                    <a:pt x="159311" y="130681"/>
                  </a:cubicBezTo>
                  <a:lnTo>
                    <a:pt x="229626" y="7519"/>
                  </a:lnTo>
                  <a:cubicBezTo>
                    <a:pt x="232496" y="2507"/>
                    <a:pt x="237160" y="0"/>
                    <a:pt x="2418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9" name="i$ḻiďe">
            <a:extLst>
              <a:ext uri="{FF2B5EF4-FFF2-40B4-BE49-F238E27FC236}">
                <a16:creationId xmlns:a16="http://schemas.microsoft.com/office/drawing/2014/main" id="{E8F6AA6A-769B-4288-A1EF-5A5BA792DEA5}"/>
              </a:ext>
            </a:extLst>
          </p:cNvPr>
          <p:cNvGrpSpPr/>
          <p:nvPr/>
        </p:nvGrpSpPr>
        <p:grpSpPr>
          <a:xfrm>
            <a:off x="673100" y="2683534"/>
            <a:ext cx="10845800" cy="2146144"/>
            <a:chOff x="759341" y="2178207"/>
            <a:chExt cx="10775432" cy="2877174"/>
          </a:xfrm>
        </p:grpSpPr>
        <p:grpSp>
          <p:nvGrpSpPr>
            <p:cNvPr id="140" name="îšḻïdê">
              <a:extLst>
                <a:ext uri="{FF2B5EF4-FFF2-40B4-BE49-F238E27FC236}">
                  <a16:creationId xmlns:a16="http://schemas.microsoft.com/office/drawing/2014/main" id="{B249F56C-47F8-4231-AB37-934175628730}"/>
                </a:ext>
              </a:extLst>
            </p:cNvPr>
            <p:cNvGrpSpPr/>
            <p:nvPr/>
          </p:nvGrpSpPr>
          <p:grpSpPr>
            <a:xfrm>
              <a:off x="759341" y="2178207"/>
              <a:ext cx="10775432" cy="2877174"/>
              <a:chOff x="1267063" y="2254531"/>
              <a:chExt cx="9773218" cy="2609570"/>
            </a:xfrm>
          </p:grpSpPr>
          <p:sp>
            <p:nvSpPr>
              <p:cNvPr id="145" name="ïṥliḍé">
                <a:extLst>
                  <a:ext uri="{FF2B5EF4-FFF2-40B4-BE49-F238E27FC236}">
                    <a16:creationId xmlns:a16="http://schemas.microsoft.com/office/drawing/2014/main" id="{822D710B-09BB-43E1-99BE-00D95802D8BF}"/>
                  </a:ext>
                </a:extLst>
              </p:cNvPr>
              <p:cNvSpPr/>
              <p:nvPr/>
            </p:nvSpPr>
            <p:spPr>
              <a:xfrm>
                <a:off x="1267063" y="4211672"/>
                <a:ext cx="2280103" cy="65235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6" name="isḻíḋé">
                <a:extLst>
                  <a:ext uri="{FF2B5EF4-FFF2-40B4-BE49-F238E27FC236}">
                    <a16:creationId xmlns:a16="http://schemas.microsoft.com/office/drawing/2014/main" id="{E4F0D151-281D-4A44-A2B0-725A8F079873}"/>
                  </a:ext>
                </a:extLst>
              </p:cNvPr>
              <p:cNvSpPr/>
              <p:nvPr/>
            </p:nvSpPr>
            <p:spPr>
              <a:xfrm>
                <a:off x="3857136" y="3559317"/>
                <a:ext cx="2019480" cy="652356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7" name="iSľïdé">
                <a:extLst>
                  <a:ext uri="{FF2B5EF4-FFF2-40B4-BE49-F238E27FC236}">
                    <a16:creationId xmlns:a16="http://schemas.microsoft.com/office/drawing/2014/main" id="{C387ADAB-7BEF-4B60-A49B-F01DF4B4E829}"/>
                  </a:ext>
                </a:extLst>
              </p:cNvPr>
              <p:cNvSpPr/>
              <p:nvPr/>
            </p:nvSpPr>
            <p:spPr>
              <a:xfrm>
                <a:off x="6301917" y="2907041"/>
                <a:ext cx="2019480" cy="652356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8" name="iṧļidé">
                <a:extLst>
                  <a:ext uri="{FF2B5EF4-FFF2-40B4-BE49-F238E27FC236}">
                    <a16:creationId xmlns:a16="http://schemas.microsoft.com/office/drawing/2014/main" id="{B4EDA13C-CDAC-449B-A101-2BD8821CB912}"/>
                  </a:ext>
                </a:extLst>
              </p:cNvPr>
              <p:cNvSpPr/>
              <p:nvPr/>
            </p:nvSpPr>
            <p:spPr>
              <a:xfrm>
                <a:off x="8760178" y="2254532"/>
                <a:ext cx="2280103" cy="65235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49" name="işļiďè">
                <a:extLst>
                  <a:ext uri="{FF2B5EF4-FFF2-40B4-BE49-F238E27FC236}">
                    <a16:creationId xmlns:a16="http://schemas.microsoft.com/office/drawing/2014/main" id="{62D656D2-E175-4989-84E1-D3E1300296BC}"/>
                  </a:ext>
                </a:extLst>
              </p:cNvPr>
              <p:cNvSpPr/>
              <p:nvPr/>
            </p:nvSpPr>
            <p:spPr>
              <a:xfrm flipV="1">
                <a:off x="8321397" y="2254531"/>
                <a:ext cx="438781" cy="1304862"/>
              </a:xfrm>
              <a:custGeom>
                <a:avLst/>
                <a:gdLst>
                  <a:gd name="connsiteX0" fmla="*/ 962026 w 962026"/>
                  <a:gd name="connsiteY0" fmla="*/ 1924050 h 1924050"/>
                  <a:gd name="connsiteX1" fmla="*/ 962026 w 962026"/>
                  <a:gd name="connsiteY1" fmla="*/ 962025 h 1924050"/>
                  <a:gd name="connsiteX2" fmla="*/ 962025 w 962026"/>
                  <a:gd name="connsiteY2" fmla="*/ 962025 h 1924050"/>
                  <a:gd name="connsiteX3" fmla="*/ 0 w 962026"/>
                  <a:gd name="connsiteY3" fmla="*/ 0 h 1924050"/>
                  <a:gd name="connsiteX4" fmla="*/ 0 w 962026"/>
                  <a:gd name="connsiteY4" fmla="*/ 962025 h 1924050"/>
                  <a:gd name="connsiteX5" fmla="*/ 1 w 962026"/>
                  <a:gd name="connsiteY5" fmla="*/ 962025 h 192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2026" h="1924050">
                    <a:moveTo>
                      <a:pt x="962026" y="1924050"/>
                    </a:moveTo>
                    <a:lnTo>
                      <a:pt x="962026" y="962025"/>
                    </a:lnTo>
                    <a:lnTo>
                      <a:pt x="962025" y="962025"/>
                    </a:lnTo>
                    <a:lnTo>
                      <a:pt x="0" y="0"/>
                    </a:lnTo>
                    <a:lnTo>
                      <a:pt x="0" y="962025"/>
                    </a:lnTo>
                    <a:lnTo>
                      <a:pt x="1" y="9620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0" name="îṧlíde">
                <a:extLst>
                  <a:ext uri="{FF2B5EF4-FFF2-40B4-BE49-F238E27FC236}">
                    <a16:creationId xmlns:a16="http://schemas.microsoft.com/office/drawing/2014/main" id="{2F296526-BE7B-4B87-B997-3D1272CAFD61}"/>
                  </a:ext>
                </a:extLst>
              </p:cNvPr>
              <p:cNvSpPr/>
              <p:nvPr/>
            </p:nvSpPr>
            <p:spPr>
              <a:xfrm flipV="1">
                <a:off x="5863136" y="2906884"/>
                <a:ext cx="438781" cy="1304862"/>
              </a:xfrm>
              <a:custGeom>
                <a:avLst/>
                <a:gdLst>
                  <a:gd name="connsiteX0" fmla="*/ 962026 w 962026"/>
                  <a:gd name="connsiteY0" fmla="*/ 1924050 h 1924050"/>
                  <a:gd name="connsiteX1" fmla="*/ 962026 w 962026"/>
                  <a:gd name="connsiteY1" fmla="*/ 962025 h 1924050"/>
                  <a:gd name="connsiteX2" fmla="*/ 962025 w 962026"/>
                  <a:gd name="connsiteY2" fmla="*/ 962025 h 1924050"/>
                  <a:gd name="connsiteX3" fmla="*/ 0 w 962026"/>
                  <a:gd name="connsiteY3" fmla="*/ 0 h 1924050"/>
                  <a:gd name="connsiteX4" fmla="*/ 0 w 962026"/>
                  <a:gd name="connsiteY4" fmla="*/ 962025 h 1924050"/>
                  <a:gd name="connsiteX5" fmla="*/ 1 w 962026"/>
                  <a:gd name="connsiteY5" fmla="*/ 962025 h 192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2026" h="1924050">
                    <a:moveTo>
                      <a:pt x="962026" y="1924050"/>
                    </a:moveTo>
                    <a:lnTo>
                      <a:pt x="962026" y="962025"/>
                    </a:lnTo>
                    <a:lnTo>
                      <a:pt x="962025" y="962025"/>
                    </a:lnTo>
                    <a:lnTo>
                      <a:pt x="0" y="0"/>
                    </a:lnTo>
                    <a:lnTo>
                      <a:pt x="0" y="962025"/>
                    </a:lnTo>
                    <a:lnTo>
                      <a:pt x="1" y="9620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1" name="îSḻiďe">
                <a:extLst>
                  <a:ext uri="{FF2B5EF4-FFF2-40B4-BE49-F238E27FC236}">
                    <a16:creationId xmlns:a16="http://schemas.microsoft.com/office/drawing/2014/main" id="{BC55C34A-0154-4F1B-A252-C488282D5221}"/>
                  </a:ext>
                </a:extLst>
              </p:cNvPr>
              <p:cNvSpPr/>
              <p:nvPr/>
            </p:nvSpPr>
            <p:spPr>
              <a:xfrm flipV="1">
                <a:off x="3431835" y="3559239"/>
                <a:ext cx="438781" cy="1304862"/>
              </a:xfrm>
              <a:custGeom>
                <a:avLst/>
                <a:gdLst>
                  <a:gd name="connsiteX0" fmla="*/ 962026 w 962026"/>
                  <a:gd name="connsiteY0" fmla="*/ 1924050 h 1924050"/>
                  <a:gd name="connsiteX1" fmla="*/ 962026 w 962026"/>
                  <a:gd name="connsiteY1" fmla="*/ 962025 h 1924050"/>
                  <a:gd name="connsiteX2" fmla="*/ 962025 w 962026"/>
                  <a:gd name="connsiteY2" fmla="*/ 962025 h 1924050"/>
                  <a:gd name="connsiteX3" fmla="*/ 0 w 962026"/>
                  <a:gd name="connsiteY3" fmla="*/ 0 h 1924050"/>
                  <a:gd name="connsiteX4" fmla="*/ 0 w 962026"/>
                  <a:gd name="connsiteY4" fmla="*/ 962025 h 1924050"/>
                  <a:gd name="connsiteX5" fmla="*/ 1 w 962026"/>
                  <a:gd name="connsiteY5" fmla="*/ 962025 h 1924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2026" h="1924050">
                    <a:moveTo>
                      <a:pt x="962026" y="1924050"/>
                    </a:moveTo>
                    <a:lnTo>
                      <a:pt x="962026" y="962025"/>
                    </a:lnTo>
                    <a:lnTo>
                      <a:pt x="962025" y="962025"/>
                    </a:lnTo>
                    <a:lnTo>
                      <a:pt x="0" y="0"/>
                    </a:lnTo>
                    <a:lnTo>
                      <a:pt x="0" y="962025"/>
                    </a:lnTo>
                    <a:lnTo>
                      <a:pt x="1" y="96202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2" name="îsḷíḓe">
                <a:extLst>
                  <a:ext uri="{FF2B5EF4-FFF2-40B4-BE49-F238E27FC236}">
                    <a16:creationId xmlns:a16="http://schemas.microsoft.com/office/drawing/2014/main" id="{F601CC38-D4CF-424F-8FE4-35B68D0AD8ED}"/>
                  </a:ext>
                </a:extLst>
              </p:cNvPr>
              <p:cNvSpPr/>
              <p:nvPr/>
            </p:nvSpPr>
            <p:spPr>
              <a:xfrm>
                <a:off x="2147998" y="4211672"/>
                <a:ext cx="1283837" cy="652353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3" name="ïṡļiḑé">
                <a:extLst>
                  <a:ext uri="{FF2B5EF4-FFF2-40B4-BE49-F238E27FC236}">
                    <a16:creationId xmlns:a16="http://schemas.microsoft.com/office/drawing/2014/main" id="{13F6969B-8A8A-4AB6-B133-45CDA35BA102}"/>
                  </a:ext>
                </a:extLst>
              </p:cNvPr>
              <p:cNvSpPr/>
              <p:nvPr/>
            </p:nvSpPr>
            <p:spPr>
              <a:xfrm>
                <a:off x="8760179" y="2254532"/>
                <a:ext cx="1071182" cy="652353"/>
              </a:xfrm>
              <a:prstGeom prst="roundRect">
                <a:avLst>
                  <a:gd name="adj" fmla="val 0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41" name="íšľîďé">
              <a:extLst>
                <a:ext uri="{FF2B5EF4-FFF2-40B4-BE49-F238E27FC236}">
                  <a16:creationId xmlns:a16="http://schemas.microsoft.com/office/drawing/2014/main" id="{71A33E02-123B-438B-9DA7-7E46329DDC81}"/>
                </a:ext>
              </a:extLst>
            </p:cNvPr>
            <p:cNvSpPr txBox="1"/>
            <p:nvPr/>
          </p:nvSpPr>
          <p:spPr bwMode="auto">
            <a:xfrm>
              <a:off x="871829" y="4335964"/>
              <a:ext cx="2288943" cy="719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cs typeface="+mn-ea"/>
                  <a:sym typeface="+mn-lt"/>
                </a:rPr>
                <a:t>Enter the titl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  <p:sp>
          <p:nvSpPr>
            <p:cNvPr id="142" name="iS1îḑè">
              <a:extLst>
                <a:ext uri="{FF2B5EF4-FFF2-40B4-BE49-F238E27FC236}">
                  <a16:creationId xmlns:a16="http://schemas.microsoft.com/office/drawing/2014/main" id="{41E50340-BECF-438D-8D8A-3B0D6429B53D}"/>
                </a:ext>
              </a:extLst>
            </p:cNvPr>
            <p:cNvSpPr txBox="1"/>
            <p:nvPr/>
          </p:nvSpPr>
          <p:spPr bwMode="auto">
            <a:xfrm>
              <a:off x="3615019" y="3623062"/>
              <a:ext cx="2211710" cy="719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cs typeface="+mn-ea"/>
                  <a:sym typeface="+mn-lt"/>
                </a:rPr>
                <a:t>Enter the titl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  <p:sp>
          <p:nvSpPr>
            <p:cNvPr id="143" name="íŝḻiḋe">
              <a:extLst>
                <a:ext uri="{FF2B5EF4-FFF2-40B4-BE49-F238E27FC236}">
                  <a16:creationId xmlns:a16="http://schemas.microsoft.com/office/drawing/2014/main" id="{ABC43ACE-50E8-4CC7-A95E-381B8FD539D1}"/>
                </a:ext>
              </a:extLst>
            </p:cNvPr>
            <p:cNvSpPr txBox="1"/>
            <p:nvPr/>
          </p:nvSpPr>
          <p:spPr bwMode="auto">
            <a:xfrm>
              <a:off x="6330330" y="2877668"/>
              <a:ext cx="2211710" cy="719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cs typeface="+mn-ea"/>
                  <a:sym typeface="+mn-lt"/>
                </a:rPr>
                <a:t>Enter the titl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  <p:sp>
          <p:nvSpPr>
            <p:cNvPr id="144" name="îsḻíḍê">
              <a:extLst>
                <a:ext uri="{FF2B5EF4-FFF2-40B4-BE49-F238E27FC236}">
                  <a16:creationId xmlns:a16="http://schemas.microsoft.com/office/drawing/2014/main" id="{A9E3A038-12F3-4059-B831-11BB4EB0EBD8}"/>
                </a:ext>
              </a:extLst>
            </p:cNvPr>
            <p:cNvSpPr txBox="1"/>
            <p:nvPr/>
          </p:nvSpPr>
          <p:spPr bwMode="auto">
            <a:xfrm>
              <a:off x="9020852" y="2178208"/>
              <a:ext cx="2513921" cy="7192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/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zh-CN" altLang="en-US" sz="1800" b="1" dirty="0">
                  <a:cs typeface="+mn-ea"/>
                  <a:sym typeface="+mn-lt"/>
                </a:rPr>
                <a:t>Enter the title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</p:grpSp>
      <p:grpSp>
        <p:nvGrpSpPr>
          <p:cNvPr id="120" name="iṧľide">
            <a:extLst>
              <a:ext uri="{FF2B5EF4-FFF2-40B4-BE49-F238E27FC236}">
                <a16:creationId xmlns:a16="http://schemas.microsoft.com/office/drawing/2014/main" id="{43ABF88B-135B-4501-BF06-6F23CB0F82F3}"/>
              </a:ext>
            </a:extLst>
          </p:cNvPr>
          <p:cNvGrpSpPr/>
          <p:nvPr/>
        </p:nvGrpSpPr>
        <p:grpSpPr>
          <a:xfrm>
            <a:off x="4442022" y="3116682"/>
            <a:ext cx="545098" cy="545096"/>
            <a:chOff x="1678604" y="2702157"/>
            <a:chExt cx="726845" cy="726843"/>
          </a:xfrm>
        </p:grpSpPr>
        <p:sp>
          <p:nvSpPr>
            <p:cNvPr id="138" name="ïşlîdé">
              <a:extLst>
                <a:ext uri="{FF2B5EF4-FFF2-40B4-BE49-F238E27FC236}">
                  <a16:creationId xmlns:a16="http://schemas.microsoft.com/office/drawing/2014/main" id="{28FB7624-C2AD-4CDC-AC1C-966E3EB0AA97}"/>
                </a:ext>
              </a:extLst>
            </p:cNvPr>
            <p:cNvSpPr/>
            <p:nvPr/>
          </p:nvSpPr>
          <p:spPr>
            <a:xfrm>
              <a:off x="1678604" y="2702157"/>
              <a:ext cx="726845" cy="726843"/>
            </a:xfrm>
            <a:prstGeom prst="flowChartConnector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9" name="ïṩlîďe">
              <a:extLst>
                <a:ext uri="{FF2B5EF4-FFF2-40B4-BE49-F238E27FC236}">
                  <a16:creationId xmlns:a16="http://schemas.microsoft.com/office/drawing/2014/main" id="{A33AE142-E12F-41C9-95AF-42E6B317BB20}"/>
                </a:ext>
              </a:extLst>
            </p:cNvPr>
            <p:cNvSpPr/>
            <p:nvPr/>
          </p:nvSpPr>
          <p:spPr>
            <a:xfrm>
              <a:off x="1850910" y="2829720"/>
              <a:ext cx="382232" cy="471718"/>
            </a:xfrm>
            <a:custGeom>
              <a:avLst/>
              <a:gdLst>
                <a:gd name="connsiteX0" fmla="*/ 35879 w 485081"/>
                <a:gd name="connsiteY0" fmla="*/ 269773 h 598645"/>
                <a:gd name="connsiteX1" fmla="*/ 35879 w 485081"/>
                <a:gd name="connsiteY1" fmla="*/ 468960 h 598645"/>
                <a:gd name="connsiteX2" fmla="*/ 206662 w 485081"/>
                <a:gd name="connsiteY2" fmla="*/ 544908 h 598645"/>
                <a:gd name="connsiteX3" fmla="*/ 206662 w 485081"/>
                <a:gd name="connsiteY3" fmla="*/ 345722 h 598645"/>
                <a:gd name="connsiteX4" fmla="*/ 142080 w 485081"/>
                <a:gd name="connsiteY4" fmla="*/ 150835 h 598645"/>
                <a:gd name="connsiteX5" fmla="*/ 143515 w 485081"/>
                <a:gd name="connsiteY5" fmla="*/ 153701 h 598645"/>
                <a:gd name="connsiteX6" fmla="*/ 170783 w 485081"/>
                <a:gd name="connsiteY6" fmla="*/ 169464 h 598645"/>
                <a:gd name="connsiteX7" fmla="*/ 188005 w 485081"/>
                <a:gd name="connsiteY7" fmla="*/ 169464 h 598645"/>
                <a:gd name="connsiteX8" fmla="*/ 188005 w 485081"/>
                <a:gd name="connsiteY8" fmla="*/ 226784 h 598645"/>
                <a:gd name="connsiteX9" fmla="*/ 221013 w 485081"/>
                <a:gd name="connsiteY9" fmla="*/ 259743 h 598645"/>
                <a:gd name="connsiteX10" fmla="*/ 264068 w 485081"/>
                <a:gd name="connsiteY10" fmla="*/ 259743 h 598645"/>
                <a:gd name="connsiteX11" fmla="*/ 295641 w 485081"/>
                <a:gd name="connsiteY11" fmla="*/ 226784 h 598645"/>
                <a:gd name="connsiteX12" fmla="*/ 295641 w 485081"/>
                <a:gd name="connsiteY12" fmla="*/ 169464 h 598645"/>
                <a:gd name="connsiteX13" fmla="*/ 312863 w 485081"/>
                <a:gd name="connsiteY13" fmla="*/ 169464 h 598645"/>
                <a:gd name="connsiteX14" fmla="*/ 341566 w 485081"/>
                <a:gd name="connsiteY14" fmla="*/ 153701 h 598645"/>
                <a:gd name="connsiteX15" fmla="*/ 343001 w 485081"/>
                <a:gd name="connsiteY15" fmla="*/ 150835 h 598645"/>
                <a:gd name="connsiteX16" fmla="*/ 475035 w 485081"/>
                <a:gd name="connsiteY16" fmla="*/ 209588 h 598645"/>
                <a:gd name="connsiteX17" fmla="*/ 485081 w 485081"/>
                <a:gd name="connsiteY17" fmla="*/ 225351 h 598645"/>
                <a:gd name="connsiteX18" fmla="*/ 485081 w 485081"/>
                <a:gd name="connsiteY18" fmla="*/ 481857 h 598645"/>
                <a:gd name="connsiteX19" fmla="*/ 475035 w 485081"/>
                <a:gd name="connsiteY19" fmla="*/ 496186 h 598645"/>
                <a:gd name="connsiteX20" fmla="*/ 248281 w 485081"/>
                <a:gd name="connsiteY20" fmla="*/ 596496 h 598645"/>
                <a:gd name="connsiteX21" fmla="*/ 235365 w 485081"/>
                <a:gd name="connsiteY21" fmla="*/ 596496 h 598645"/>
                <a:gd name="connsiteX22" fmla="*/ 8611 w 485081"/>
                <a:gd name="connsiteY22" fmla="*/ 496186 h 598645"/>
                <a:gd name="connsiteX23" fmla="*/ 0 w 485081"/>
                <a:gd name="connsiteY23" fmla="*/ 481857 h 598645"/>
                <a:gd name="connsiteX24" fmla="*/ 0 w 485081"/>
                <a:gd name="connsiteY24" fmla="*/ 225351 h 598645"/>
                <a:gd name="connsiteX25" fmla="*/ 8611 w 485081"/>
                <a:gd name="connsiteY25" fmla="*/ 209588 h 598645"/>
                <a:gd name="connsiteX26" fmla="*/ 241824 w 485081"/>
                <a:gd name="connsiteY26" fmla="*/ 0 h 598645"/>
                <a:gd name="connsiteX27" fmla="*/ 254021 w 485081"/>
                <a:gd name="connsiteY27" fmla="*/ 7519 h 598645"/>
                <a:gd name="connsiteX28" fmla="*/ 325771 w 485081"/>
                <a:gd name="connsiteY28" fmla="*/ 130681 h 598645"/>
                <a:gd name="connsiteX29" fmla="*/ 312856 w 485081"/>
                <a:gd name="connsiteY29" fmla="*/ 152163 h 598645"/>
                <a:gd name="connsiteX30" fmla="*/ 276981 w 485081"/>
                <a:gd name="connsiteY30" fmla="*/ 152163 h 598645"/>
                <a:gd name="connsiteX31" fmla="*/ 276981 w 485081"/>
                <a:gd name="connsiteY31" fmla="*/ 226633 h 598645"/>
                <a:gd name="connsiteX32" fmla="*/ 264066 w 485081"/>
                <a:gd name="connsiteY32" fmla="*/ 240954 h 598645"/>
                <a:gd name="connsiteX33" fmla="*/ 221016 w 485081"/>
                <a:gd name="connsiteY33" fmla="*/ 240954 h 598645"/>
                <a:gd name="connsiteX34" fmla="*/ 206666 w 485081"/>
                <a:gd name="connsiteY34" fmla="*/ 226633 h 598645"/>
                <a:gd name="connsiteX35" fmla="*/ 206666 w 485081"/>
                <a:gd name="connsiteY35" fmla="*/ 152163 h 598645"/>
                <a:gd name="connsiteX36" fmla="*/ 170791 w 485081"/>
                <a:gd name="connsiteY36" fmla="*/ 152163 h 598645"/>
                <a:gd name="connsiteX37" fmla="*/ 159311 w 485081"/>
                <a:gd name="connsiteY37" fmla="*/ 130681 h 598645"/>
                <a:gd name="connsiteX38" fmla="*/ 229626 w 485081"/>
                <a:gd name="connsiteY38" fmla="*/ 7519 h 598645"/>
                <a:gd name="connsiteX39" fmla="*/ 241824 w 485081"/>
                <a:gd name="connsiteY39" fmla="*/ 0 h 59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5081" h="598645">
                  <a:moveTo>
                    <a:pt x="35879" y="269773"/>
                  </a:moveTo>
                  <a:lnTo>
                    <a:pt x="35879" y="468960"/>
                  </a:lnTo>
                  <a:lnTo>
                    <a:pt x="206662" y="544908"/>
                  </a:lnTo>
                  <a:lnTo>
                    <a:pt x="206662" y="345722"/>
                  </a:lnTo>
                  <a:close/>
                  <a:moveTo>
                    <a:pt x="142080" y="150835"/>
                  </a:moveTo>
                  <a:cubicBezTo>
                    <a:pt x="142080" y="150835"/>
                    <a:pt x="142080" y="152268"/>
                    <a:pt x="143515" y="153701"/>
                  </a:cubicBezTo>
                  <a:cubicBezTo>
                    <a:pt x="149256" y="163732"/>
                    <a:pt x="159302" y="169464"/>
                    <a:pt x="170783" y="169464"/>
                  </a:cubicBezTo>
                  <a:lnTo>
                    <a:pt x="188005" y="169464"/>
                  </a:lnTo>
                  <a:lnTo>
                    <a:pt x="188005" y="226784"/>
                  </a:lnTo>
                  <a:cubicBezTo>
                    <a:pt x="188005" y="245413"/>
                    <a:pt x="202356" y="259743"/>
                    <a:pt x="221013" y="259743"/>
                  </a:cubicBezTo>
                  <a:lnTo>
                    <a:pt x="264068" y="259743"/>
                  </a:lnTo>
                  <a:cubicBezTo>
                    <a:pt x="281290" y="259743"/>
                    <a:pt x="295641" y="245413"/>
                    <a:pt x="295641" y="226784"/>
                  </a:cubicBezTo>
                  <a:lnTo>
                    <a:pt x="295641" y="169464"/>
                  </a:lnTo>
                  <a:lnTo>
                    <a:pt x="312863" y="169464"/>
                  </a:lnTo>
                  <a:cubicBezTo>
                    <a:pt x="324344" y="169464"/>
                    <a:pt x="335825" y="163732"/>
                    <a:pt x="341566" y="153701"/>
                  </a:cubicBezTo>
                  <a:cubicBezTo>
                    <a:pt x="341566" y="152268"/>
                    <a:pt x="341566" y="150835"/>
                    <a:pt x="343001" y="150835"/>
                  </a:cubicBezTo>
                  <a:lnTo>
                    <a:pt x="475035" y="209588"/>
                  </a:lnTo>
                  <a:cubicBezTo>
                    <a:pt x="480776" y="212454"/>
                    <a:pt x="485081" y="218186"/>
                    <a:pt x="485081" y="225351"/>
                  </a:cubicBezTo>
                  <a:lnTo>
                    <a:pt x="485081" y="481857"/>
                  </a:lnTo>
                  <a:cubicBezTo>
                    <a:pt x="485081" y="487589"/>
                    <a:pt x="480776" y="493320"/>
                    <a:pt x="475035" y="496186"/>
                  </a:cubicBezTo>
                  <a:lnTo>
                    <a:pt x="248281" y="596496"/>
                  </a:lnTo>
                  <a:cubicBezTo>
                    <a:pt x="243976" y="599362"/>
                    <a:pt x="239670" y="599362"/>
                    <a:pt x="235365" y="596496"/>
                  </a:cubicBezTo>
                  <a:lnTo>
                    <a:pt x="8611" y="496186"/>
                  </a:lnTo>
                  <a:cubicBezTo>
                    <a:pt x="2870" y="493320"/>
                    <a:pt x="0" y="487589"/>
                    <a:pt x="0" y="481857"/>
                  </a:cubicBezTo>
                  <a:lnTo>
                    <a:pt x="0" y="225351"/>
                  </a:lnTo>
                  <a:cubicBezTo>
                    <a:pt x="0" y="218186"/>
                    <a:pt x="2870" y="212454"/>
                    <a:pt x="8611" y="209588"/>
                  </a:cubicBezTo>
                  <a:close/>
                  <a:moveTo>
                    <a:pt x="241824" y="0"/>
                  </a:moveTo>
                  <a:cubicBezTo>
                    <a:pt x="246487" y="0"/>
                    <a:pt x="251151" y="2507"/>
                    <a:pt x="254021" y="7519"/>
                  </a:cubicBezTo>
                  <a:lnTo>
                    <a:pt x="325771" y="130681"/>
                  </a:lnTo>
                  <a:cubicBezTo>
                    <a:pt x="331511" y="139274"/>
                    <a:pt x="324336" y="152163"/>
                    <a:pt x="312856" y="152163"/>
                  </a:cubicBezTo>
                  <a:lnTo>
                    <a:pt x="276981" y="152163"/>
                  </a:lnTo>
                  <a:lnTo>
                    <a:pt x="276981" y="226633"/>
                  </a:lnTo>
                  <a:cubicBezTo>
                    <a:pt x="276981" y="235226"/>
                    <a:pt x="271241" y="240954"/>
                    <a:pt x="264066" y="240954"/>
                  </a:cubicBezTo>
                  <a:lnTo>
                    <a:pt x="221016" y="240954"/>
                  </a:lnTo>
                  <a:cubicBezTo>
                    <a:pt x="212406" y="240954"/>
                    <a:pt x="206666" y="235226"/>
                    <a:pt x="206666" y="226633"/>
                  </a:cubicBezTo>
                  <a:lnTo>
                    <a:pt x="206666" y="152163"/>
                  </a:lnTo>
                  <a:lnTo>
                    <a:pt x="170791" y="152163"/>
                  </a:lnTo>
                  <a:cubicBezTo>
                    <a:pt x="160746" y="152163"/>
                    <a:pt x="153571" y="139274"/>
                    <a:pt x="159311" y="130681"/>
                  </a:cubicBezTo>
                  <a:lnTo>
                    <a:pt x="229626" y="7519"/>
                  </a:lnTo>
                  <a:cubicBezTo>
                    <a:pt x="232496" y="2507"/>
                    <a:pt x="237160" y="0"/>
                    <a:pt x="2418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1" name="iṣľíḓe">
            <a:extLst>
              <a:ext uri="{FF2B5EF4-FFF2-40B4-BE49-F238E27FC236}">
                <a16:creationId xmlns:a16="http://schemas.microsoft.com/office/drawing/2014/main" id="{10310FEC-EB4B-43FC-8D0B-E28FBDC0B06C}"/>
              </a:ext>
            </a:extLst>
          </p:cNvPr>
          <p:cNvGrpSpPr/>
          <p:nvPr/>
        </p:nvGrpSpPr>
        <p:grpSpPr>
          <a:xfrm>
            <a:off x="7151238" y="2564232"/>
            <a:ext cx="545098" cy="545096"/>
            <a:chOff x="1678604" y="2702157"/>
            <a:chExt cx="726845" cy="726843"/>
          </a:xfrm>
        </p:grpSpPr>
        <p:sp>
          <p:nvSpPr>
            <p:cNvPr id="136" name="ïs1íďê">
              <a:extLst>
                <a:ext uri="{FF2B5EF4-FFF2-40B4-BE49-F238E27FC236}">
                  <a16:creationId xmlns:a16="http://schemas.microsoft.com/office/drawing/2014/main" id="{BCE86E8D-02BC-404A-90E2-56EEDE2BC464}"/>
                </a:ext>
              </a:extLst>
            </p:cNvPr>
            <p:cNvSpPr/>
            <p:nvPr/>
          </p:nvSpPr>
          <p:spPr>
            <a:xfrm>
              <a:off x="1678604" y="2702157"/>
              <a:ext cx="726845" cy="726843"/>
            </a:xfrm>
            <a:prstGeom prst="flowChartConnector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7" name="iSļíḓê">
              <a:extLst>
                <a:ext uri="{FF2B5EF4-FFF2-40B4-BE49-F238E27FC236}">
                  <a16:creationId xmlns:a16="http://schemas.microsoft.com/office/drawing/2014/main" id="{B41C4615-32B5-4D8A-BF2D-FF813E3546C3}"/>
                </a:ext>
              </a:extLst>
            </p:cNvPr>
            <p:cNvSpPr/>
            <p:nvPr/>
          </p:nvSpPr>
          <p:spPr>
            <a:xfrm>
              <a:off x="1850910" y="2829720"/>
              <a:ext cx="382232" cy="471718"/>
            </a:xfrm>
            <a:custGeom>
              <a:avLst/>
              <a:gdLst>
                <a:gd name="connsiteX0" fmla="*/ 35879 w 485081"/>
                <a:gd name="connsiteY0" fmla="*/ 269773 h 598645"/>
                <a:gd name="connsiteX1" fmla="*/ 35879 w 485081"/>
                <a:gd name="connsiteY1" fmla="*/ 468960 h 598645"/>
                <a:gd name="connsiteX2" fmla="*/ 206662 w 485081"/>
                <a:gd name="connsiteY2" fmla="*/ 544908 h 598645"/>
                <a:gd name="connsiteX3" fmla="*/ 206662 w 485081"/>
                <a:gd name="connsiteY3" fmla="*/ 345722 h 598645"/>
                <a:gd name="connsiteX4" fmla="*/ 142080 w 485081"/>
                <a:gd name="connsiteY4" fmla="*/ 150835 h 598645"/>
                <a:gd name="connsiteX5" fmla="*/ 143515 w 485081"/>
                <a:gd name="connsiteY5" fmla="*/ 153701 h 598645"/>
                <a:gd name="connsiteX6" fmla="*/ 170783 w 485081"/>
                <a:gd name="connsiteY6" fmla="*/ 169464 h 598645"/>
                <a:gd name="connsiteX7" fmla="*/ 188005 w 485081"/>
                <a:gd name="connsiteY7" fmla="*/ 169464 h 598645"/>
                <a:gd name="connsiteX8" fmla="*/ 188005 w 485081"/>
                <a:gd name="connsiteY8" fmla="*/ 226784 h 598645"/>
                <a:gd name="connsiteX9" fmla="*/ 221013 w 485081"/>
                <a:gd name="connsiteY9" fmla="*/ 259743 h 598645"/>
                <a:gd name="connsiteX10" fmla="*/ 264068 w 485081"/>
                <a:gd name="connsiteY10" fmla="*/ 259743 h 598645"/>
                <a:gd name="connsiteX11" fmla="*/ 295641 w 485081"/>
                <a:gd name="connsiteY11" fmla="*/ 226784 h 598645"/>
                <a:gd name="connsiteX12" fmla="*/ 295641 w 485081"/>
                <a:gd name="connsiteY12" fmla="*/ 169464 h 598645"/>
                <a:gd name="connsiteX13" fmla="*/ 312863 w 485081"/>
                <a:gd name="connsiteY13" fmla="*/ 169464 h 598645"/>
                <a:gd name="connsiteX14" fmla="*/ 341566 w 485081"/>
                <a:gd name="connsiteY14" fmla="*/ 153701 h 598645"/>
                <a:gd name="connsiteX15" fmla="*/ 343001 w 485081"/>
                <a:gd name="connsiteY15" fmla="*/ 150835 h 598645"/>
                <a:gd name="connsiteX16" fmla="*/ 475035 w 485081"/>
                <a:gd name="connsiteY16" fmla="*/ 209588 h 598645"/>
                <a:gd name="connsiteX17" fmla="*/ 485081 w 485081"/>
                <a:gd name="connsiteY17" fmla="*/ 225351 h 598645"/>
                <a:gd name="connsiteX18" fmla="*/ 485081 w 485081"/>
                <a:gd name="connsiteY18" fmla="*/ 481857 h 598645"/>
                <a:gd name="connsiteX19" fmla="*/ 475035 w 485081"/>
                <a:gd name="connsiteY19" fmla="*/ 496186 h 598645"/>
                <a:gd name="connsiteX20" fmla="*/ 248281 w 485081"/>
                <a:gd name="connsiteY20" fmla="*/ 596496 h 598645"/>
                <a:gd name="connsiteX21" fmla="*/ 235365 w 485081"/>
                <a:gd name="connsiteY21" fmla="*/ 596496 h 598645"/>
                <a:gd name="connsiteX22" fmla="*/ 8611 w 485081"/>
                <a:gd name="connsiteY22" fmla="*/ 496186 h 598645"/>
                <a:gd name="connsiteX23" fmla="*/ 0 w 485081"/>
                <a:gd name="connsiteY23" fmla="*/ 481857 h 598645"/>
                <a:gd name="connsiteX24" fmla="*/ 0 w 485081"/>
                <a:gd name="connsiteY24" fmla="*/ 225351 h 598645"/>
                <a:gd name="connsiteX25" fmla="*/ 8611 w 485081"/>
                <a:gd name="connsiteY25" fmla="*/ 209588 h 598645"/>
                <a:gd name="connsiteX26" fmla="*/ 241824 w 485081"/>
                <a:gd name="connsiteY26" fmla="*/ 0 h 598645"/>
                <a:gd name="connsiteX27" fmla="*/ 254021 w 485081"/>
                <a:gd name="connsiteY27" fmla="*/ 7519 h 598645"/>
                <a:gd name="connsiteX28" fmla="*/ 325771 w 485081"/>
                <a:gd name="connsiteY28" fmla="*/ 130681 h 598645"/>
                <a:gd name="connsiteX29" fmla="*/ 312856 w 485081"/>
                <a:gd name="connsiteY29" fmla="*/ 152163 h 598645"/>
                <a:gd name="connsiteX30" fmla="*/ 276981 w 485081"/>
                <a:gd name="connsiteY30" fmla="*/ 152163 h 598645"/>
                <a:gd name="connsiteX31" fmla="*/ 276981 w 485081"/>
                <a:gd name="connsiteY31" fmla="*/ 226633 h 598645"/>
                <a:gd name="connsiteX32" fmla="*/ 264066 w 485081"/>
                <a:gd name="connsiteY32" fmla="*/ 240954 h 598645"/>
                <a:gd name="connsiteX33" fmla="*/ 221016 w 485081"/>
                <a:gd name="connsiteY33" fmla="*/ 240954 h 598645"/>
                <a:gd name="connsiteX34" fmla="*/ 206666 w 485081"/>
                <a:gd name="connsiteY34" fmla="*/ 226633 h 598645"/>
                <a:gd name="connsiteX35" fmla="*/ 206666 w 485081"/>
                <a:gd name="connsiteY35" fmla="*/ 152163 h 598645"/>
                <a:gd name="connsiteX36" fmla="*/ 170791 w 485081"/>
                <a:gd name="connsiteY36" fmla="*/ 152163 h 598645"/>
                <a:gd name="connsiteX37" fmla="*/ 159311 w 485081"/>
                <a:gd name="connsiteY37" fmla="*/ 130681 h 598645"/>
                <a:gd name="connsiteX38" fmla="*/ 229626 w 485081"/>
                <a:gd name="connsiteY38" fmla="*/ 7519 h 598645"/>
                <a:gd name="connsiteX39" fmla="*/ 241824 w 485081"/>
                <a:gd name="connsiteY39" fmla="*/ 0 h 59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5081" h="598645">
                  <a:moveTo>
                    <a:pt x="35879" y="269773"/>
                  </a:moveTo>
                  <a:lnTo>
                    <a:pt x="35879" y="468960"/>
                  </a:lnTo>
                  <a:lnTo>
                    <a:pt x="206662" y="544908"/>
                  </a:lnTo>
                  <a:lnTo>
                    <a:pt x="206662" y="345722"/>
                  </a:lnTo>
                  <a:close/>
                  <a:moveTo>
                    <a:pt x="142080" y="150835"/>
                  </a:moveTo>
                  <a:cubicBezTo>
                    <a:pt x="142080" y="150835"/>
                    <a:pt x="142080" y="152268"/>
                    <a:pt x="143515" y="153701"/>
                  </a:cubicBezTo>
                  <a:cubicBezTo>
                    <a:pt x="149256" y="163732"/>
                    <a:pt x="159302" y="169464"/>
                    <a:pt x="170783" y="169464"/>
                  </a:cubicBezTo>
                  <a:lnTo>
                    <a:pt x="188005" y="169464"/>
                  </a:lnTo>
                  <a:lnTo>
                    <a:pt x="188005" y="226784"/>
                  </a:lnTo>
                  <a:cubicBezTo>
                    <a:pt x="188005" y="245413"/>
                    <a:pt x="202356" y="259743"/>
                    <a:pt x="221013" y="259743"/>
                  </a:cubicBezTo>
                  <a:lnTo>
                    <a:pt x="264068" y="259743"/>
                  </a:lnTo>
                  <a:cubicBezTo>
                    <a:pt x="281290" y="259743"/>
                    <a:pt x="295641" y="245413"/>
                    <a:pt x="295641" y="226784"/>
                  </a:cubicBezTo>
                  <a:lnTo>
                    <a:pt x="295641" y="169464"/>
                  </a:lnTo>
                  <a:lnTo>
                    <a:pt x="312863" y="169464"/>
                  </a:lnTo>
                  <a:cubicBezTo>
                    <a:pt x="324344" y="169464"/>
                    <a:pt x="335825" y="163732"/>
                    <a:pt x="341566" y="153701"/>
                  </a:cubicBezTo>
                  <a:cubicBezTo>
                    <a:pt x="341566" y="152268"/>
                    <a:pt x="341566" y="150835"/>
                    <a:pt x="343001" y="150835"/>
                  </a:cubicBezTo>
                  <a:lnTo>
                    <a:pt x="475035" y="209588"/>
                  </a:lnTo>
                  <a:cubicBezTo>
                    <a:pt x="480776" y="212454"/>
                    <a:pt x="485081" y="218186"/>
                    <a:pt x="485081" y="225351"/>
                  </a:cubicBezTo>
                  <a:lnTo>
                    <a:pt x="485081" y="481857"/>
                  </a:lnTo>
                  <a:cubicBezTo>
                    <a:pt x="485081" y="487589"/>
                    <a:pt x="480776" y="493320"/>
                    <a:pt x="475035" y="496186"/>
                  </a:cubicBezTo>
                  <a:lnTo>
                    <a:pt x="248281" y="596496"/>
                  </a:lnTo>
                  <a:cubicBezTo>
                    <a:pt x="243976" y="599362"/>
                    <a:pt x="239670" y="599362"/>
                    <a:pt x="235365" y="596496"/>
                  </a:cubicBezTo>
                  <a:lnTo>
                    <a:pt x="8611" y="496186"/>
                  </a:lnTo>
                  <a:cubicBezTo>
                    <a:pt x="2870" y="493320"/>
                    <a:pt x="0" y="487589"/>
                    <a:pt x="0" y="481857"/>
                  </a:cubicBezTo>
                  <a:lnTo>
                    <a:pt x="0" y="225351"/>
                  </a:lnTo>
                  <a:cubicBezTo>
                    <a:pt x="0" y="218186"/>
                    <a:pt x="2870" y="212454"/>
                    <a:pt x="8611" y="209588"/>
                  </a:cubicBezTo>
                  <a:close/>
                  <a:moveTo>
                    <a:pt x="241824" y="0"/>
                  </a:moveTo>
                  <a:cubicBezTo>
                    <a:pt x="246487" y="0"/>
                    <a:pt x="251151" y="2507"/>
                    <a:pt x="254021" y="7519"/>
                  </a:cubicBezTo>
                  <a:lnTo>
                    <a:pt x="325771" y="130681"/>
                  </a:lnTo>
                  <a:cubicBezTo>
                    <a:pt x="331511" y="139274"/>
                    <a:pt x="324336" y="152163"/>
                    <a:pt x="312856" y="152163"/>
                  </a:cubicBezTo>
                  <a:lnTo>
                    <a:pt x="276981" y="152163"/>
                  </a:lnTo>
                  <a:lnTo>
                    <a:pt x="276981" y="226633"/>
                  </a:lnTo>
                  <a:cubicBezTo>
                    <a:pt x="276981" y="235226"/>
                    <a:pt x="271241" y="240954"/>
                    <a:pt x="264066" y="240954"/>
                  </a:cubicBezTo>
                  <a:lnTo>
                    <a:pt x="221016" y="240954"/>
                  </a:lnTo>
                  <a:cubicBezTo>
                    <a:pt x="212406" y="240954"/>
                    <a:pt x="206666" y="235226"/>
                    <a:pt x="206666" y="226633"/>
                  </a:cubicBezTo>
                  <a:lnTo>
                    <a:pt x="206666" y="152163"/>
                  </a:lnTo>
                  <a:lnTo>
                    <a:pt x="170791" y="152163"/>
                  </a:lnTo>
                  <a:cubicBezTo>
                    <a:pt x="160746" y="152163"/>
                    <a:pt x="153571" y="139274"/>
                    <a:pt x="159311" y="130681"/>
                  </a:cubicBezTo>
                  <a:lnTo>
                    <a:pt x="229626" y="7519"/>
                  </a:lnTo>
                  <a:cubicBezTo>
                    <a:pt x="232496" y="2507"/>
                    <a:pt x="237160" y="0"/>
                    <a:pt x="2418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22" name="iṧ1îde">
            <a:extLst>
              <a:ext uri="{FF2B5EF4-FFF2-40B4-BE49-F238E27FC236}">
                <a16:creationId xmlns:a16="http://schemas.microsoft.com/office/drawing/2014/main" id="{0C842F1D-3516-4C38-97C3-4717DF40CD5F}"/>
              </a:ext>
            </a:extLst>
          </p:cNvPr>
          <p:cNvGrpSpPr/>
          <p:nvPr/>
        </p:nvGrpSpPr>
        <p:grpSpPr>
          <a:xfrm>
            <a:off x="9981182" y="2040357"/>
            <a:ext cx="545098" cy="545096"/>
            <a:chOff x="1678604" y="2702157"/>
            <a:chExt cx="726845" cy="726843"/>
          </a:xfrm>
        </p:grpSpPr>
        <p:sp>
          <p:nvSpPr>
            <p:cNvPr id="134" name="iŝ1îḑè">
              <a:extLst>
                <a:ext uri="{FF2B5EF4-FFF2-40B4-BE49-F238E27FC236}">
                  <a16:creationId xmlns:a16="http://schemas.microsoft.com/office/drawing/2014/main" id="{763E014E-B2AA-428E-9D4A-2DB268289257}"/>
                </a:ext>
              </a:extLst>
            </p:cNvPr>
            <p:cNvSpPr/>
            <p:nvPr/>
          </p:nvSpPr>
          <p:spPr>
            <a:xfrm>
              <a:off x="1678604" y="2702157"/>
              <a:ext cx="726845" cy="726843"/>
            </a:xfrm>
            <a:prstGeom prst="flowChartConnector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5" name="îsľîḑe">
              <a:extLst>
                <a:ext uri="{FF2B5EF4-FFF2-40B4-BE49-F238E27FC236}">
                  <a16:creationId xmlns:a16="http://schemas.microsoft.com/office/drawing/2014/main" id="{9334B84E-3849-4F87-816C-BE65AF26A6A1}"/>
                </a:ext>
              </a:extLst>
            </p:cNvPr>
            <p:cNvSpPr/>
            <p:nvPr/>
          </p:nvSpPr>
          <p:spPr>
            <a:xfrm>
              <a:off x="1850910" y="2829720"/>
              <a:ext cx="382232" cy="471718"/>
            </a:xfrm>
            <a:custGeom>
              <a:avLst/>
              <a:gdLst>
                <a:gd name="connsiteX0" fmla="*/ 35879 w 485081"/>
                <a:gd name="connsiteY0" fmla="*/ 269773 h 598645"/>
                <a:gd name="connsiteX1" fmla="*/ 35879 w 485081"/>
                <a:gd name="connsiteY1" fmla="*/ 468960 h 598645"/>
                <a:gd name="connsiteX2" fmla="*/ 206662 w 485081"/>
                <a:gd name="connsiteY2" fmla="*/ 544908 h 598645"/>
                <a:gd name="connsiteX3" fmla="*/ 206662 w 485081"/>
                <a:gd name="connsiteY3" fmla="*/ 345722 h 598645"/>
                <a:gd name="connsiteX4" fmla="*/ 142080 w 485081"/>
                <a:gd name="connsiteY4" fmla="*/ 150835 h 598645"/>
                <a:gd name="connsiteX5" fmla="*/ 143515 w 485081"/>
                <a:gd name="connsiteY5" fmla="*/ 153701 h 598645"/>
                <a:gd name="connsiteX6" fmla="*/ 170783 w 485081"/>
                <a:gd name="connsiteY6" fmla="*/ 169464 h 598645"/>
                <a:gd name="connsiteX7" fmla="*/ 188005 w 485081"/>
                <a:gd name="connsiteY7" fmla="*/ 169464 h 598645"/>
                <a:gd name="connsiteX8" fmla="*/ 188005 w 485081"/>
                <a:gd name="connsiteY8" fmla="*/ 226784 h 598645"/>
                <a:gd name="connsiteX9" fmla="*/ 221013 w 485081"/>
                <a:gd name="connsiteY9" fmla="*/ 259743 h 598645"/>
                <a:gd name="connsiteX10" fmla="*/ 264068 w 485081"/>
                <a:gd name="connsiteY10" fmla="*/ 259743 h 598645"/>
                <a:gd name="connsiteX11" fmla="*/ 295641 w 485081"/>
                <a:gd name="connsiteY11" fmla="*/ 226784 h 598645"/>
                <a:gd name="connsiteX12" fmla="*/ 295641 w 485081"/>
                <a:gd name="connsiteY12" fmla="*/ 169464 h 598645"/>
                <a:gd name="connsiteX13" fmla="*/ 312863 w 485081"/>
                <a:gd name="connsiteY13" fmla="*/ 169464 h 598645"/>
                <a:gd name="connsiteX14" fmla="*/ 341566 w 485081"/>
                <a:gd name="connsiteY14" fmla="*/ 153701 h 598645"/>
                <a:gd name="connsiteX15" fmla="*/ 343001 w 485081"/>
                <a:gd name="connsiteY15" fmla="*/ 150835 h 598645"/>
                <a:gd name="connsiteX16" fmla="*/ 475035 w 485081"/>
                <a:gd name="connsiteY16" fmla="*/ 209588 h 598645"/>
                <a:gd name="connsiteX17" fmla="*/ 485081 w 485081"/>
                <a:gd name="connsiteY17" fmla="*/ 225351 h 598645"/>
                <a:gd name="connsiteX18" fmla="*/ 485081 w 485081"/>
                <a:gd name="connsiteY18" fmla="*/ 481857 h 598645"/>
                <a:gd name="connsiteX19" fmla="*/ 475035 w 485081"/>
                <a:gd name="connsiteY19" fmla="*/ 496186 h 598645"/>
                <a:gd name="connsiteX20" fmla="*/ 248281 w 485081"/>
                <a:gd name="connsiteY20" fmla="*/ 596496 h 598645"/>
                <a:gd name="connsiteX21" fmla="*/ 235365 w 485081"/>
                <a:gd name="connsiteY21" fmla="*/ 596496 h 598645"/>
                <a:gd name="connsiteX22" fmla="*/ 8611 w 485081"/>
                <a:gd name="connsiteY22" fmla="*/ 496186 h 598645"/>
                <a:gd name="connsiteX23" fmla="*/ 0 w 485081"/>
                <a:gd name="connsiteY23" fmla="*/ 481857 h 598645"/>
                <a:gd name="connsiteX24" fmla="*/ 0 w 485081"/>
                <a:gd name="connsiteY24" fmla="*/ 225351 h 598645"/>
                <a:gd name="connsiteX25" fmla="*/ 8611 w 485081"/>
                <a:gd name="connsiteY25" fmla="*/ 209588 h 598645"/>
                <a:gd name="connsiteX26" fmla="*/ 241824 w 485081"/>
                <a:gd name="connsiteY26" fmla="*/ 0 h 598645"/>
                <a:gd name="connsiteX27" fmla="*/ 254021 w 485081"/>
                <a:gd name="connsiteY27" fmla="*/ 7519 h 598645"/>
                <a:gd name="connsiteX28" fmla="*/ 325771 w 485081"/>
                <a:gd name="connsiteY28" fmla="*/ 130681 h 598645"/>
                <a:gd name="connsiteX29" fmla="*/ 312856 w 485081"/>
                <a:gd name="connsiteY29" fmla="*/ 152163 h 598645"/>
                <a:gd name="connsiteX30" fmla="*/ 276981 w 485081"/>
                <a:gd name="connsiteY30" fmla="*/ 152163 h 598645"/>
                <a:gd name="connsiteX31" fmla="*/ 276981 w 485081"/>
                <a:gd name="connsiteY31" fmla="*/ 226633 h 598645"/>
                <a:gd name="connsiteX32" fmla="*/ 264066 w 485081"/>
                <a:gd name="connsiteY32" fmla="*/ 240954 h 598645"/>
                <a:gd name="connsiteX33" fmla="*/ 221016 w 485081"/>
                <a:gd name="connsiteY33" fmla="*/ 240954 h 598645"/>
                <a:gd name="connsiteX34" fmla="*/ 206666 w 485081"/>
                <a:gd name="connsiteY34" fmla="*/ 226633 h 598645"/>
                <a:gd name="connsiteX35" fmla="*/ 206666 w 485081"/>
                <a:gd name="connsiteY35" fmla="*/ 152163 h 598645"/>
                <a:gd name="connsiteX36" fmla="*/ 170791 w 485081"/>
                <a:gd name="connsiteY36" fmla="*/ 152163 h 598645"/>
                <a:gd name="connsiteX37" fmla="*/ 159311 w 485081"/>
                <a:gd name="connsiteY37" fmla="*/ 130681 h 598645"/>
                <a:gd name="connsiteX38" fmla="*/ 229626 w 485081"/>
                <a:gd name="connsiteY38" fmla="*/ 7519 h 598645"/>
                <a:gd name="connsiteX39" fmla="*/ 241824 w 485081"/>
                <a:gd name="connsiteY39" fmla="*/ 0 h 598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485081" h="598645">
                  <a:moveTo>
                    <a:pt x="35879" y="269773"/>
                  </a:moveTo>
                  <a:lnTo>
                    <a:pt x="35879" y="468960"/>
                  </a:lnTo>
                  <a:lnTo>
                    <a:pt x="206662" y="544908"/>
                  </a:lnTo>
                  <a:lnTo>
                    <a:pt x="206662" y="345722"/>
                  </a:lnTo>
                  <a:close/>
                  <a:moveTo>
                    <a:pt x="142080" y="150835"/>
                  </a:moveTo>
                  <a:cubicBezTo>
                    <a:pt x="142080" y="150835"/>
                    <a:pt x="142080" y="152268"/>
                    <a:pt x="143515" y="153701"/>
                  </a:cubicBezTo>
                  <a:cubicBezTo>
                    <a:pt x="149256" y="163732"/>
                    <a:pt x="159302" y="169464"/>
                    <a:pt x="170783" y="169464"/>
                  </a:cubicBezTo>
                  <a:lnTo>
                    <a:pt x="188005" y="169464"/>
                  </a:lnTo>
                  <a:lnTo>
                    <a:pt x="188005" y="226784"/>
                  </a:lnTo>
                  <a:cubicBezTo>
                    <a:pt x="188005" y="245413"/>
                    <a:pt x="202356" y="259743"/>
                    <a:pt x="221013" y="259743"/>
                  </a:cubicBezTo>
                  <a:lnTo>
                    <a:pt x="264068" y="259743"/>
                  </a:lnTo>
                  <a:cubicBezTo>
                    <a:pt x="281290" y="259743"/>
                    <a:pt x="295641" y="245413"/>
                    <a:pt x="295641" y="226784"/>
                  </a:cubicBezTo>
                  <a:lnTo>
                    <a:pt x="295641" y="169464"/>
                  </a:lnTo>
                  <a:lnTo>
                    <a:pt x="312863" y="169464"/>
                  </a:lnTo>
                  <a:cubicBezTo>
                    <a:pt x="324344" y="169464"/>
                    <a:pt x="335825" y="163732"/>
                    <a:pt x="341566" y="153701"/>
                  </a:cubicBezTo>
                  <a:cubicBezTo>
                    <a:pt x="341566" y="152268"/>
                    <a:pt x="341566" y="150835"/>
                    <a:pt x="343001" y="150835"/>
                  </a:cubicBezTo>
                  <a:lnTo>
                    <a:pt x="475035" y="209588"/>
                  </a:lnTo>
                  <a:cubicBezTo>
                    <a:pt x="480776" y="212454"/>
                    <a:pt x="485081" y="218186"/>
                    <a:pt x="485081" y="225351"/>
                  </a:cubicBezTo>
                  <a:lnTo>
                    <a:pt x="485081" y="481857"/>
                  </a:lnTo>
                  <a:cubicBezTo>
                    <a:pt x="485081" y="487589"/>
                    <a:pt x="480776" y="493320"/>
                    <a:pt x="475035" y="496186"/>
                  </a:cubicBezTo>
                  <a:lnTo>
                    <a:pt x="248281" y="596496"/>
                  </a:lnTo>
                  <a:cubicBezTo>
                    <a:pt x="243976" y="599362"/>
                    <a:pt x="239670" y="599362"/>
                    <a:pt x="235365" y="596496"/>
                  </a:cubicBezTo>
                  <a:lnTo>
                    <a:pt x="8611" y="496186"/>
                  </a:lnTo>
                  <a:cubicBezTo>
                    <a:pt x="2870" y="493320"/>
                    <a:pt x="0" y="487589"/>
                    <a:pt x="0" y="481857"/>
                  </a:cubicBezTo>
                  <a:lnTo>
                    <a:pt x="0" y="225351"/>
                  </a:lnTo>
                  <a:cubicBezTo>
                    <a:pt x="0" y="218186"/>
                    <a:pt x="2870" y="212454"/>
                    <a:pt x="8611" y="209588"/>
                  </a:cubicBezTo>
                  <a:close/>
                  <a:moveTo>
                    <a:pt x="241824" y="0"/>
                  </a:moveTo>
                  <a:cubicBezTo>
                    <a:pt x="246487" y="0"/>
                    <a:pt x="251151" y="2507"/>
                    <a:pt x="254021" y="7519"/>
                  </a:cubicBezTo>
                  <a:lnTo>
                    <a:pt x="325771" y="130681"/>
                  </a:lnTo>
                  <a:cubicBezTo>
                    <a:pt x="331511" y="139274"/>
                    <a:pt x="324336" y="152163"/>
                    <a:pt x="312856" y="152163"/>
                  </a:cubicBezTo>
                  <a:lnTo>
                    <a:pt x="276981" y="152163"/>
                  </a:lnTo>
                  <a:lnTo>
                    <a:pt x="276981" y="226633"/>
                  </a:lnTo>
                  <a:cubicBezTo>
                    <a:pt x="276981" y="235226"/>
                    <a:pt x="271241" y="240954"/>
                    <a:pt x="264066" y="240954"/>
                  </a:cubicBezTo>
                  <a:lnTo>
                    <a:pt x="221016" y="240954"/>
                  </a:lnTo>
                  <a:cubicBezTo>
                    <a:pt x="212406" y="240954"/>
                    <a:pt x="206666" y="235226"/>
                    <a:pt x="206666" y="226633"/>
                  </a:cubicBezTo>
                  <a:lnTo>
                    <a:pt x="206666" y="152163"/>
                  </a:lnTo>
                  <a:lnTo>
                    <a:pt x="170791" y="152163"/>
                  </a:lnTo>
                  <a:cubicBezTo>
                    <a:pt x="160746" y="152163"/>
                    <a:pt x="153571" y="139274"/>
                    <a:pt x="159311" y="130681"/>
                  </a:cubicBezTo>
                  <a:lnTo>
                    <a:pt x="229626" y="7519"/>
                  </a:lnTo>
                  <a:cubicBezTo>
                    <a:pt x="232496" y="2507"/>
                    <a:pt x="237160" y="0"/>
                    <a:pt x="24182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23" name="íṣḻîḓe">
            <a:extLst>
              <a:ext uri="{FF2B5EF4-FFF2-40B4-BE49-F238E27FC236}">
                <a16:creationId xmlns:a16="http://schemas.microsoft.com/office/drawing/2014/main" id="{79A3A5D8-DCAB-404F-A7E9-3AA20E5198F8}"/>
              </a:ext>
            </a:extLst>
          </p:cNvPr>
          <p:cNvSpPr/>
          <p:nvPr/>
        </p:nvSpPr>
        <p:spPr bwMode="auto">
          <a:xfrm>
            <a:off x="8988559" y="3331023"/>
            <a:ext cx="2530339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2" name="íṣ1íḍè">
            <a:extLst>
              <a:ext uri="{FF2B5EF4-FFF2-40B4-BE49-F238E27FC236}">
                <a16:creationId xmlns:a16="http://schemas.microsoft.com/office/drawing/2014/main" id="{A7D0C6C0-CCFA-4EEC-9B3F-C771946CD4FC}"/>
              </a:ext>
            </a:extLst>
          </p:cNvPr>
          <p:cNvSpPr/>
          <p:nvPr/>
        </p:nvSpPr>
        <p:spPr bwMode="auto">
          <a:xfrm>
            <a:off x="6255516" y="3895669"/>
            <a:ext cx="2241112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0" name="ï$ļiḋè">
            <a:extLst>
              <a:ext uri="{FF2B5EF4-FFF2-40B4-BE49-F238E27FC236}">
                <a16:creationId xmlns:a16="http://schemas.microsoft.com/office/drawing/2014/main" id="{90DB2680-BC08-496A-82A1-0B000B3C73C9}"/>
              </a:ext>
            </a:extLst>
          </p:cNvPr>
          <p:cNvSpPr/>
          <p:nvPr/>
        </p:nvSpPr>
        <p:spPr bwMode="auto">
          <a:xfrm>
            <a:off x="3539947" y="4495304"/>
            <a:ext cx="2241112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8" name="iślïḓé">
            <a:extLst>
              <a:ext uri="{FF2B5EF4-FFF2-40B4-BE49-F238E27FC236}">
                <a16:creationId xmlns:a16="http://schemas.microsoft.com/office/drawing/2014/main" id="{26D0F5B2-0C2D-4702-A1CA-2C8ECF77B19A}"/>
              </a:ext>
            </a:extLst>
          </p:cNvPr>
          <p:cNvSpPr/>
          <p:nvPr/>
        </p:nvSpPr>
        <p:spPr bwMode="auto">
          <a:xfrm>
            <a:off x="672921" y="4975966"/>
            <a:ext cx="2241112" cy="780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953168" y="6614865"/>
            <a:ext cx="1224136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PT</a:t>
            </a:r>
            <a:r>
              <a:rPr kumimoji="0" lang="zh-CN" altLang="en-US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Download </a:t>
            </a:r>
            <a:r>
              <a:rPr kumimoji="0" lang="en-US" altLang="zh-CN" sz="1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http://www.1ppt.com/xiazai/</a:t>
            </a:r>
          </a:p>
        </p:txBody>
      </p:sp>
    </p:spTree>
    <p:extLst>
      <p:ext uri="{BB962C8B-B14F-4D97-AF65-F5344CB8AC3E}">
        <p14:creationId xmlns:p14="http://schemas.microsoft.com/office/powerpoint/2010/main" val="543328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75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9" dur="75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7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250"/>
                            </p:stCondLst>
                            <p:childTnLst>
                              <p:par>
                                <p:cTn id="35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37" dur="75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000"/>
                            </p:stCondLst>
                            <p:childTnLst>
                              <p:par>
                                <p:cTn id="39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75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750"/>
                            </p:stCondLst>
                            <p:childTnLst>
                              <p:par>
                                <p:cTn id="43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5" dur="75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500"/>
                            </p:stCondLst>
                            <p:childTnLst>
                              <p:par>
                                <p:cTn id="47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75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250"/>
                            </p:stCondLst>
                            <p:childTnLst>
                              <p:par>
                                <p:cTn id="51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53" dur="75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123" grpId="0"/>
      <p:bldP spid="132" grpId="0"/>
      <p:bldP spid="130" grpId="0"/>
      <p:bldP spid="12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Sḷide">
            <a:extLst>
              <a:ext uri="{FF2B5EF4-FFF2-40B4-BE49-F238E27FC236}">
                <a16:creationId xmlns:a16="http://schemas.microsoft.com/office/drawing/2014/main" id="{7CC342E6-4C32-4FFD-A835-D816829C4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pic>
        <p:nvPicPr>
          <p:cNvPr id="13" name="íṣľïḍê" descr="线条01">
            <a:extLst>
              <a:ext uri="{FF2B5EF4-FFF2-40B4-BE49-F238E27FC236}">
                <a16:creationId xmlns:a16="http://schemas.microsoft.com/office/drawing/2014/main" id="{EE83D4AD-F9E7-4254-A18A-738ADFA9F5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20981405" flipH="1">
            <a:off x="75420" y="3750315"/>
            <a:ext cx="12400280" cy="2290586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B94B5A03-1BF6-4C6C-BCBE-11A3D9AE0E8D}"/>
              </a:ext>
            </a:extLst>
          </p:cNvPr>
          <p:cNvSpPr/>
          <p:nvPr/>
        </p:nvSpPr>
        <p:spPr>
          <a:xfrm>
            <a:off x="660400" y="2559894"/>
            <a:ext cx="8608510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6600" dirty="0">
                <a:solidFill>
                  <a:schemeClr val="bg1"/>
                </a:solidFill>
                <a:cs typeface="+mn-ea"/>
                <a:sym typeface="+mn-lt"/>
              </a:rPr>
              <a:t>Product introduction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95E5F1E-2DFE-4287-BE18-C20E598811C6}"/>
              </a:ext>
            </a:extLst>
          </p:cNvPr>
          <p:cNvGrpSpPr/>
          <p:nvPr/>
        </p:nvGrpSpPr>
        <p:grpSpPr>
          <a:xfrm>
            <a:off x="660400" y="1872802"/>
            <a:ext cx="2946009" cy="524319"/>
            <a:chOff x="8297840" y="1448997"/>
            <a:chExt cx="2946009" cy="524319"/>
          </a:xfrm>
        </p:grpSpPr>
        <p:grpSp>
          <p:nvGrpSpPr>
            <p:cNvPr id="7" name="îsḻîḋé">
              <a:extLst>
                <a:ext uri="{FF2B5EF4-FFF2-40B4-BE49-F238E27FC236}">
                  <a16:creationId xmlns:a16="http://schemas.microsoft.com/office/drawing/2014/main" id="{028279EA-1E72-496F-8332-7D1D1429339A}"/>
                </a:ext>
              </a:extLst>
            </p:cNvPr>
            <p:cNvGrpSpPr/>
            <p:nvPr/>
          </p:nvGrpSpPr>
          <p:grpSpPr>
            <a:xfrm>
              <a:off x="8420670" y="1448997"/>
              <a:ext cx="2727644" cy="524319"/>
              <a:chOff x="5623208" y="2201818"/>
              <a:chExt cx="5820229" cy="524319"/>
            </a:xfrm>
          </p:grpSpPr>
          <p:cxnSp>
            <p:nvCxnSpPr>
              <p:cNvPr id="9" name="í$lïdê">
                <a:extLst>
                  <a:ext uri="{FF2B5EF4-FFF2-40B4-BE49-F238E27FC236}">
                    <a16:creationId xmlns:a16="http://schemas.microsoft.com/office/drawing/2014/main" id="{47EB845A-59CD-49C4-9129-F683DDFA39A3}"/>
                  </a:ext>
                </a:extLst>
              </p:cNvPr>
              <p:cNvCxnSpPr/>
              <p:nvPr/>
            </p:nvCxnSpPr>
            <p:spPr>
              <a:xfrm>
                <a:off x="5623208" y="2201818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" name="iṩľïḑe">
                <a:extLst>
                  <a:ext uri="{FF2B5EF4-FFF2-40B4-BE49-F238E27FC236}">
                    <a16:creationId xmlns:a16="http://schemas.microsoft.com/office/drawing/2014/main" id="{F2805856-A9A3-4F88-80EB-B48364862826}"/>
                  </a:ext>
                </a:extLst>
              </p:cNvPr>
              <p:cNvCxnSpPr/>
              <p:nvPr/>
            </p:nvCxnSpPr>
            <p:spPr>
              <a:xfrm>
                <a:off x="5623208" y="2726137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B957F02-E25E-42FA-903E-E81B68845813}"/>
                </a:ext>
              </a:extLst>
            </p:cNvPr>
            <p:cNvSpPr/>
            <p:nvPr/>
          </p:nvSpPr>
          <p:spPr>
            <a:xfrm>
              <a:off x="8297840" y="1540138"/>
              <a:ext cx="29460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pc="300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</p:grpSp>
      <p:sp>
        <p:nvSpPr>
          <p:cNvPr id="14" name="副标题 4">
            <a:extLst>
              <a:ext uri="{FF2B5EF4-FFF2-40B4-BE49-F238E27FC236}">
                <a16:creationId xmlns:a16="http://schemas.microsoft.com/office/drawing/2014/main" id="{E70F7116-6290-441E-8A31-42ED65F0C9F2}"/>
              </a:ext>
            </a:extLst>
          </p:cNvPr>
          <p:cNvSpPr txBox="1">
            <a:spLocks/>
          </p:cNvSpPr>
          <p:nvPr/>
        </p:nvSpPr>
        <p:spPr>
          <a:xfrm>
            <a:off x="660400" y="3928165"/>
            <a:ext cx="7001491" cy="558799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Theme color makes PPT more convenient to </a:t>
            </a:r>
            <a:r>
              <a:rPr lang="en-US" altLang="zh-CN" sz="1200" dirty="0" err="1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change. Adjust</a:t>
            </a: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 the spacing to adapt to Chinese typesetting, use the reference line in PPT.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DF9AB79B-0486-4EB3-8C20-2989FD142044}"/>
              </a:ext>
            </a:extLst>
          </p:cNvPr>
          <p:cNvSpPr txBox="1"/>
          <p:nvPr/>
        </p:nvSpPr>
        <p:spPr>
          <a:xfrm>
            <a:off x="7949315" y="5426214"/>
            <a:ext cx="35695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PART 03</a:t>
            </a:r>
            <a:endParaRPr lang="zh-CN" altLang="en-US" sz="4000" dirty="0">
              <a:solidFill>
                <a:schemeClr val="accent1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10534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75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 build="p"/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7635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roduct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3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5" name="îṩḻídé">
            <a:extLst>
              <a:ext uri="{FF2B5EF4-FFF2-40B4-BE49-F238E27FC236}">
                <a16:creationId xmlns:a16="http://schemas.microsoft.com/office/drawing/2014/main" id="{AC918554-0286-4892-B6F7-B2FB890AC534}"/>
              </a:ext>
            </a:extLst>
          </p:cNvPr>
          <p:cNvSpPr/>
          <p:nvPr/>
        </p:nvSpPr>
        <p:spPr>
          <a:xfrm>
            <a:off x="669926" y="1925429"/>
            <a:ext cx="3536039" cy="2343113"/>
          </a:xfrm>
          <a:prstGeom prst="rect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" name="îšḻïḋè">
            <a:extLst>
              <a:ext uri="{FF2B5EF4-FFF2-40B4-BE49-F238E27FC236}">
                <a16:creationId xmlns:a16="http://schemas.microsoft.com/office/drawing/2014/main" id="{D16531EE-EEBC-4C52-A83E-05F27701675F}"/>
              </a:ext>
            </a:extLst>
          </p:cNvPr>
          <p:cNvSpPr/>
          <p:nvPr/>
        </p:nvSpPr>
        <p:spPr>
          <a:xfrm>
            <a:off x="4327187" y="1925428"/>
            <a:ext cx="3536039" cy="2343113"/>
          </a:xfrm>
          <a:prstGeom prst="rect">
            <a:avLst/>
          </a:prstGeom>
          <a:blipFill>
            <a:blip r:embed="rId4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íśliḓé">
            <a:extLst>
              <a:ext uri="{FF2B5EF4-FFF2-40B4-BE49-F238E27FC236}">
                <a16:creationId xmlns:a16="http://schemas.microsoft.com/office/drawing/2014/main" id="{C3316EC0-D768-41DC-823C-45A80C5491EE}"/>
              </a:ext>
            </a:extLst>
          </p:cNvPr>
          <p:cNvSpPr/>
          <p:nvPr/>
        </p:nvSpPr>
        <p:spPr>
          <a:xfrm>
            <a:off x="7984449" y="1925428"/>
            <a:ext cx="3536039" cy="2343113"/>
          </a:xfrm>
          <a:prstGeom prst="rect">
            <a:avLst/>
          </a:prstGeom>
          <a:blipFill>
            <a:blip r:embed="rId5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8" name="íśḷîḑê">
            <a:extLst>
              <a:ext uri="{FF2B5EF4-FFF2-40B4-BE49-F238E27FC236}">
                <a16:creationId xmlns:a16="http://schemas.microsoft.com/office/drawing/2014/main" id="{F4EC9222-8AE9-461B-A127-C395546D3D44}"/>
              </a:ext>
            </a:extLst>
          </p:cNvPr>
          <p:cNvGrpSpPr/>
          <p:nvPr/>
        </p:nvGrpSpPr>
        <p:grpSpPr>
          <a:xfrm>
            <a:off x="959641" y="4350308"/>
            <a:ext cx="3367546" cy="1679737"/>
            <a:chOff x="942295" y="4145766"/>
            <a:chExt cx="3367546" cy="1679737"/>
          </a:xfrm>
        </p:grpSpPr>
        <p:sp>
          <p:nvSpPr>
            <p:cNvPr id="9" name="i$ḻiḓé">
              <a:extLst>
                <a:ext uri="{FF2B5EF4-FFF2-40B4-BE49-F238E27FC236}">
                  <a16:creationId xmlns:a16="http://schemas.microsoft.com/office/drawing/2014/main" id="{F5B0BCD3-BAC3-490C-B8F4-C712325E0367}"/>
                </a:ext>
              </a:extLst>
            </p:cNvPr>
            <p:cNvSpPr/>
            <p:nvPr/>
          </p:nvSpPr>
          <p:spPr>
            <a:xfrm>
              <a:off x="942295" y="4637729"/>
              <a:ext cx="2956606" cy="309245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îṩḷiďê">
              <a:extLst>
                <a:ext uri="{FF2B5EF4-FFF2-40B4-BE49-F238E27FC236}">
                  <a16:creationId xmlns:a16="http://schemas.microsoft.com/office/drawing/2014/main" id="{6486D347-CFB7-4F95-99D2-E4D554E00BF3}"/>
                </a:ext>
              </a:extLst>
            </p:cNvPr>
            <p:cNvSpPr/>
            <p:nvPr/>
          </p:nvSpPr>
          <p:spPr bwMode="auto">
            <a:xfrm>
              <a:off x="942295" y="4946974"/>
              <a:ext cx="2956606" cy="878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914400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ïśľiḓê">
              <a:extLst>
                <a:ext uri="{FF2B5EF4-FFF2-40B4-BE49-F238E27FC236}">
                  <a16:creationId xmlns:a16="http://schemas.microsoft.com/office/drawing/2014/main" id="{B315166C-232B-4117-A734-5780B8319654}"/>
                </a:ext>
              </a:extLst>
            </p:cNvPr>
            <p:cNvSpPr/>
            <p:nvPr/>
          </p:nvSpPr>
          <p:spPr>
            <a:xfrm>
              <a:off x="2923497" y="4145766"/>
              <a:ext cx="1386344" cy="983926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en-US" altLang="zh-CN" sz="5400" b="1" dirty="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</a:p>
          </p:txBody>
        </p:sp>
      </p:grpSp>
      <p:grpSp>
        <p:nvGrpSpPr>
          <p:cNvPr id="12" name="iśḻídê">
            <a:extLst>
              <a:ext uri="{FF2B5EF4-FFF2-40B4-BE49-F238E27FC236}">
                <a16:creationId xmlns:a16="http://schemas.microsoft.com/office/drawing/2014/main" id="{D09A05DC-9133-40B1-BE4C-38F08FA049B7}"/>
              </a:ext>
            </a:extLst>
          </p:cNvPr>
          <p:cNvGrpSpPr/>
          <p:nvPr/>
        </p:nvGrpSpPr>
        <p:grpSpPr>
          <a:xfrm>
            <a:off x="4616903" y="4350308"/>
            <a:ext cx="3367545" cy="1679737"/>
            <a:chOff x="4616903" y="4056865"/>
            <a:chExt cx="3367545" cy="1679737"/>
          </a:xfrm>
        </p:grpSpPr>
        <p:sp>
          <p:nvSpPr>
            <p:cNvPr id="13" name="íşľîďè">
              <a:extLst>
                <a:ext uri="{FF2B5EF4-FFF2-40B4-BE49-F238E27FC236}">
                  <a16:creationId xmlns:a16="http://schemas.microsoft.com/office/drawing/2014/main" id="{67C0194A-6954-4BCB-98A7-E76DF24791E3}"/>
                </a:ext>
              </a:extLst>
            </p:cNvPr>
            <p:cNvSpPr/>
            <p:nvPr/>
          </p:nvSpPr>
          <p:spPr>
            <a:xfrm>
              <a:off x="4616903" y="4548828"/>
              <a:ext cx="2956606" cy="309245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ŝ1ïdè">
              <a:extLst>
                <a:ext uri="{FF2B5EF4-FFF2-40B4-BE49-F238E27FC236}">
                  <a16:creationId xmlns:a16="http://schemas.microsoft.com/office/drawing/2014/main" id="{6BB86639-CCE9-448E-995C-40A31914CB24}"/>
                </a:ext>
              </a:extLst>
            </p:cNvPr>
            <p:cNvSpPr/>
            <p:nvPr/>
          </p:nvSpPr>
          <p:spPr bwMode="auto">
            <a:xfrm>
              <a:off x="4616903" y="4858073"/>
              <a:ext cx="2956606" cy="878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914400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ïślïḍê">
              <a:extLst>
                <a:ext uri="{FF2B5EF4-FFF2-40B4-BE49-F238E27FC236}">
                  <a16:creationId xmlns:a16="http://schemas.microsoft.com/office/drawing/2014/main" id="{98D7D21B-317E-4521-BE04-01F83384FA71}"/>
                </a:ext>
              </a:extLst>
            </p:cNvPr>
            <p:cNvSpPr/>
            <p:nvPr/>
          </p:nvSpPr>
          <p:spPr>
            <a:xfrm>
              <a:off x="6598104" y="4056865"/>
              <a:ext cx="1386344" cy="983926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en-US" altLang="zh-CN" sz="5400" b="1" dirty="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</a:p>
          </p:txBody>
        </p:sp>
      </p:grpSp>
      <p:grpSp>
        <p:nvGrpSpPr>
          <p:cNvPr id="16" name="ïṩ1íḍé">
            <a:extLst>
              <a:ext uri="{FF2B5EF4-FFF2-40B4-BE49-F238E27FC236}">
                <a16:creationId xmlns:a16="http://schemas.microsoft.com/office/drawing/2014/main" id="{B13611F9-98C7-4B75-8A9D-2888C0448534}"/>
              </a:ext>
            </a:extLst>
          </p:cNvPr>
          <p:cNvGrpSpPr/>
          <p:nvPr/>
        </p:nvGrpSpPr>
        <p:grpSpPr>
          <a:xfrm>
            <a:off x="8274165" y="4350308"/>
            <a:ext cx="3467261" cy="1679737"/>
            <a:chOff x="8293099" y="4078927"/>
            <a:chExt cx="3467261" cy="1679737"/>
          </a:xfrm>
        </p:grpSpPr>
        <p:sp>
          <p:nvSpPr>
            <p:cNvPr id="17" name="ïṣļiḑé">
              <a:extLst>
                <a:ext uri="{FF2B5EF4-FFF2-40B4-BE49-F238E27FC236}">
                  <a16:creationId xmlns:a16="http://schemas.microsoft.com/office/drawing/2014/main" id="{C1534DED-077F-4867-BDC2-E049795780D3}"/>
                </a:ext>
              </a:extLst>
            </p:cNvPr>
            <p:cNvSpPr/>
            <p:nvPr/>
          </p:nvSpPr>
          <p:spPr>
            <a:xfrm>
              <a:off x="8293099" y="4570890"/>
              <a:ext cx="2956606" cy="309245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îṡḻïďê">
              <a:extLst>
                <a:ext uri="{FF2B5EF4-FFF2-40B4-BE49-F238E27FC236}">
                  <a16:creationId xmlns:a16="http://schemas.microsoft.com/office/drawing/2014/main" id="{49DD7595-E6C4-4745-AB41-B0A046FDF85C}"/>
                </a:ext>
              </a:extLst>
            </p:cNvPr>
            <p:cNvSpPr/>
            <p:nvPr/>
          </p:nvSpPr>
          <p:spPr bwMode="auto">
            <a:xfrm>
              <a:off x="8293099" y="4880135"/>
              <a:ext cx="2956606" cy="8785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defTabSz="914400">
                <a:lnSpc>
                  <a:spcPct val="15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iśļíḓé">
              <a:extLst>
                <a:ext uri="{FF2B5EF4-FFF2-40B4-BE49-F238E27FC236}">
                  <a16:creationId xmlns:a16="http://schemas.microsoft.com/office/drawing/2014/main" id="{3406AD31-3DFD-4C2E-836F-DB3D6810DF4E}"/>
                </a:ext>
              </a:extLst>
            </p:cNvPr>
            <p:cNvSpPr/>
            <p:nvPr/>
          </p:nvSpPr>
          <p:spPr>
            <a:xfrm>
              <a:off x="10274300" y="4078927"/>
              <a:ext cx="1486060" cy="983926"/>
            </a:xfrm>
            <a:prstGeom prst="rect">
              <a:avLst/>
            </a:prstGeom>
            <a:noFill/>
            <a:ln w="762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r>
                <a:rPr lang="en-US" altLang="zh-CN" sz="5400" b="1" dirty="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</a:p>
          </p:txBody>
        </p:sp>
      </p:grpSp>
      <p:sp>
        <p:nvSpPr>
          <p:cNvPr id="20" name="iṩlíḓe">
            <a:extLst>
              <a:ext uri="{FF2B5EF4-FFF2-40B4-BE49-F238E27FC236}">
                <a16:creationId xmlns:a16="http://schemas.microsoft.com/office/drawing/2014/main" id="{B3228FFB-F4EB-43CB-8A22-BED92E66EF40}"/>
              </a:ext>
            </a:extLst>
          </p:cNvPr>
          <p:cNvSpPr/>
          <p:nvPr/>
        </p:nvSpPr>
        <p:spPr>
          <a:xfrm>
            <a:off x="669926" y="4246580"/>
            <a:ext cx="3536039" cy="45719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3765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îṧľíḍé">
            <a:extLst>
              <a:ext uri="{FF2B5EF4-FFF2-40B4-BE49-F238E27FC236}">
                <a16:creationId xmlns:a16="http://schemas.microsoft.com/office/drawing/2014/main" id="{FB7B85C2-5CEB-485F-AD0A-A4F7EC8C52F3}"/>
              </a:ext>
            </a:extLst>
          </p:cNvPr>
          <p:cNvSpPr/>
          <p:nvPr/>
        </p:nvSpPr>
        <p:spPr>
          <a:xfrm>
            <a:off x="4327187" y="4246580"/>
            <a:ext cx="3536039" cy="45719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25000" lnSpcReduction="20000"/>
          </a:bodyPr>
          <a:lstStyle/>
          <a:p>
            <a:pPr algn="ctr" defTabSz="913765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" name="ïSḻîḋe">
            <a:extLst>
              <a:ext uri="{FF2B5EF4-FFF2-40B4-BE49-F238E27FC236}">
                <a16:creationId xmlns:a16="http://schemas.microsoft.com/office/drawing/2014/main" id="{4DFEEC7C-B6B8-4648-B6CF-919B837C8492}"/>
              </a:ext>
            </a:extLst>
          </p:cNvPr>
          <p:cNvSpPr/>
          <p:nvPr/>
        </p:nvSpPr>
        <p:spPr>
          <a:xfrm>
            <a:off x="7984448" y="4240846"/>
            <a:ext cx="3536039" cy="45719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 defTabSz="913765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8439AE94-A583-4530-99C4-53F7B7741443}"/>
              </a:ext>
            </a:extLst>
          </p:cNvPr>
          <p:cNvGrpSpPr/>
          <p:nvPr/>
        </p:nvGrpSpPr>
        <p:grpSpPr>
          <a:xfrm>
            <a:off x="9634506" y="0"/>
            <a:ext cx="1885982" cy="2934802"/>
            <a:chOff x="9634506" y="0"/>
            <a:chExt cx="1885982" cy="2934802"/>
          </a:xfrm>
        </p:grpSpPr>
        <p:sp>
          <p:nvSpPr>
            <p:cNvPr id="24" name="i$ľïďè">
              <a:extLst>
                <a:ext uri="{FF2B5EF4-FFF2-40B4-BE49-F238E27FC236}">
                  <a16:creationId xmlns:a16="http://schemas.microsoft.com/office/drawing/2014/main" id="{DC3933D4-FD7F-4355-B59A-30A3610616B3}"/>
                </a:ext>
              </a:extLst>
            </p:cNvPr>
            <p:cNvSpPr/>
            <p:nvPr/>
          </p:nvSpPr>
          <p:spPr>
            <a:xfrm>
              <a:off x="9634506" y="0"/>
              <a:ext cx="1885982" cy="2934802"/>
            </a:xfrm>
            <a:prstGeom prst="rect">
              <a:avLst/>
            </a:prstGeom>
            <a:solidFill>
              <a:schemeClr val="accent1"/>
            </a:solidFill>
            <a:ln w="38100" cap="rnd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 defTabSz="913765"/>
              <a:endParaRPr lang="en-US" altLang="zh-CN" sz="20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pPr algn="ctr" defTabSz="913765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íśḷiďê">
              <a:extLst>
                <a:ext uri="{FF2B5EF4-FFF2-40B4-BE49-F238E27FC236}">
                  <a16:creationId xmlns:a16="http://schemas.microsoft.com/office/drawing/2014/main" id="{353FBE93-F245-48AA-9B52-58F92E9C08CF}"/>
                </a:ext>
              </a:extLst>
            </p:cNvPr>
            <p:cNvSpPr/>
            <p:nvPr/>
          </p:nvSpPr>
          <p:spPr>
            <a:xfrm>
              <a:off x="9814999" y="1070558"/>
              <a:ext cx="1685333" cy="83099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2400" b="1" dirty="0">
                  <a:solidFill>
                    <a:schemeClr val="bg1"/>
                  </a:solidFill>
                  <a:cs typeface="+mn-ea"/>
                  <a:sym typeface="+mn-lt"/>
                </a:rPr>
                <a:t>Enter the </a:t>
              </a:r>
              <a:endParaRPr lang="en-US" altLang="zh-CN" sz="2400" b="1" dirty="0">
                <a:solidFill>
                  <a:schemeClr val="bg1"/>
                </a:solidFill>
                <a:cs typeface="+mn-ea"/>
                <a:sym typeface="+mn-lt"/>
              </a:endParaRPr>
            </a:p>
            <a:p>
              <a:r>
                <a:rPr lang="zh-CN" altLang="en-US" sz="2400" b="1" dirty="0">
                  <a:solidFill>
                    <a:schemeClr val="bg1"/>
                  </a:solidFill>
                  <a:cs typeface="+mn-ea"/>
                  <a:sym typeface="+mn-lt"/>
                </a:rPr>
                <a:t>title</a:t>
              </a:r>
              <a:endParaRPr lang="en-US" altLang="zh-CN" sz="2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26" name="直接连接符 25">
              <a:extLst>
                <a:ext uri="{FF2B5EF4-FFF2-40B4-BE49-F238E27FC236}">
                  <a16:creationId xmlns:a16="http://schemas.microsoft.com/office/drawing/2014/main" id="{4F7B9F0F-E2DA-450C-ACFC-A62B40C34B1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332777" y="1742710"/>
              <a:ext cx="489441" cy="489440"/>
            </a:xfrm>
            <a:prstGeom prst="line">
              <a:avLst/>
            </a:prstGeom>
            <a:ln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ïśļíḓê">
              <a:extLst>
                <a:ext uri="{FF2B5EF4-FFF2-40B4-BE49-F238E27FC236}">
                  <a16:creationId xmlns:a16="http://schemas.microsoft.com/office/drawing/2014/main" id="{1A8A5C2C-E926-4703-9497-E570A4DDC0A0}"/>
                </a:ext>
              </a:extLst>
            </p:cNvPr>
            <p:cNvSpPr/>
            <p:nvPr/>
          </p:nvSpPr>
          <p:spPr>
            <a:xfrm>
              <a:off x="9634506" y="2250174"/>
              <a:ext cx="1560733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en-US" altLang="zh-CN" sz="3200" dirty="0">
                  <a:solidFill>
                    <a:schemeClr val="bg1"/>
                  </a:solidFill>
                  <a:cs typeface="+mn-ea"/>
                  <a:sym typeface="+mn-lt"/>
                </a:rPr>
                <a:t>12000</a:t>
              </a:r>
              <a:endParaRPr lang="zh-CN" altLang="en-US" sz="3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495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750"/>
                            </p:stCondLst>
                            <p:childTnLst>
                              <p:par>
                                <p:cTn id="3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250"/>
                            </p:stCondLst>
                            <p:childTnLst>
                              <p:par>
                                <p:cTn id="4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6000"/>
                            </p:stCondLst>
                            <p:childTnLst>
                              <p:par>
                                <p:cTn id="5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750"/>
                            </p:stCondLst>
                            <p:childTnLst>
                              <p:par>
                                <p:cTn id="5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 animBg="1"/>
      <p:bldP spid="6" grpId="0" animBg="1"/>
      <p:bldP spid="7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38209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roduct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3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iṧḷîďè">
            <a:extLst>
              <a:ext uri="{FF2B5EF4-FFF2-40B4-BE49-F238E27FC236}">
                <a16:creationId xmlns:a16="http://schemas.microsoft.com/office/drawing/2014/main" id="{C87054F3-3B6D-4F61-805C-056FEEC0A1CF}"/>
              </a:ext>
            </a:extLst>
          </p:cNvPr>
          <p:cNvGrpSpPr/>
          <p:nvPr/>
        </p:nvGrpSpPr>
        <p:grpSpPr>
          <a:xfrm>
            <a:off x="3637104" y="1567514"/>
            <a:ext cx="4969400" cy="5009662"/>
            <a:chOff x="3604950" y="1127369"/>
            <a:chExt cx="4969400" cy="5009662"/>
          </a:xfrm>
        </p:grpSpPr>
        <p:sp>
          <p:nvSpPr>
            <p:cNvPr id="6" name="iSľîḓè">
              <a:extLst>
                <a:ext uri="{FF2B5EF4-FFF2-40B4-BE49-F238E27FC236}">
                  <a16:creationId xmlns:a16="http://schemas.microsoft.com/office/drawing/2014/main" id="{C197B16F-3EF6-4BBB-8ACA-F56F6B9B6F4B}"/>
                </a:ext>
              </a:extLst>
            </p:cNvPr>
            <p:cNvSpPr/>
            <p:nvPr/>
          </p:nvSpPr>
          <p:spPr>
            <a:xfrm>
              <a:off x="4065080" y="1543455"/>
              <a:ext cx="3916853" cy="3916853"/>
            </a:xfrm>
            <a:prstGeom prst="ellips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" name="îš1îḋe">
              <a:extLst>
                <a:ext uri="{FF2B5EF4-FFF2-40B4-BE49-F238E27FC236}">
                  <a16:creationId xmlns:a16="http://schemas.microsoft.com/office/drawing/2014/main" id="{BA16331C-5AF4-449F-9B8E-BA64B10AF259}"/>
                </a:ext>
              </a:extLst>
            </p:cNvPr>
            <p:cNvSpPr/>
            <p:nvPr/>
          </p:nvSpPr>
          <p:spPr>
            <a:xfrm>
              <a:off x="5917102" y="3479783"/>
              <a:ext cx="2657248" cy="2657248"/>
            </a:xfrm>
            <a:prstGeom prst="ellips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8" name="íṧ1îḑè">
              <a:extLst>
                <a:ext uri="{FF2B5EF4-FFF2-40B4-BE49-F238E27FC236}">
                  <a16:creationId xmlns:a16="http://schemas.microsoft.com/office/drawing/2014/main" id="{5D326669-1238-4892-8463-9B6429112C1C}"/>
                </a:ext>
              </a:extLst>
            </p:cNvPr>
            <p:cNvSpPr/>
            <p:nvPr/>
          </p:nvSpPr>
          <p:spPr>
            <a:xfrm>
              <a:off x="3604950" y="1127369"/>
              <a:ext cx="1967054" cy="1967054"/>
            </a:xfrm>
            <a:prstGeom prst="ellipse">
              <a:avLst/>
            </a:prstGeom>
            <a:noFill/>
            <a:ln w="19050" cap="rnd">
              <a:solidFill>
                <a:schemeClr val="bg1">
                  <a:lumMod val="75000"/>
                </a:schemeClr>
              </a:solidFill>
              <a:prstDash val="sysDot"/>
              <a:rou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ïslîde">
              <a:extLst>
                <a:ext uri="{FF2B5EF4-FFF2-40B4-BE49-F238E27FC236}">
                  <a16:creationId xmlns:a16="http://schemas.microsoft.com/office/drawing/2014/main" id="{53AA44DC-1B0A-4B23-9CF8-DE2D3A72A307}"/>
                </a:ext>
              </a:extLst>
            </p:cNvPr>
            <p:cNvSpPr/>
            <p:nvPr/>
          </p:nvSpPr>
          <p:spPr>
            <a:xfrm>
              <a:off x="3902626" y="1559225"/>
              <a:ext cx="1041044" cy="1041043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</a:ln>
            <a:effectLst>
              <a:outerShdw blurRad="38100" dist="38100" dir="2700000" sx="105000" sy="105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íSľidè">
              <a:extLst>
                <a:ext uri="{FF2B5EF4-FFF2-40B4-BE49-F238E27FC236}">
                  <a16:creationId xmlns:a16="http://schemas.microsoft.com/office/drawing/2014/main" id="{11B3A6EF-8CF9-47CA-B5AF-8F1F1C79E753}"/>
                </a:ext>
              </a:extLst>
            </p:cNvPr>
            <p:cNvSpPr/>
            <p:nvPr/>
          </p:nvSpPr>
          <p:spPr>
            <a:xfrm>
              <a:off x="6665213" y="1606639"/>
              <a:ext cx="1322873" cy="1322873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76200" cap="flat" cmpd="sng" algn="ctr">
              <a:noFill/>
              <a:prstDash val="solid"/>
              <a:miter lim="800000"/>
            </a:ln>
            <a:effectLst>
              <a:outerShdw blurRad="38100" dist="38100" dir="2700000" sx="105000" sy="105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i$ḻïdè">
              <a:extLst>
                <a:ext uri="{FF2B5EF4-FFF2-40B4-BE49-F238E27FC236}">
                  <a16:creationId xmlns:a16="http://schemas.microsoft.com/office/drawing/2014/main" id="{A817E079-B84D-43AA-9092-07889286C34F}"/>
                </a:ext>
              </a:extLst>
            </p:cNvPr>
            <p:cNvSpPr/>
            <p:nvPr/>
          </p:nvSpPr>
          <p:spPr>
            <a:xfrm>
              <a:off x="6161527" y="3742513"/>
              <a:ext cx="1863525" cy="1863525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</a:ln>
            <a:effectLst>
              <a:outerShdw blurRad="38100" dist="38100" dir="2700000" sx="105000" sy="105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iṣḷîḑê">
              <a:extLst>
                <a:ext uri="{FF2B5EF4-FFF2-40B4-BE49-F238E27FC236}">
                  <a16:creationId xmlns:a16="http://schemas.microsoft.com/office/drawing/2014/main" id="{1FF029BC-D0E0-4A2D-8F97-A2D1F0E52232}"/>
                </a:ext>
              </a:extLst>
            </p:cNvPr>
            <p:cNvSpPr/>
            <p:nvPr/>
          </p:nvSpPr>
          <p:spPr>
            <a:xfrm>
              <a:off x="3643804" y="3587579"/>
              <a:ext cx="1690976" cy="169097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76200" cap="flat" cmpd="sng" algn="ctr">
              <a:noFill/>
              <a:prstDash val="solid"/>
              <a:miter lim="800000"/>
            </a:ln>
            <a:effectLst>
              <a:outerShdw blurRad="38100" dist="38100" dir="2700000" sx="105000" sy="105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íṩľiḍê">
              <a:extLst>
                <a:ext uri="{FF2B5EF4-FFF2-40B4-BE49-F238E27FC236}">
                  <a16:creationId xmlns:a16="http://schemas.microsoft.com/office/drawing/2014/main" id="{9230FC34-4622-4CD0-9A01-E6519D53563E}"/>
                </a:ext>
              </a:extLst>
            </p:cNvPr>
            <p:cNvSpPr/>
            <p:nvPr/>
          </p:nvSpPr>
          <p:spPr>
            <a:xfrm>
              <a:off x="5379233" y="1559225"/>
              <a:ext cx="118001" cy="11800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îSḷíḍè">
              <a:extLst>
                <a:ext uri="{FF2B5EF4-FFF2-40B4-BE49-F238E27FC236}">
                  <a16:creationId xmlns:a16="http://schemas.microsoft.com/office/drawing/2014/main" id="{9769F6E5-3545-4E35-BFD8-50D9B8EB57F6}"/>
                </a:ext>
              </a:extLst>
            </p:cNvPr>
            <p:cNvSpPr/>
            <p:nvPr/>
          </p:nvSpPr>
          <p:spPr>
            <a:xfrm>
              <a:off x="6017662" y="5401307"/>
              <a:ext cx="118001" cy="11800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íṡ1íḍé">
              <a:extLst>
                <a:ext uri="{FF2B5EF4-FFF2-40B4-BE49-F238E27FC236}">
                  <a16:creationId xmlns:a16="http://schemas.microsoft.com/office/drawing/2014/main" id="{67CD3450-37C2-44F4-AF6B-98EAF40F76E0}"/>
                </a:ext>
              </a:extLst>
            </p:cNvPr>
            <p:cNvSpPr/>
            <p:nvPr/>
          </p:nvSpPr>
          <p:spPr>
            <a:xfrm>
              <a:off x="7922931" y="3640826"/>
              <a:ext cx="118001" cy="11800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dk1"/>
                  </a:solidFill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ïṡḻïḑe">
              <a:extLst>
                <a:ext uri="{FF2B5EF4-FFF2-40B4-BE49-F238E27FC236}">
                  <a16:creationId xmlns:a16="http://schemas.microsoft.com/office/drawing/2014/main" id="{23403F5F-8E6C-47BE-BFA4-361E592EB812}"/>
                </a:ext>
              </a:extLst>
            </p:cNvPr>
            <p:cNvSpPr/>
            <p:nvPr/>
          </p:nvSpPr>
          <p:spPr>
            <a:xfrm>
              <a:off x="4638833" y="2249419"/>
              <a:ext cx="2444439" cy="2444439"/>
            </a:xfrm>
            <a:prstGeom prst="ellipse">
              <a:avLst/>
            </a:prstGeom>
            <a:blipFill>
              <a:blip r:embed="rId3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76200" cap="flat" cmpd="sng" algn="ctr">
              <a:noFill/>
              <a:prstDash val="solid"/>
              <a:miter lim="800000"/>
            </a:ln>
            <a:effectLst>
              <a:outerShdw blurRad="38100" dist="38100" dir="2700000" sx="105000" sy="105000" algn="tl" rotWithShape="0">
                <a:prstClr val="black">
                  <a:alpha val="1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iŝḷïḋê">
              <a:extLst>
                <a:ext uri="{FF2B5EF4-FFF2-40B4-BE49-F238E27FC236}">
                  <a16:creationId xmlns:a16="http://schemas.microsoft.com/office/drawing/2014/main" id="{F3B62A0D-60BC-4AD0-9080-738AA47D32EE}"/>
                </a:ext>
              </a:extLst>
            </p:cNvPr>
            <p:cNvSpPr/>
            <p:nvPr/>
          </p:nvSpPr>
          <p:spPr>
            <a:xfrm>
              <a:off x="4273869" y="1878391"/>
              <a:ext cx="298558" cy="402710"/>
            </a:xfrm>
            <a:custGeom>
              <a:avLst/>
              <a:gdLst>
                <a:gd name="connsiteX0" fmla="*/ 363366 w 449447"/>
                <a:gd name="connsiteY0" fmla="*/ 179144 h 606236"/>
                <a:gd name="connsiteX1" fmla="*/ 377720 w 449447"/>
                <a:gd name="connsiteY1" fmla="*/ 197780 h 606236"/>
                <a:gd name="connsiteX2" fmla="*/ 376285 w 449447"/>
                <a:gd name="connsiteY2" fmla="*/ 202081 h 606236"/>
                <a:gd name="connsiteX3" fmla="*/ 215517 w 449447"/>
                <a:gd name="connsiteY3" fmla="*/ 424280 h 606236"/>
                <a:gd name="connsiteX4" fmla="*/ 212646 w 449447"/>
                <a:gd name="connsiteY4" fmla="*/ 427147 h 606236"/>
                <a:gd name="connsiteX5" fmla="*/ 211211 w 449447"/>
                <a:gd name="connsiteY5" fmla="*/ 427147 h 606236"/>
                <a:gd name="connsiteX6" fmla="*/ 208340 w 449447"/>
                <a:gd name="connsiteY6" fmla="*/ 425714 h 606236"/>
                <a:gd name="connsiteX7" fmla="*/ 90635 w 449447"/>
                <a:gd name="connsiteY7" fmla="*/ 306729 h 606236"/>
                <a:gd name="connsiteX8" fmla="*/ 126521 w 449447"/>
                <a:gd name="connsiteY8" fmla="*/ 276625 h 606236"/>
                <a:gd name="connsiteX9" fmla="*/ 191115 w 449447"/>
                <a:gd name="connsiteY9" fmla="*/ 326799 h 606236"/>
                <a:gd name="connsiteX10" fmla="*/ 363366 w 449447"/>
                <a:gd name="connsiteY10" fmla="*/ 179144 h 606236"/>
                <a:gd name="connsiteX11" fmla="*/ 224006 w 449447"/>
                <a:gd name="connsiteY11" fmla="*/ 65927 h 606236"/>
                <a:gd name="connsiteX12" fmla="*/ 218262 w 449447"/>
                <a:gd name="connsiteY12" fmla="*/ 70226 h 606236"/>
                <a:gd name="connsiteX13" fmla="*/ 56001 w 449447"/>
                <a:gd name="connsiteY13" fmla="*/ 123254 h 606236"/>
                <a:gd name="connsiteX14" fmla="*/ 48822 w 449447"/>
                <a:gd name="connsiteY14" fmla="*/ 130420 h 606236"/>
                <a:gd name="connsiteX15" fmla="*/ 48822 w 449447"/>
                <a:gd name="connsiteY15" fmla="*/ 365462 h 606236"/>
                <a:gd name="connsiteX16" fmla="*/ 221134 w 449447"/>
                <a:gd name="connsiteY16" fmla="*/ 538877 h 606236"/>
                <a:gd name="connsiteX17" fmla="*/ 224006 w 449447"/>
                <a:gd name="connsiteY17" fmla="*/ 540310 h 606236"/>
                <a:gd name="connsiteX18" fmla="*/ 226877 w 449447"/>
                <a:gd name="connsiteY18" fmla="*/ 538877 h 606236"/>
                <a:gd name="connsiteX19" fmla="*/ 400625 w 449447"/>
                <a:gd name="connsiteY19" fmla="*/ 365462 h 606236"/>
                <a:gd name="connsiteX20" fmla="*/ 400625 w 449447"/>
                <a:gd name="connsiteY20" fmla="*/ 130420 h 606236"/>
                <a:gd name="connsiteX21" fmla="*/ 393446 w 449447"/>
                <a:gd name="connsiteY21" fmla="*/ 123254 h 606236"/>
                <a:gd name="connsiteX22" fmla="*/ 231185 w 449447"/>
                <a:gd name="connsiteY22" fmla="*/ 70226 h 606236"/>
                <a:gd name="connsiteX23" fmla="*/ 224006 w 449447"/>
                <a:gd name="connsiteY23" fmla="*/ 65927 h 606236"/>
                <a:gd name="connsiteX24" fmla="*/ 224006 w 449447"/>
                <a:gd name="connsiteY24" fmla="*/ 0 h 606236"/>
                <a:gd name="connsiteX25" fmla="*/ 232621 w 449447"/>
                <a:gd name="connsiteY25" fmla="*/ 5733 h 606236"/>
                <a:gd name="connsiteX26" fmla="*/ 440831 w 449447"/>
                <a:gd name="connsiteY26" fmla="*/ 73093 h 606236"/>
                <a:gd name="connsiteX27" fmla="*/ 449447 w 449447"/>
                <a:gd name="connsiteY27" fmla="*/ 81692 h 606236"/>
                <a:gd name="connsiteX28" fmla="*/ 449447 w 449447"/>
                <a:gd name="connsiteY28" fmla="*/ 384093 h 606236"/>
                <a:gd name="connsiteX29" fmla="*/ 228313 w 449447"/>
                <a:gd name="connsiteY29" fmla="*/ 604803 h 606236"/>
                <a:gd name="connsiteX30" fmla="*/ 224006 w 449447"/>
                <a:gd name="connsiteY30" fmla="*/ 606236 h 606236"/>
                <a:gd name="connsiteX31" fmla="*/ 221134 w 449447"/>
                <a:gd name="connsiteY31" fmla="*/ 604803 h 606236"/>
                <a:gd name="connsiteX32" fmla="*/ 0 w 449447"/>
                <a:gd name="connsiteY32" fmla="*/ 384093 h 606236"/>
                <a:gd name="connsiteX33" fmla="*/ 0 w 449447"/>
                <a:gd name="connsiteY33" fmla="*/ 81692 h 606236"/>
                <a:gd name="connsiteX34" fmla="*/ 8616 w 449447"/>
                <a:gd name="connsiteY34" fmla="*/ 73093 h 606236"/>
                <a:gd name="connsiteX35" fmla="*/ 216826 w 449447"/>
                <a:gd name="connsiteY35" fmla="*/ 5733 h 606236"/>
                <a:gd name="connsiteX36" fmla="*/ 224006 w 449447"/>
                <a:gd name="connsiteY36" fmla="*/ 0 h 60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9447" h="606236">
                  <a:moveTo>
                    <a:pt x="363366" y="179144"/>
                  </a:moveTo>
                  <a:cubicBezTo>
                    <a:pt x="364801" y="177710"/>
                    <a:pt x="377720" y="197780"/>
                    <a:pt x="377720" y="197780"/>
                  </a:cubicBezTo>
                  <a:cubicBezTo>
                    <a:pt x="377720" y="199213"/>
                    <a:pt x="377720" y="200647"/>
                    <a:pt x="376285" y="202081"/>
                  </a:cubicBezTo>
                  <a:cubicBezTo>
                    <a:pt x="297336" y="275191"/>
                    <a:pt x="234178" y="376973"/>
                    <a:pt x="215517" y="424280"/>
                  </a:cubicBezTo>
                  <a:cubicBezTo>
                    <a:pt x="215517" y="425714"/>
                    <a:pt x="214082" y="427147"/>
                    <a:pt x="212646" y="427147"/>
                  </a:cubicBezTo>
                  <a:cubicBezTo>
                    <a:pt x="211211" y="427147"/>
                    <a:pt x="211211" y="427147"/>
                    <a:pt x="211211" y="427147"/>
                  </a:cubicBezTo>
                  <a:cubicBezTo>
                    <a:pt x="209776" y="427147"/>
                    <a:pt x="208340" y="427147"/>
                    <a:pt x="208340" y="425714"/>
                  </a:cubicBezTo>
                  <a:lnTo>
                    <a:pt x="90635" y="306729"/>
                  </a:lnTo>
                  <a:cubicBezTo>
                    <a:pt x="89200" y="306729"/>
                    <a:pt x="125086" y="275191"/>
                    <a:pt x="126521" y="276625"/>
                  </a:cubicBezTo>
                  <a:lnTo>
                    <a:pt x="191115" y="326799"/>
                  </a:lnTo>
                  <a:cubicBezTo>
                    <a:pt x="216953" y="296695"/>
                    <a:pt x="278676" y="230751"/>
                    <a:pt x="363366" y="179144"/>
                  </a:cubicBezTo>
                  <a:close/>
                  <a:moveTo>
                    <a:pt x="224006" y="65927"/>
                  </a:moveTo>
                  <a:cubicBezTo>
                    <a:pt x="221134" y="65927"/>
                    <a:pt x="219698" y="67360"/>
                    <a:pt x="218262" y="70226"/>
                  </a:cubicBezTo>
                  <a:cubicBezTo>
                    <a:pt x="218262" y="70226"/>
                    <a:pt x="193851" y="123254"/>
                    <a:pt x="56001" y="123254"/>
                  </a:cubicBezTo>
                  <a:cubicBezTo>
                    <a:pt x="51694" y="123254"/>
                    <a:pt x="48822" y="126120"/>
                    <a:pt x="48822" y="130420"/>
                  </a:cubicBezTo>
                  <a:lnTo>
                    <a:pt x="48822" y="365462"/>
                  </a:lnTo>
                  <a:cubicBezTo>
                    <a:pt x="48822" y="462918"/>
                    <a:pt x="213954" y="536010"/>
                    <a:pt x="221134" y="538877"/>
                  </a:cubicBezTo>
                  <a:cubicBezTo>
                    <a:pt x="222570" y="540310"/>
                    <a:pt x="224006" y="540310"/>
                    <a:pt x="224006" y="540310"/>
                  </a:cubicBezTo>
                  <a:cubicBezTo>
                    <a:pt x="225441" y="540310"/>
                    <a:pt x="226877" y="540310"/>
                    <a:pt x="226877" y="538877"/>
                  </a:cubicBezTo>
                  <a:cubicBezTo>
                    <a:pt x="234057" y="536010"/>
                    <a:pt x="400625" y="462918"/>
                    <a:pt x="400625" y="365462"/>
                  </a:cubicBezTo>
                  <a:lnTo>
                    <a:pt x="400625" y="130420"/>
                  </a:lnTo>
                  <a:cubicBezTo>
                    <a:pt x="400625" y="126120"/>
                    <a:pt x="397753" y="123254"/>
                    <a:pt x="393446" y="123254"/>
                  </a:cubicBezTo>
                  <a:cubicBezTo>
                    <a:pt x="254160" y="123254"/>
                    <a:pt x="231185" y="70226"/>
                    <a:pt x="231185" y="70226"/>
                  </a:cubicBezTo>
                  <a:cubicBezTo>
                    <a:pt x="229749" y="67360"/>
                    <a:pt x="226877" y="65927"/>
                    <a:pt x="224006" y="65927"/>
                  </a:cubicBezTo>
                  <a:close/>
                  <a:moveTo>
                    <a:pt x="224006" y="0"/>
                  </a:moveTo>
                  <a:cubicBezTo>
                    <a:pt x="228313" y="0"/>
                    <a:pt x="231185" y="2867"/>
                    <a:pt x="232621" y="5733"/>
                  </a:cubicBezTo>
                  <a:cubicBezTo>
                    <a:pt x="232621" y="5733"/>
                    <a:pt x="262776" y="73093"/>
                    <a:pt x="440831" y="73093"/>
                  </a:cubicBezTo>
                  <a:cubicBezTo>
                    <a:pt x="445139" y="73093"/>
                    <a:pt x="449447" y="77392"/>
                    <a:pt x="449447" y="81692"/>
                  </a:cubicBezTo>
                  <a:lnTo>
                    <a:pt x="449447" y="384093"/>
                  </a:lnTo>
                  <a:cubicBezTo>
                    <a:pt x="449447" y="507347"/>
                    <a:pt x="236929" y="600503"/>
                    <a:pt x="228313" y="604803"/>
                  </a:cubicBezTo>
                  <a:cubicBezTo>
                    <a:pt x="226877" y="604803"/>
                    <a:pt x="225441" y="606236"/>
                    <a:pt x="224006" y="606236"/>
                  </a:cubicBezTo>
                  <a:cubicBezTo>
                    <a:pt x="222570" y="606236"/>
                    <a:pt x="222570" y="604803"/>
                    <a:pt x="221134" y="604803"/>
                  </a:cubicBezTo>
                  <a:cubicBezTo>
                    <a:pt x="212518" y="600503"/>
                    <a:pt x="0" y="507347"/>
                    <a:pt x="0" y="384093"/>
                  </a:cubicBezTo>
                  <a:lnTo>
                    <a:pt x="0" y="81692"/>
                  </a:lnTo>
                  <a:cubicBezTo>
                    <a:pt x="0" y="77392"/>
                    <a:pt x="2872" y="73093"/>
                    <a:pt x="8616" y="73093"/>
                  </a:cubicBezTo>
                  <a:cubicBezTo>
                    <a:pt x="185235" y="73093"/>
                    <a:pt x="215390" y="5733"/>
                    <a:pt x="216826" y="5733"/>
                  </a:cubicBezTo>
                  <a:cubicBezTo>
                    <a:pt x="218262" y="2867"/>
                    <a:pt x="221134" y="0"/>
                    <a:pt x="22400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îśļíḋé">
              <a:extLst>
                <a:ext uri="{FF2B5EF4-FFF2-40B4-BE49-F238E27FC236}">
                  <a16:creationId xmlns:a16="http://schemas.microsoft.com/office/drawing/2014/main" id="{DBBF029A-65B7-4419-86C9-345A190C3D3C}"/>
                </a:ext>
              </a:extLst>
            </p:cNvPr>
            <p:cNvSpPr/>
            <p:nvPr/>
          </p:nvSpPr>
          <p:spPr>
            <a:xfrm>
              <a:off x="7063744" y="2050045"/>
              <a:ext cx="525810" cy="436061"/>
            </a:xfrm>
            <a:custGeom>
              <a:avLst/>
              <a:gdLst>
                <a:gd name="connsiteX0" fmla="*/ 487366 w 608556"/>
                <a:gd name="connsiteY0" fmla="*/ 344359 h 504684"/>
                <a:gd name="connsiteX1" fmla="*/ 555009 w 608556"/>
                <a:gd name="connsiteY1" fmla="*/ 400299 h 504684"/>
                <a:gd name="connsiteX2" fmla="*/ 556199 w 608556"/>
                <a:gd name="connsiteY2" fmla="*/ 400299 h 504684"/>
                <a:gd name="connsiteX3" fmla="*/ 608556 w 608556"/>
                <a:gd name="connsiteY3" fmla="*/ 452492 h 504684"/>
                <a:gd name="connsiteX4" fmla="*/ 556199 w 608556"/>
                <a:gd name="connsiteY4" fmla="*/ 504684 h 504684"/>
                <a:gd name="connsiteX5" fmla="*/ 415512 w 608556"/>
                <a:gd name="connsiteY5" fmla="*/ 504684 h 504684"/>
                <a:gd name="connsiteX6" fmla="*/ 380912 w 608556"/>
                <a:gd name="connsiteY6" fmla="*/ 467208 h 504684"/>
                <a:gd name="connsiteX7" fmla="*/ 418441 w 608556"/>
                <a:gd name="connsiteY7" fmla="*/ 429640 h 504684"/>
                <a:gd name="connsiteX8" fmla="*/ 420638 w 608556"/>
                <a:gd name="connsiteY8" fmla="*/ 429915 h 504684"/>
                <a:gd name="connsiteX9" fmla="*/ 418441 w 608556"/>
                <a:gd name="connsiteY9" fmla="*/ 413096 h 504684"/>
                <a:gd name="connsiteX10" fmla="*/ 487366 w 608556"/>
                <a:gd name="connsiteY10" fmla="*/ 344359 h 504684"/>
                <a:gd name="connsiteX11" fmla="*/ 106454 w 608556"/>
                <a:gd name="connsiteY11" fmla="*/ 283602 h 504684"/>
                <a:gd name="connsiteX12" fmla="*/ 174097 w 608556"/>
                <a:gd name="connsiteY12" fmla="*/ 339534 h 504684"/>
                <a:gd name="connsiteX13" fmla="*/ 175378 w 608556"/>
                <a:gd name="connsiteY13" fmla="*/ 339534 h 504684"/>
                <a:gd name="connsiteX14" fmla="*/ 227644 w 608556"/>
                <a:gd name="connsiteY14" fmla="*/ 391720 h 504684"/>
                <a:gd name="connsiteX15" fmla="*/ 175378 w 608556"/>
                <a:gd name="connsiteY15" fmla="*/ 443997 h 504684"/>
                <a:gd name="connsiteX16" fmla="*/ 34600 w 608556"/>
                <a:gd name="connsiteY16" fmla="*/ 443997 h 504684"/>
                <a:gd name="connsiteX17" fmla="*/ 0 w 608556"/>
                <a:gd name="connsiteY17" fmla="*/ 406435 h 504684"/>
                <a:gd name="connsiteX18" fmla="*/ 37529 w 608556"/>
                <a:gd name="connsiteY18" fmla="*/ 368963 h 504684"/>
                <a:gd name="connsiteX19" fmla="*/ 39726 w 608556"/>
                <a:gd name="connsiteY19" fmla="*/ 369146 h 504684"/>
                <a:gd name="connsiteX20" fmla="*/ 37529 w 608556"/>
                <a:gd name="connsiteY20" fmla="*/ 352421 h 504684"/>
                <a:gd name="connsiteX21" fmla="*/ 106454 w 608556"/>
                <a:gd name="connsiteY21" fmla="*/ 283602 h 504684"/>
                <a:gd name="connsiteX22" fmla="*/ 284846 w 608556"/>
                <a:gd name="connsiteY22" fmla="*/ 180577 h 504684"/>
                <a:gd name="connsiteX23" fmla="*/ 325391 w 608556"/>
                <a:gd name="connsiteY23" fmla="*/ 180577 h 504684"/>
                <a:gd name="connsiteX24" fmla="*/ 325391 w 608556"/>
                <a:gd name="connsiteY24" fmla="*/ 257911 h 504684"/>
                <a:gd name="connsiteX25" fmla="*/ 351566 w 608556"/>
                <a:gd name="connsiteY25" fmla="*/ 299503 h 504684"/>
                <a:gd name="connsiteX26" fmla="*/ 351017 w 608556"/>
                <a:gd name="connsiteY26" fmla="*/ 305445 h 504684"/>
                <a:gd name="connsiteX27" fmla="*/ 422405 w 608556"/>
                <a:gd name="connsiteY27" fmla="*/ 352522 h 504684"/>
                <a:gd name="connsiteX28" fmla="*/ 402362 w 608556"/>
                <a:gd name="connsiteY28" fmla="*/ 387898 h 504684"/>
                <a:gd name="connsiteX29" fmla="*/ 328686 w 608556"/>
                <a:gd name="connsiteY29" fmla="*/ 339267 h 504684"/>
                <a:gd name="connsiteX30" fmla="*/ 305164 w 608556"/>
                <a:gd name="connsiteY30" fmla="*/ 345940 h 504684"/>
                <a:gd name="connsiteX31" fmla="*/ 272033 w 608556"/>
                <a:gd name="connsiteY31" fmla="*/ 331954 h 504684"/>
                <a:gd name="connsiteX32" fmla="*/ 231305 w 608556"/>
                <a:gd name="connsiteY32" fmla="*/ 345666 h 504684"/>
                <a:gd name="connsiteX33" fmla="*/ 189754 w 608556"/>
                <a:gd name="connsiteY33" fmla="*/ 320710 h 504684"/>
                <a:gd name="connsiteX34" fmla="*/ 188198 w 608556"/>
                <a:gd name="connsiteY34" fmla="*/ 317420 h 504684"/>
                <a:gd name="connsiteX35" fmla="*/ 259220 w 608556"/>
                <a:gd name="connsiteY35" fmla="*/ 293561 h 504684"/>
                <a:gd name="connsiteX36" fmla="*/ 284846 w 608556"/>
                <a:gd name="connsiteY36" fmla="*/ 257911 h 504684"/>
                <a:gd name="connsiteX37" fmla="*/ 296910 w 608556"/>
                <a:gd name="connsiteY37" fmla="*/ 0 h 504684"/>
                <a:gd name="connsiteX38" fmla="*/ 364553 w 608556"/>
                <a:gd name="connsiteY38" fmla="*/ 56024 h 504684"/>
                <a:gd name="connsiteX39" fmla="*/ 365743 w 608556"/>
                <a:gd name="connsiteY39" fmla="*/ 55932 h 504684"/>
                <a:gd name="connsiteX40" fmla="*/ 418100 w 608556"/>
                <a:gd name="connsiteY40" fmla="*/ 108118 h 504684"/>
                <a:gd name="connsiteX41" fmla="*/ 365743 w 608556"/>
                <a:gd name="connsiteY41" fmla="*/ 160395 h 504684"/>
                <a:gd name="connsiteX42" fmla="*/ 225056 w 608556"/>
                <a:gd name="connsiteY42" fmla="*/ 160395 h 504684"/>
                <a:gd name="connsiteX43" fmla="*/ 190456 w 608556"/>
                <a:gd name="connsiteY43" fmla="*/ 122832 h 504684"/>
                <a:gd name="connsiteX44" fmla="*/ 227985 w 608556"/>
                <a:gd name="connsiteY44" fmla="*/ 85361 h 504684"/>
                <a:gd name="connsiteX45" fmla="*/ 230182 w 608556"/>
                <a:gd name="connsiteY45" fmla="*/ 85544 h 504684"/>
                <a:gd name="connsiteX46" fmla="*/ 227985 w 608556"/>
                <a:gd name="connsiteY46" fmla="*/ 68819 h 504684"/>
                <a:gd name="connsiteX47" fmla="*/ 296910 w 608556"/>
                <a:gd name="connsiteY47" fmla="*/ 0 h 50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08556" h="504684">
                  <a:moveTo>
                    <a:pt x="487366" y="344359"/>
                  </a:moveTo>
                  <a:cubicBezTo>
                    <a:pt x="520958" y="344359"/>
                    <a:pt x="548968" y="368490"/>
                    <a:pt x="555009" y="400299"/>
                  </a:cubicBezTo>
                  <a:cubicBezTo>
                    <a:pt x="555375" y="400299"/>
                    <a:pt x="555833" y="400299"/>
                    <a:pt x="556199" y="400299"/>
                  </a:cubicBezTo>
                  <a:cubicBezTo>
                    <a:pt x="585123" y="400299"/>
                    <a:pt x="608556" y="423608"/>
                    <a:pt x="608556" y="452492"/>
                  </a:cubicBezTo>
                  <a:cubicBezTo>
                    <a:pt x="608556" y="481376"/>
                    <a:pt x="585123" y="504684"/>
                    <a:pt x="556199" y="504684"/>
                  </a:cubicBezTo>
                  <a:lnTo>
                    <a:pt x="415512" y="504684"/>
                  </a:lnTo>
                  <a:cubicBezTo>
                    <a:pt x="395924" y="503405"/>
                    <a:pt x="380912" y="487043"/>
                    <a:pt x="380912" y="467208"/>
                  </a:cubicBezTo>
                  <a:cubicBezTo>
                    <a:pt x="380912" y="446459"/>
                    <a:pt x="397754" y="429640"/>
                    <a:pt x="418441" y="429640"/>
                  </a:cubicBezTo>
                  <a:cubicBezTo>
                    <a:pt x="419173" y="429640"/>
                    <a:pt x="419905" y="429823"/>
                    <a:pt x="420638" y="429915"/>
                  </a:cubicBezTo>
                  <a:cubicBezTo>
                    <a:pt x="419265" y="424522"/>
                    <a:pt x="418441" y="418946"/>
                    <a:pt x="418441" y="413096"/>
                  </a:cubicBezTo>
                  <a:cubicBezTo>
                    <a:pt x="418441" y="375163"/>
                    <a:pt x="449288" y="344359"/>
                    <a:pt x="487366" y="344359"/>
                  </a:cubicBezTo>
                  <a:close/>
                  <a:moveTo>
                    <a:pt x="106454" y="283602"/>
                  </a:moveTo>
                  <a:cubicBezTo>
                    <a:pt x="140138" y="283602"/>
                    <a:pt x="168056" y="307730"/>
                    <a:pt x="174097" y="339534"/>
                  </a:cubicBezTo>
                  <a:cubicBezTo>
                    <a:pt x="174463" y="339534"/>
                    <a:pt x="174921" y="339534"/>
                    <a:pt x="175378" y="339534"/>
                  </a:cubicBezTo>
                  <a:cubicBezTo>
                    <a:pt x="204211" y="339534"/>
                    <a:pt x="227644" y="362840"/>
                    <a:pt x="227644" y="391720"/>
                  </a:cubicBezTo>
                  <a:cubicBezTo>
                    <a:pt x="227644" y="420601"/>
                    <a:pt x="204211" y="443997"/>
                    <a:pt x="175378" y="443997"/>
                  </a:cubicBezTo>
                  <a:lnTo>
                    <a:pt x="34600" y="443997"/>
                  </a:lnTo>
                  <a:cubicBezTo>
                    <a:pt x="15012" y="442626"/>
                    <a:pt x="0" y="426267"/>
                    <a:pt x="0" y="406435"/>
                  </a:cubicBezTo>
                  <a:cubicBezTo>
                    <a:pt x="0" y="385688"/>
                    <a:pt x="16842" y="368963"/>
                    <a:pt x="37529" y="368963"/>
                  </a:cubicBezTo>
                  <a:cubicBezTo>
                    <a:pt x="38261" y="368963"/>
                    <a:pt x="38993" y="369146"/>
                    <a:pt x="39726" y="369146"/>
                  </a:cubicBezTo>
                  <a:cubicBezTo>
                    <a:pt x="38353" y="363754"/>
                    <a:pt x="37529" y="358179"/>
                    <a:pt x="37529" y="352421"/>
                  </a:cubicBezTo>
                  <a:cubicBezTo>
                    <a:pt x="37529" y="314401"/>
                    <a:pt x="68376" y="283602"/>
                    <a:pt x="106454" y="283602"/>
                  </a:cubicBezTo>
                  <a:close/>
                  <a:moveTo>
                    <a:pt x="284846" y="180577"/>
                  </a:moveTo>
                  <a:lnTo>
                    <a:pt x="325391" y="180577"/>
                  </a:lnTo>
                  <a:lnTo>
                    <a:pt x="325391" y="257911"/>
                  </a:lnTo>
                  <a:cubicBezTo>
                    <a:pt x="340858" y="265407"/>
                    <a:pt x="351566" y="281129"/>
                    <a:pt x="351566" y="299503"/>
                  </a:cubicBezTo>
                  <a:cubicBezTo>
                    <a:pt x="351566" y="301514"/>
                    <a:pt x="351292" y="303525"/>
                    <a:pt x="351017" y="305445"/>
                  </a:cubicBezTo>
                  <a:lnTo>
                    <a:pt x="422405" y="352522"/>
                  </a:lnTo>
                  <a:cubicBezTo>
                    <a:pt x="413161" y="362486"/>
                    <a:pt x="406297" y="374552"/>
                    <a:pt x="402362" y="387898"/>
                  </a:cubicBezTo>
                  <a:lnTo>
                    <a:pt x="328686" y="339267"/>
                  </a:lnTo>
                  <a:cubicBezTo>
                    <a:pt x="321730" y="343380"/>
                    <a:pt x="313767" y="345940"/>
                    <a:pt x="305164" y="345940"/>
                  </a:cubicBezTo>
                  <a:cubicBezTo>
                    <a:pt x="292168" y="345940"/>
                    <a:pt x="280453" y="340547"/>
                    <a:pt x="272033" y="331954"/>
                  </a:cubicBezTo>
                  <a:lnTo>
                    <a:pt x="231305" y="345666"/>
                  </a:lnTo>
                  <a:cubicBezTo>
                    <a:pt x="220872" y="333051"/>
                    <a:pt x="206320" y="324093"/>
                    <a:pt x="189754" y="320710"/>
                  </a:cubicBezTo>
                  <a:cubicBezTo>
                    <a:pt x="189296" y="319522"/>
                    <a:pt x="188656" y="318517"/>
                    <a:pt x="188198" y="317420"/>
                  </a:cubicBezTo>
                  <a:lnTo>
                    <a:pt x="259220" y="293561"/>
                  </a:lnTo>
                  <a:cubicBezTo>
                    <a:pt x="261325" y="277747"/>
                    <a:pt x="271118" y="264584"/>
                    <a:pt x="284846" y="257911"/>
                  </a:cubicBezTo>
                  <a:close/>
                  <a:moveTo>
                    <a:pt x="296910" y="0"/>
                  </a:moveTo>
                  <a:cubicBezTo>
                    <a:pt x="330594" y="0"/>
                    <a:pt x="358512" y="24128"/>
                    <a:pt x="364553" y="56024"/>
                  </a:cubicBezTo>
                  <a:cubicBezTo>
                    <a:pt x="364919" y="56024"/>
                    <a:pt x="365377" y="55932"/>
                    <a:pt x="365743" y="55932"/>
                  </a:cubicBezTo>
                  <a:cubicBezTo>
                    <a:pt x="394667" y="55932"/>
                    <a:pt x="418100" y="79329"/>
                    <a:pt x="418100" y="108118"/>
                  </a:cubicBezTo>
                  <a:cubicBezTo>
                    <a:pt x="418100" y="136998"/>
                    <a:pt x="394667" y="160395"/>
                    <a:pt x="365743" y="160395"/>
                  </a:cubicBezTo>
                  <a:lnTo>
                    <a:pt x="225056" y="160395"/>
                  </a:lnTo>
                  <a:cubicBezTo>
                    <a:pt x="205468" y="159115"/>
                    <a:pt x="190456" y="142756"/>
                    <a:pt x="190456" y="122832"/>
                  </a:cubicBezTo>
                  <a:cubicBezTo>
                    <a:pt x="190456" y="102177"/>
                    <a:pt x="207298" y="85361"/>
                    <a:pt x="227985" y="85361"/>
                  </a:cubicBezTo>
                  <a:cubicBezTo>
                    <a:pt x="228717" y="85361"/>
                    <a:pt x="229449" y="85544"/>
                    <a:pt x="230182" y="85544"/>
                  </a:cubicBezTo>
                  <a:cubicBezTo>
                    <a:pt x="228809" y="80152"/>
                    <a:pt x="227985" y="74577"/>
                    <a:pt x="227985" y="68819"/>
                  </a:cubicBezTo>
                  <a:cubicBezTo>
                    <a:pt x="227985" y="30799"/>
                    <a:pt x="258832" y="0"/>
                    <a:pt x="296910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î$ļîḍê">
              <a:extLst>
                <a:ext uri="{FF2B5EF4-FFF2-40B4-BE49-F238E27FC236}">
                  <a16:creationId xmlns:a16="http://schemas.microsoft.com/office/drawing/2014/main" id="{BC776F92-DE2B-44AB-ABD8-B83C77F65C26}"/>
                </a:ext>
              </a:extLst>
            </p:cNvPr>
            <p:cNvSpPr/>
            <p:nvPr/>
          </p:nvSpPr>
          <p:spPr>
            <a:xfrm>
              <a:off x="4183415" y="4153457"/>
              <a:ext cx="611754" cy="559220"/>
            </a:xfrm>
            <a:custGeom>
              <a:avLst/>
              <a:gdLst>
                <a:gd name="connsiteX0" fmla="*/ 304348 w 608697"/>
                <a:gd name="connsiteY0" fmla="*/ 180877 h 556426"/>
                <a:gd name="connsiteX1" fmla="*/ 366093 w 608697"/>
                <a:gd name="connsiteY1" fmla="*/ 242550 h 556426"/>
                <a:gd name="connsiteX2" fmla="*/ 327540 w 608697"/>
                <a:gd name="connsiteY2" fmla="*/ 299754 h 556426"/>
                <a:gd name="connsiteX3" fmla="*/ 327540 w 608697"/>
                <a:gd name="connsiteY3" fmla="*/ 556426 h 556426"/>
                <a:gd name="connsiteX4" fmla="*/ 281157 w 608697"/>
                <a:gd name="connsiteY4" fmla="*/ 556426 h 556426"/>
                <a:gd name="connsiteX5" fmla="*/ 281157 w 608697"/>
                <a:gd name="connsiteY5" fmla="*/ 299754 h 556426"/>
                <a:gd name="connsiteX6" fmla="*/ 242604 w 608697"/>
                <a:gd name="connsiteY6" fmla="*/ 242550 h 556426"/>
                <a:gd name="connsiteX7" fmla="*/ 304348 w 608697"/>
                <a:gd name="connsiteY7" fmla="*/ 180877 h 556426"/>
                <a:gd name="connsiteX8" fmla="*/ 369923 w 608697"/>
                <a:gd name="connsiteY8" fmla="*/ 79057 h 556426"/>
                <a:gd name="connsiteX9" fmla="*/ 393558 w 608697"/>
                <a:gd name="connsiteY9" fmla="*/ 80137 h 556426"/>
                <a:gd name="connsiteX10" fmla="*/ 495934 w 608697"/>
                <a:gd name="connsiteY10" fmla="*/ 240793 h 556426"/>
                <a:gd name="connsiteX11" fmla="*/ 393558 w 608697"/>
                <a:gd name="connsiteY11" fmla="*/ 401449 h 556426"/>
                <a:gd name="connsiteX12" fmla="*/ 380426 w 608697"/>
                <a:gd name="connsiteY12" fmla="*/ 404428 h 556426"/>
                <a:gd name="connsiteX13" fmla="*/ 352444 w 608697"/>
                <a:gd name="connsiteY13" fmla="*/ 386627 h 556426"/>
                <a:gd name="connsiteX14" fmla="*/ 367293 w 608697"/>
                <a:gd name="connsiteY14" fmla="*/ 345588 h 556426"/>
                <a:gd name="connsiteX15" fmla="*/ 434150 w 608697"/>
                <a:gd name="connsiteY15" fmla="*/ 240793 h 556426"/>
                <a:gd name="connsiteX16" fmla="*/ 367293 w 608697"/>
                <a:gd name="connsiteY16" fmla="*/ 135998 h 556426"/>
                <a:gd name="connsiteX17" fmla="*/ 352444 w 608697"/>
                <a:gd name="connsiteY17" fmla="*/ 94958 h 556426"/>
                <a:gd name="connsiteX18" fmla="*/ 369923 w 608697"/>
                <a:gd name="connsiteY18" fmla="*/ 79057 h 556426"/>
                <a:gd name="connsiteX19" fmla="*/ 239303 w 608697"/>
                <a:gd name="connsiteY19" fmla="*/ 78821 h 556426"/>
                <a:gd name="connsiteX20" fmla="*/ 256752 w 608697"/>
                <a:gd name="connsiteY20" fmla="*/ 94828 h 556426"/>
                <a:gd name="connsiteX21" fmla="*/ 241682 w 608697"/>
                <a:gd name="connsiteY21" fmla="*/ 135799 h 556426"/>
                <a:gd name="connsiteX22" fmla="*/ 174536 w 608697"/>
                <a:gd name="connsiteY22" fmla="*/ 240759 h 556426"/>
                <a:gd name="connsiteX23" fmla="*/ 241682 w 608697"/>
                <a:gd name="connsiteY23" fmla="*/ 345720 h 556426"/>
                <a:gd name="connsiteX24" fmla="*/ 256752 w 608697"/>
                <a:gd name="connsiteY24" fmla="*/ 386765 h 556426"/>
                <a:gd name="connsiteX25" fmla="*/ 228700 w 608697"/>
                <a:gd name="connsiteY25" fmla="*/ 404569 h 556426"/>
                <a:gd name="connsiteX26" fmla="*/ 215644 w 608697"/>
                <a:gd name="connsiteY26" fmla="*/ 401738 h 556426"/>
                <a:gd name="connsiteX27" fmla="*/ 112763 w 608697"/>
                <a:gd name="connsiteY27" fmla="*/ 240759 h 556426"/>
                <a:gd name="connsiteX28" fmla="*/ 215644 w 608697"/>
                <a:gd name="connsiteY28" fmla="*/ 79855 h 556426"/>
                <a:gd name="connsiteX29" fmla="*/ 239303 w 608697"/>
                <a:gd name="connsiteY29" fmla="*/ 78821 h 556426"/>
                <a:gd name="connsiteX30" fmla="*/ 433751 w 608697"/>
                <a:gd name="connsiteY30" fmla="*/ 2149 h 556426"/>
                <a:gd name="connsiteX31" fmla="*/ 457409 w 608697"/>
                <a:gd name="connsiteY31" fmla="*/ 3220 h 556426"/>
                <a:gd name="connsiteX32" fmla="*/ 566548 w 608697"/>
                <a:gd name="connsiteY32" fmla="*/ 98265 h 556426"/>
                <a:gd name="connsiteX33" fmla="*/ 608697 w 608697"/>
                <a:gd name="connsiteY33" fmla="*/ 240757 h 556426"/>
                <a:gd name="connsiteX34" fmla="*/ 566548 w 608697"/>
                <a:gd name="connsiteY34" fmla="*/ 383324 h 556426"/>
                <a:gd name="connsiteX35" fmla="*/ 457409 w 608697"/>
                <a:gd name="connsiteY35" fmla="*/ 478295 h 556426"/>
                <a:gd name="connsiteX36" fmla="*/ 444279 w 608697"/>
                <a:gd name="connsiteY36" fmla="*/ 481274 h 556426"/>
                <a:gd name="connsiteX37" fmla="*/ 416304 w 608697"/>
                <a:gd name="connsiteY37" fmla="*/ 463472 h 556426"/>
                <a:gd name="connsiteX38" fmla="*/ 431150 w 608697"/>
                <a:gd name="connsiteY38" fmla="*/ 422430 h 556426"/>
                <a:gd name="connsiteX39" fmla="*/ 546928 w 608697"/>
                <a:gd name="connsiteY39" fmla="*/ 240757 h 556426"/>
                <a:gd name="connsiteX40" fmla="*/ 431150 w 608697"/>
                <a:gd name="connsiteY40" fmla="*/ 59085 h 556426"/>
                <a:gd name="connsiteX41" fmla="*/ 416304 w 608697"/>
                <a:gd name="connsiteY41" fmla="*/ 18117 h 556426"/>
                <a:gd name="connsiteX42" fmla="*/ 433751 w 608697"/>
                <a:gd name="connsiteY42" fmla="*/ 2149 h 556426"/>
                <a:gd name="connsiteX43" fmla="*/ 175731 w 608697"/>
                <a:gd name="connsiteY43" fmla="*/ 1886 h 556426"/>
                <a:gd name="connsiteX44" fmla="*/ 193175 w 608697"/>
                <a:gd name="connsiteY44" fmla="*/ 17837 h 556426"/>
                <a:gd name="connsiteX45" fmla="*/ 178109 w 608697"/>
                <a:gd name="connsiteY45" fmla="*/ 58883 h 556426"/>
                <a:gd name="connsiteX46" fmla="*/ 61756 w 608697"/>
                <a:gd name="connsiteY46" fmla="*/ 240793 h 556426"/>
                <a:gd name="connsiteX47" fmla="*/ 178109 w 608697"/>
                <a:gd name="connsiteY47" fmla="*/ 422778 h 556426"/>
                <a:gd name="connsiteX48" fmla="*/ 193175 w 608697"/>
                <a:gd name="connsiteY48" fmla="*/ 463749 h 556426"/>
                <a:gd name="connsiteX49" fmla="*/ 165131 w 608697"/>
                <a:gd name="connsiteY49" fmla="*/ 481627 h 556426"/>
                <a:gd name="connsiteX50" fmla="*/ 152079 w 608697"/>
                <a:gd name="connsiteY50" fmla="*/ 478722 h 556426"/>
                <a:gd name="connsiteX51" fmla="*/ 42439 w 608697"/>
                <a:gd name="connsiteY51" fmla="*/ 383744 h 556426"/>
                <a:gd name="connsiteX52" fmla="*/ 0 w 608697"/>
                <a:gd name="connsiteY52" fmla="*/ 240793 h 556426"/>
                <a:gd name="connsiteX53" fmla="*/ 42439 w 608697"/>
                <a:gd name="connsiteY53" fmla="*/ 97917 h 556426"/>
                <a:gd name="connsiteX54" fmla="*/ 152079 w 608697"/>
                <a:gd name="connsiteY54" fmla="*/ 2864 h 556426"/>
                <a:gd name="connsiteX55" fmla="*/ 175731 w 608697"/>
                <a:gd name="connsiteY55" fmla="*/ 1886 h 55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608697" h="556426">
                  <a:moveTo>
                    <a:pt x="304348" y="180877"/>
                  </a:moveTo>
                  <a:cubicBezTo>
                    <a:pt x="338502" y="180877"/>
                    <a:pt x="366093" y="208436"/>
                    <a:pt x="366093" y="242550"/>
                  </a:cubicBezTo>
                  <a:cubicBezTo>
                    <a:pt x="366093" y="268470"/>
                    <a:pt x="350135" y="290592"/>
                    <a:pt x="327540" y="299754"/>
                  </a:cubicBezTo>
                  <a:lnTo>
                    <a:pt x="327540" y="556426"/>
                  </a:lnTo>
                  <a:lnTo>
                    <a:pt x="281157" y="556426"/>
                  </a:lnTo>
                  <a:lnTo>
                    <a:pt x="281157" y="299754"/>
                  </a:lnTo>
                  <a:cubicBezTo>
                    <a:pt x="258562" y="290592"/>
                    <a:pt x="242604" y="268470"/>
                    <a:pt x="242604" y="242550"/>
                  </a:cubicBezTo>
                  <a:cubicBezTo>
                    <a:pt x="242604" y="208436"/>
                    <a:pt x="270195" y="180877"/>
                    <a:pt x="304348" y="180877"/>
                  </a:cubicBezTo>
                  <a:close/>
                  <a:moveTo>
                    <a:pt x="369923" y="79057"/>
                  </a:moveTo>
                  <a:cubicBezTo>
                    <a:pt x="377366" y="76376"/>
                    <a:pt x="385835" y="76525"/>
                    <a:pt x="393558" y="80137"/>
                  </a:cubicBezTo>
                  <a:cubicBezTo>
                    <a:pt x="455790" y="109259"/>
                    <a:pt x="495934" y="172344"/>
                    <a:pt x="495934" y="240793"/>
                  </a:cubicBezTo>
                  <a:cubicBezTo>
                    <a:pt x="495934" y="309315"/>
                    <a:pt x="455790" y="372401"/>
                    <a:pt x="393558" y="401449"/>
                  </a:cubicBezTo>
                  <a:cubicBezTo>
                    <a:pt x="389305" y="403460"/>
                    <a:pt x="384828" y="404428"/>
                    <a:pt x="380426" y="404428"/>
                  </a:cubicBezTo>
                  <a:cubicBezTo>
                    <a:pt x="368860" y="404428"/>
                    <a:pt x="357742" y="397799"/>
                    <a:pt x="352444" y="386627"/>
                  </a:cubicBezTo>
                  <a:cubicBezTo>
                    <a:pt x="345206" y="371209"/>
                    <a:pt x="351847" y="352813"/>
                    <a:pt x="367293" y="345588"/>
                  </a:cubicBezTo>
                  <a:cubicBezTo>
                    <a:pt x="407885" y="326595"/>
                    <a:pt x="434150" y="285481"/>
                    <a:pt x="434150" y="240793"/>
                  </a:cubicBezTo>
                  <a:cubicBezTo>
                    <a:pt x="434150" y="196104"/>
                    <a:pt x="407885" y="154990"/>
                    <a:pt x="367293" y="135998"/>
                  </a:cubicBezTo>
                  <a:cubicBezTo>
                    <a:pt x="351847" y="128773"/>
                    <a:pt x="345206" y="110376"/>
                    <a:pt x="352444" y="94958"/>
                  </a:cubicBezTo>
                  <a:cubicBezTo>
                    <a:pt x="356063" y="87250"/>
                    <a:pt x="362480" y="81738"/>
                    <a:pt x="369923" y="79057"/>
                  </a:cubicBezTo>
                  <a:close/>
                  <a:moveTo>
                    <a:pt x="239303" y="78821"/>
                  </a:moveTo>
                  <a:cubicBezTo>
                    <a:pt x="246736" y="81531"/>
                    <a:pt x="253134" y="87081"/>
                    <a:pt x="256752" y="94828"/>
                  </a:cubicBezTo>
                  <a:cubicBezTo>
                    <a:pt x="263914" y="110248"/>
                    <a:pt x="257200" y="128648"/>
                    <a:pt x="241682" y="135799"/>
                  </a:cubicBezTo>
                  <a:cubicBezTo>
                    <a:pt x="200947" y="154720"/>
                    <a:pt x="174536" y="195915"/>
                    <a:pt x="174536" y="240759"/>
                  </a:cubicBezTo>
                  <a:cubicBezTo>
                    <a:pt x="174536" y="285604"/>
                    <a:pt x="200947" y="326873"/>
                    <a:pt x="241682" y="345720"/>
                  </a:cubicBezTo>
                  <a:cubicBezTo>
                    <a:pt x="257200" y="352945"/>
                    <a:pt x="263914" y="371271"/>
                    <a:pt x="256752" y="386765"/>
                  </a:cubicBezTo>
                  <a:cubicBezTo>
                    <a:pt x="251455" y="398014"/>
                    <a:pt x="240339" y="404569"/>
                    <a:pt x="228700" y="404569"/>
                  </a:cubicBezTo>
                  <a:cubicBezTo>
                    <a:pt x="224298" y="404569"/>
                    <a:pt x="219897" y="403675"/>
                    <a:pt x="215644" y="401738"/>
                  </a:cubicBezTo>
                  <a:cubicBezTo>
                    <a:pt x="153125" y="372761"/>
                    <a:pt x="112763" y="309516"/>
                    <a:pt x="112763" y="240759"/>
                  </a:cubicBezTo>
                  <a:cubicBezTo>
                    <a:pt x="112763" y="172002"/>
                    <a:pt x="153125" y="108833"/>
                    <a:pt x="215644" y="79855"/>
                  </a:cubicBezTo>
                  <a:cubicBezTo>
                    <a:pt x="223403" y="76242"/>
                    <a:pt x="231871" y="76112"/>
                    <a:pt x="239303" y="78821"/>
                  </a:cubicBezTo>
                  <a:close/>
                  <a:moveTo>
                    <a:pt x="433751" y="2149"/>
                  </a:moveTo>
                  <a:cubicBezTo>
                    <a:pt x="441183" y="-541"/>
                    <a:pt x="449650" y="-392"/>
                    <a:pt x="457409" y="3220"/>
                  </a:cubicBezTo>
                  <a:cubicBezTo>
                    <a:pt x="501945" y="24076"/>
                    <a:pt x="539692" y="56925"/>
                    <a:pt x="566548" y="98265"/>
                  </a:cubicBezTo>
                  <a:cubicBezTo>
                    <a:pt x="594150" y="140722"/>
                    <a:pt x="608697" y="189958"/>
                    <a:pt x="608697" y="240757"/>
                  </a:cubicBezTo>
                  <a:cubicBezTo>
                    <a:pt x="608697" y="291557"/>
                    <a:pt x="594150" y="340867"/>
                    <a:pt x="566548" y="383324"/>
                  </a:cubicBezTo>
                  <a:cubicBezTo>
                    <a:pt x="539692" y="424590"/>
                    <a:pt x="501945" y="457438"/>
                    <a:pt x="457409" y="478295"/>
                  </a:cubicBezTo>
                  <a:cubicBezTo>
                    <a:pt x="453156" y="480306"/>
                    <a:pt x="448680" y="481274"/>
                    <a:pt x="444279" y="481274"/>
                  </a:cubicBezTo>
                  <a:cubicBezTo>
                    <a:pt x="432642" y="481274"/>
                    <a:pt x="421526" y="474645"/>
                    <a:pt x="416304" y="463472"/>
                  </a:cubicBezTo>
                  <a:cubicBezTo>
                    <a:pt x="409068" y="448053"/>
                    <a:pt x="415707" y="429655"/>
                    <a:pt x="431150" y="422430"/>
                  </a:cubicBezTo>
                  <a:cubicBezTo>
                    <a:pt x="501497" y="389507"/>
                    <a:pt x="546928" y="318223"/>
                    <a:pt x="546928" y="240757"/>
                  </a:cubicBezTo>
                  <a:cubicBezTo>
                    <a:pt x="546928" y="163291"/>
                    <a:pt x="501497" y="92008"/>
                    <a:pt x="431150" y="59085"/>
                  </a:cubicBezTo>
                  <a:cubicBezTo>
                    <a:pt x="415707" y="51860"/>
                    <a:pt x="409068" y="33536"/>
                    <a:pt x="416304" y="18117"/>
                  </a:cubicBezTo>
                  <a:cubicBezTo>
                    <a:pt x="419922" y="10371"/>
                    <a:pt x="426319" y="4840"/>
                    <a:pt x="433751" y="2149"/>
                  </a:cubicBezTo>
                  <a:close/>
                  <a:moveTo>
                    <a:pt x="175731" y="1886"/>
                  </a:moveTo>
                  <a:cubicBezTo>
                    <a:pt x="183162" y="4596"/>
                    <a:pt x="189558" y="10127"/>
                    <a:pt x="193175" y="17837"/>
                  </a:cubicBezTo>
                  <a:cubicBezTo>
                    <a:pt x="200335" y="33332"/>
                    <a:pt x="193622" y="51657"/>
                    <a:pt x="178109" y="58883"/>
                  </a:cubicBezTo>
                  <a:cubicBezTo>
                    <a:pt x="107477" y="91659"/>
                    <a:pt x="61756" y="163097"/>
                    <a:pt x="61756" y="240793"/>
                  </a:cubicBezTo>
                  <a:cubicBezTo>
                    <a:pt x="61756" y="318563"/>
                    <a:pt x="107477" y="390001"/>
                    <a:pt x="178109" y="422778"/>
                  </a:cubicBezTo>
                  <a:cubicBezTo>
                    <a:pt x="193622" y="429929"/>
                    <a:pt x="200335" y="448329"/>
                    <a:pt x="193175" y="463749"/>
                  </a:cubicBezTo>
                  <a:cubicBezTo>
                    <a:pt x="187879" y="474997"/>
                    <a:pt x="176766" y="481627"/>
                    <a:pt x="165131" y="481627"/>
                  </a:cubicBezTo>
                  <a:cubicBezTo>
                    <a:pt x="160730" y="481627"/>
                    <a:pt x="156330" y="480659"/>
                    <a:pt x="152079" y="478722"/>
                  </a:cubicBezTo>
                  <a:cubicBezTo>
                    <a:pt x="107328" y="457938"/>
                    <a:pt x="69364" y="425087"/>
                    <a:pt x="42439" y="383744"/>
                  </a:cubicBezTo>
                  <a:cubicBezTo>
                    <a:pt x="14693" y="341209"/>
                    <a:pt x="0" y="291746"/>
                    <a:pt x="0" y="240793"/>
                  </a:cubicBezTo>
                  <a:cubicBezTo>
                    <a:pt x="0" y="189840"/>
                    <a:pt x="14693" y="140452"/>
                    <a:pt x="42439" y="97917"/>
                  </a:cubicBezTo>
                  <a:cubicBezTo>
                    <a:pt x="69364" y="56499"/>
                    <a:pt x="107328" y="23648"/>
                    <a:pt x="152079" y="2864"/>
                  </a:cubicBezTo>
                  <a:cubicBezTo>
                    <a:pt x="159835" y="-711"/>
                    <a:pt x="168301" y="-823"/>
                    <a:pt x="175731" y="1886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îṣḷîḍé">
              <a:extLst>
                <a:ext uri="{FF2B5EF4-FFF2-40B4-BE49-F238E27FC236}">
                  <a16:creationId xmlns:a16="http://schemas.microsoft.com/office/drawing/2014/main" id="{6AF8DB80-9F49-4A26-BEBF-F0489CB23C6E}"/>
                </a:ext>
              </a:extLst>
            </p:cNvPr>
            <p:cNvSpPr/>
            <p:nvPr/>
          </p:nvSpPr>
          <p:spPr>
            <a:xfrm>
              <a:off x="6749401" y="4354519"/>
              <a:ext cx="687776" cy="639512"/>
            </a:xfrm>
            <a:custGeom>
              <a:avLst/>
              <a:gdLst>
                <a:gd name="T0" fmla="*/ 3685 w 4081"/>
                <a:gd name="T1" fmla="*/ 0 h 3800"/>
                <a:gd name="T2" fmla="*/ 396 w 4081"/>
                <a:gd name="T3" fmla="*/ 0 h 3800"/>
                <a:gd name="T4" fmla="*/ 0 w 4081"/>
                <a:gd name="T5" fmla="*/ 396 h 3800"/>
                <a:gd name="T6" fmla="*/ 0 w 4081"/>
                <a:gd name="T7" fmla="*/ 2659 h 3800"/>
                <a:gd name="T8" fmla="*/ 396 w 4081"/>
                <a:gd name="T9" fmla="*/ 3055 h 3800"/>
                <a:gd name="T10" fmla="*/ 1510 w 4081"/>
                <a:gd name="T11" fmla="*/ 3055 h 3800"/>
                <a:gd name="T12" fmla="*/ 1115 w 4081"/>
                <a:gd name="T13" fmla="*/ 3671 h 3800"/>
                <a:gd name="T14" fmla="*/ 1071 w 4081"/>
                <a:gd name="T15" fmla="*/ 3745 h 3800"/>
                <a:gd name="T16" fmla="*/ 1137 w 4081"/>
                <a:gd name="T17" fmla="*/ 3800 h 3800"/>
                <a:gd name="T18" fmla="*/ 2944 w 4081"/>
                <a:gd name="T19" fmla="*/ 3800 h 3800"/>
                <a:gd name="T20" fmla="*/ 3010 w 4081"/>
                <a:gd name="T21" fmla="*/ 3745 h 3800"/>
                <a:gd name="T22" fmla="*/ 2966 w 4081"/>
                <a:gd name="T23" fmla="*/ 3671 h 3800"/>
                <a:gd name="T24" fmla="*/ 2571 w 4081"/>
                <a:gd name="T25" fmla="*/ 3055 h 3800"/>
                <a:gd name="T26" fmla="*/ 3685 w 4081"/>
                <a:gd name="T27" fmla="*/ 3055 h 3800"/>
                <a:gd name="T28" fmla="*/ 4081 w 4081"/>
                <a:gd name="T29" fmla="*/ 2659 h 3800"/>
                <a:gd name="T30" fmla="*/ 4081 w 4081"/>
                <a:gd name="T31" fmla="*/ 396 h 3800"/>
                <a:gd name="T32" fmla="*/ 3685 w 4081"/>
                <a:gd name="T33" fmla="*/ 0 h 3800"/>
                <a:gd name="T34" fmla="*/ 2040 w 4081"/>
                <a:gd name="T35" fmla="*/ 2764 h 3800"/>
                <a:gd name="T36" fmla="*/ 1922 w 4081"/>
                <a:gd name="T37" fmla="*/ 2646 h 3800"/>
                <a:gd name="T38" fmla="*/ 2040 w 4081"/>
                <a:gd name="T39" fmla="*/ 2528 h 3800"/>
                <a:gd name="T40" fmla="*/ 2159 w 4081"/>
                <a:gd name="T41" fmla="*/ 2646 h 3800"/>
                <a:gd name="T42" fmla="*/ 2040 w 4081"/>
                <a:gd name="T43" fmla="*/ 2764 h 3800"/>
                <a:gd name="T44" fmla="*/ 3814 w 4081"/>
                <a:gd name="T45" fmla="*/ 2315 h 3800"/>
                <a:gd name="T46" fmla="*/ 267 w 4081"/>
                <a:gd name="T47" fmla="*/ 2315 h 3800"/>
                <a:gd name="T48" fmla="*/ 267 w 4081"/>
                <a:gd name="T49" fmla="*/ 396 h 3800"/>
                <a:gd name="T50" fmla="*/ 396 w 4081"/>
                <a:gd name="T51" fmla="*/ 267 h 3800"/>
                <a:gd name="T52" fmla="*/ 3685 w 4081"/>
                <a:gd name="T53" fmla="*/ 267 h 3800"/>
                <a:gd name="T54" fmla="*/ 3814 w 4081"/>
                <a:gd name="T55" fmla="*/ 396 h 3800"/>
                <a:gd name="T56" fmla="*/ 3814 w 4081"/>
                <a:gd name="T57" fmla="*/ 2315 h 3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081" h="3800">
                  <a:moveTo>
                    <a:pt x="3685" y="0"/>
                  </a:moveTo>
                  <a:lnTo>
                    <a:pt x="396" y="0"/>
                  </a:lnTo>
                  <a:cubicBezTo>
                    <a:pt x="178" y="0"/>
                    <a:pt x="0" y="178"/>
                    <a:pt x="0" y="396"/>
                  </a:cubicBezTo>
                  <a:lnTo>
                    <a:pt x="0" y="2659"/>
                  </a:lnTo>
                  <a:cubicBezTo>
                    <a:pt x="0" y="2878"/>
                    <a:pt x="178" y="3055"/>
                    <a:pt x="396" y="3055"/>
                  </a:cubicBezTo>
                  <a:lnTo>
                    <a:pt x="1510" y="3055"/>
                  </a:lnTo>
                  <a:cubicBezTo>
                    <a:pt x="1511" y="3233"/>
                    <a:pt x="1463" y="3553"/>
                    <a:pt x="1115" y="3671"/>
                  </a:cubicBezTo>
                  <a:cubicBezTo>
                    <a:pt x="1084" y="3681"/>
                    <a:pt x="1066" y="3712"/>
                    <a:pt x="1071" y="3745"/>
                  </a:cubicBezTo>
                  <a:cubicBezTo>
                    <a:pt x="1076" y="3777"/>
                    <a:pt x="1104" y="3800"/>
                    <a:pt x="1137" y="3800"/>
                  </a:cubicBezTo>
                  <a:lnTo>
                    <a:pt x="2944" y="3800"/>
                  </a:lnTo>
                  <a:cubicBezTo>
                    <a:pt x="2977" y="3800"/>
                    <a:pt x="3005" y="3777"/>
                    <a:pt x="3010" y="3745"/>
                  </a:cubicBezTo>
                  <a:cubicBezTo>
                    <a:pt x="3015" y="3712"/>
                    <a:pt x="2997" y="3681"/>
                    <a:pt x="2966" y="3671"/>
                  </a:cubicBezTo>
                  <a:cubicBezTo>
                    <a:pt x="2618" y="3553"/>
                    <a:pt x="2570" y="3233"/>
                    <a:pt x="2571" y="3055"/>
                  </a:cubicBezTo>
                  <a:lnTo>
                    <a:pt x="3685" y="3055"/>
                  </a:lnTo>
                  <a:cubicBezTo>
                    <a:pt x="3903" y="3055"/>
                    <a:pt x="4081" y="2878"/>
                    <a:pt x="4081" y="2659"/>
                  </a:cubicBezTo>
                  <a:lnTo>
                    <a:pt x="4081" y="396"/>
                  </a:lnTo>
                  <a:cubicBezTo>
                    <a:pt x="4081" y="178"/>
                    <a:pt x="3903" y="0"/>
                    <a:pt x="3685" y="0"/>
                  </a:cubicBezTo>
                  <a:close/>
                  <a:moveTo>
                    <a:pt x="2040" y="2764"/>
                  </a:moveTo>
                  <a:cubicBezTo>
                    <a:pt x="1975" y="2764"/>
                    <a:pt x="1922" y="2711"/>
                    <a:pt x="1922" y="2646"/>
                  </a:cubicBezTo>
                  <a:cubicBezTo>
                    <a:pt x="1922" y="2581"/>
                    <a:pt x="1975" y="2528"/>
                    <a:pt x="2040" y="2528"/>
                  </a:cubicBezTo>
                  <a:cubicBezTo>
                    <a:pt x="2106" y="2528"/>
                    <a:pt x="2159" y="2581"/>
                    <a:pt x="2159" y="2646"/>
                  </a:cubicBezTo>
                  <a:cubicBezTo>
                    <a:pt x="2159" y="2711"/>
                    <a:pt x="2106" y="2764"/>
                    <a:pt x="2040" y="2764"/>
                  </a:cubicBezTo>
                  <a:close/>
                  <a:moveTo>
                    <a:pt x="3814" y="2315"/>
                  </a:moveTo>
                  <a:lnTo>
                    <a:pt x="267" y="2315"/>
                  </a:lnTo>
                  <a:lnTo>
                    <a:pt x="267" y="396"/>
                  </a:lnTo>
                  <a:cubicBezTo>
                    <a:pt x="267" y="325"/>
                    <a:pt x="325" y="267"/>
                    <a:pt x="396" y="267"/>
                  </a:cubicBezTo>
                  <a:lnTo>
                    <a:pt x="3685" y="267"/>
                  </a:lnTo>
                  <a:cubicBezTo>
                    <a:pt x="3756" y="267"/>
                    <a:pt x="3814" y="325"/>
                    <a:pt x="3814" y="396"/>
                  </a:cubicBezTo>
                  <a:lnTo>
                    <a:pt x="3814" y="2315"/>
                  </a:ln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1" name="îş1idè">
            <a:extLst>
              <a:ext uri="{FF2B5EF4-FFF2-40B4-BE49-F238E27FC236}">
                <a16:creationId xmlns:a16="http://schemas.microsoft.com/office/drawing/2014/main" id="{E1C573C3-0E00-4DFC-AC7A-662CBA1DB997}"/>
              </a:ext>
            </a:extLst>
          </p:cNvPr>
          <p:cNvGrpSpPr/>
          <p:nvPr/>
        </p:nvGrpSpPr>
        <p:grpSpPr>
          <a:xfrm>
            <a:off x="770021" y="2046784"/>
            <a:ext cx="2667818" cy="1106279"/>
            <a:chOff x="34413" y="4305631"/>
            <a:chExt cx="2667818" cy="1106279"/>
          </a:xfrm>
        </p:grpSpPr>
        <p:sp>
          <p:nvSpPr>
            <p:cNvPr id="22" name="íšliḓe">
              <a:extLst>
                <a:ext uri="{FF2B5EF4-FFF2-40B4-BE49-F238E27FC236}">
                  <a16:creationId xmlns:a16="http://schemas.microsoft.com/office/drawing/2014/main" id="{EA6A45FC-1A68-4D22-A14F-DF5F01DEA019}"/>
                </a:ext>
              </a:extLst>
            </p:cNvPr>
            <p:cNvSpPr/>
            <p:nvPr/>
          </p:nvSpPr>
          <p:spPr bwMode="auto">
            <a:xfrm>
              <a:off x="34413" y="4715927"/>
              <a:ext cx="2667818" cy="69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r>
                <a:rPr lang="en-US" altLang="zh-CN" sz="1100" dirty="0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23" name="ïṣḻiďé">
              <a:extLst>
                <a:ext uri="{FF2B5EF4-FFF2-40B4-BE49-F238E27FC236}">
                  <a16:creationId xmlns:a16="http://schemas.microsoft.com/office/drawing/2014/main" id="{A833E8E4-F73D-4C50-8D6F-2B5230E2E75D}"/>
                </a:ext>
              </a:extLst>
            </p:cNvPr>
            <p:cNvSpPr txBox="1"/>
            <p:nvPr/>
          </p:nvSpPr>
          <p:spPr bwMode="auto">
            <a:xfrm>
              <a:off x="933941" y="4305631"/>
              <a:ext cx="1768290" cy="4102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4" name="íSľiďè">
            <a:extLst>
              <a:ext uri="{FF2B5EF4-FFF2-40B4-BE49-F238E27FC236}">
                <a16:creationId xmlns:a16="http://schemas.microsoft.com/office/drawing/2014/main" id="{6CD9A38A-B3FE-4B39-872C-2B6FA65EE7E6}"/>
              </a:ext>
            </a:extLst>
          </p:cNvPr>
          <p:cNvGrpSpPr/>
          <p:nvPr/>
        </p:nvGrpSpPr>
        <p:grpSpPr>
          <a:xfrm>
            <a:off x="673252" y="4320073"/>
            <a:ext cx="2667818" cy="1106279"/>
            <a:chOff x="34413" y="4305631"/>
            <a:chExt cx="2667818" cy="1106279"/>
          </a:xfrm>
        </p:grpSpPr>
        <p:sp>
          <p:nvSpPr>
            <p:cNvPr id="25" name="işḷïḓe">
              <a:extLst>
                <a:ext uri="{FF2B5EF4-FFF2-40B4-BE49-F238E27FC236}">
                  <a16:creationId xmlns:a16="http://schemas.microsoft.com/office/drawing/2014/main" id="{42673AD6-A811-4878-930B-EFEB1EDADAF1}"/>
                </a:ext>
              </a:extLst>
            </p:cNvPr>
            <p:cNvSpPr/>
            <p:nvPr/>
          </p:nvSpPr>
          <p:spPr bwMode="auto">
            <a:xfrm>
              <a:off x="34413" y="4715927"/>
              <a:ext cx="2667818" cy="69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r>
                <a:rPr lang="en-US" altLang="zh-CN" sz="1100" dirty="0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26" name="îş1íḓe">
              <a:extLst>
                <a:ext uri="{FF2B5EF4-FFF2-40B4-BE49-F238E27FC236}">
                  <a16:creationId xmlns:a16="http://schemas.microsoft.com/office/drawing/2014/main" id="{7021358A-A725-4CE5-B729-DD071FB95656}"/>
                </a:ext>
              </a:extLst>
            </p:cNvPr>
            <p:cNvSpPr txBox="1"/>
            <p:nvPr/>
          </p:nvSpPr>
          <p:spPr bwMode="auto">
            <a:xfrm>
              <a:off x="933941" y="4305631"/>
              <a:ext cx="1768290" cy="4102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7" name="íśļíḋe">
            <a:extLst>
              <a:ext uri="{FF2B5EF4-FFF2-40B4-BE49-F238E27FC236}">
                <a16:creationId xmlns:a16="http://schemas.microsoft.com/office/drawing/2014/main" id="{B9A363AF-76FD-4260-B2A5-E6B5E92BEB0F}"/>
              </a:ext>
            </a:extLst>
          </p:cNvPr>
          <p:cNvGrpSpPr/>
          <p:nvPr/>
        </p:nvGrpSpPr>
        <p:grpSpPr>
          <a:xfrm>
            <a:off x="8223150" y="2155081"/>
            <a:ext cx="2667819" cy="1106279"/>
            <a:chOff x="933940" y="4305631"/>
            <a:chExt cx="2667819" cy="1106279"/>
          </a:xfrm>
        </p:grpSpPr>
        <p:sp>
          <p:nvSpPr>
            <p:cNvPr id="28" name="iśḻïdê">
              <a:extLst>
                <a:ext uri="{FF2B5EF4-FFF2-40B4-BE49-F238E27FC236}">
                  <a16:creationId xmlns:a16="http://schemas.microsoft.com/office/drawing/2014/main" id="{0E904BC2-F06F-4C5E-AA13-A22A8F85EB29}"/>
                </a:ext>
              </a:extLst>
            </p:cNvPr>
            <p:cNvSpPr/>
            <p:nvPr/>
          </p:nvSpPr>
          <p:spPr bwMode="auto">
            <a:xfrm>
              <a:off x="933940" y="4715927"/>
              <a:ext cx="2667819" cy="69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r>
                <a:rPr lang="en-US" altLang="zh-CN" sz="1100" dirty="0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29" name="íṥlïḍè">
              <a:extLst>
                <a:ext uri="{FF2B5EF4-FFF2-40B4-BE49-F238E27FC236}">
                  <a16:creationId xmlns:a16="http://schemas.microsoft.com/office/drawing/2014/main" id="{E5DD8C7F-D42C-4FC0-BE50-A5568D7B90B5}"/>
                </a:ext>
              </a:extLst>
            </p:cNvPr>
            <p:cNvSpPr txBox="1"/>
            <p:nvPr/>
          </p:nvSpPr>
          <p:spPr bwMode="auto">
            <a:xfrm>
              <a:off x="933941" y="4305631"/>
              <a:ext cx="1768290" cy="4102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0" name="îṡľíḓè">
            <a:extLst>
              <a:ext uri="{FF2B5EF4-FFF2-40B4-BE49-F238E27FC236}">
                <a16:creationId xmlns:a16="http://schemas.microsoft.com/office/drawing/2014/main" id="{60E76AE2-98CB-470F-A107-7D127D24791D}"/>
              </a:ext>
            </a:extLst>
          </p:cNvPr>
          <p:cNvGrpSpPr/>
          <p:nvPr/>
        </p:nvGrpSpPr>
        <p:grpSpPr>
          <a:xfrm>
            <a:off x="8850928" y="4561281"/>
            <a:ext cx="2667819" cy="1106279"/>
            <a:chOff x="933940" y="4305631"/>
            <a:chExt cx="2667819" cy="1106279"/>
          </a:xfrm>
        </p:grpSpPr>
        <p:sp>
          <p:nvSpPr>
            <p:cNvPr id="31" name="îṣļíḑé">
              <a:extLst>
                <a:ext uri="{FF2B5EF4-FFF2-40B4-BE49-F238E27FC236}">
                  <a16:creationId xmlns:a16="http://schemas.microsoft.com/office/drawing/2014/main" id="{5F3C5828-0FE1-4DAD-94DA-E4921FEE979E}"/>
                </a:ext>
              </a:extLst>
            </p:cNvPr>
            <p:cNvSpPr/>
            <p:nvPr/>
          </p:nvSpPr>
          <p:spPr bwMode="auto">
            <a:xfrm>
              <a:off x="933940" y="4715927"/>
              <a:ext cx="2667819" cy="6959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r>
                <a:rPr lang="en-US" altLang="zh-CN" sz="1100" dirty="0">
                  <a:solidFill>
                    <a:schemeClr val="bg1"/>
                  </a:solidFill>
                  <a:cs typeface="+mn-ea"/>
                  <a:sym typeface="+mn-lt"/>
                </a:rPr>
                <a:t> </a:t>
              </a:r>
            </a:p>
          </p:txBody>
        </p:sp>
        <p:sp>
          <p:nvSpPr>
            <p:cNvPr id="32" name="îṩlïḋé">
              <a:extLst>
                <a:ext uri="{FF2B5EF4-FFF2-40B4-BE49-F238E27FC236}">
                  <a16:creationId xmlns:a16="http://schemas.microsoft.com/office/drawing/2014/main" id="{711B804D-DA02-40BC-B27D-CE51641B77B6}"/>
                </a:ext>
              </a:extLst>
            </p:cNvPr>
            <p:cNvSpPr txBox="1"/>
            <p:nvPr/>
          </p:nvSpPr>
          <p:spPr bwMode="auto">
            <a:xfrm>
              <a:off x="933941" y="4305631"/>
              <a:ext cx="1768290" cy="41029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965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50"/>
                            </p:stCondLst>
                            <p:childTnLst>
                              <p:par>
                                <p:cTn id="31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250"/>
                            </p:stCondLst>
                            <p:childTnLst>
                              <p:par>
                                <p:cTn id="41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8704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roduct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3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iŝlíďé">
            <a:extLst>
              <a:ext uri="{FF2B5EF4-FFF2-40B4-BE49-F238E27FC236}">
                <a16:creationId xmlns:a16="http://schemas.microsoft.com/office/drawing/2014/main" id="{A26B2D87-724C-4E12-A06D-64041309852D}"/>
              </a:ext>
            </a:extLst>
          </p:cNvPr>
          <p:cNvGrpSpPr/>
          <p:nvPr/>
        </p:nvGrpSpPr>
        <p:grpSpPr>
          <a:xfrm>
            <a:off x="2829538" y="1404852"/>
            <a:ext cx="2188307" cy="1112947"/>
            <a:chOff x="1529244" y="2375297"/>
            <a:chExt cx="2254898" cy="1112947"/>
          </a:xfrm>
        </p:grpSpPr>
        <p:sp>
          <p:nvSpPr>
            <p:cNvPr id="6" name="í$ļïdé">
              <a:extLst>
                <a:ext uri="{FF2B5EF4-FFF2-40B4-BE49-F238E27FC236}">
                  <a16:creationId xmlns:a16="http://schemas.microsoft.com/office/drawing/2014/main" id="{9640734D-B098-4A0D-968A-AFEA52DDA4A3}"/>
                </a:ext>
              </a:extLst>
            </p:cNvPr>
            <p:cNvSpPr/>
            <p:nvPr/>
          </p:nvSpPr>
          <p:spPr bwMode="auto">
            <a:xfrm>
              <a:off x="1529244" y="2782606"/>
              <a:ext cx="2254897" cy="705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" name="íṥḻîḑe">
              <a:extLst>
                <a:ext uri="{FF2B5EF4-FFF2-40B4-BE49-F238E27FC236}">
                  <a16:creationId xmlns:a16="http://schemas.microsoft.com/office/drawing/2014/main" id="{2018FD24-B9D7-451C-B671-D5E7E9CBE94C}"/>
                </a:ext>
              </a:extLst>
            </p:cNvPr>
            <p:cNvSpPr txBox="1"/>
            <p:nvPr/>
          </p:nvSpPr>
          <p:spPr bwMode="auto">
            <a:xfrm>
              <a:off x="1529244" y="2375297"/>
              <a:ext cx="2254898" cy="40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" name="íSlîḑè">
            <a:extLst>
              <a:ext uri="{FF2B5EF4-FFF2-40B4-BE49-F238E27FC236}">
                <a16:creationId xmlns:a16="http://schemas.microsoft.com/office/drawing/2014/main" id="{2A045EBD-7D8A-4B95-92CF-67BEC876576C}"/>
              </a:ext>
            </a:extLst>
          </p:cNvPr>
          <p:cNvGrpSpPr/>
          <p:nvPr/>
        </p:nvGrpSpPr>
        <p:grpSpPr>
          <a:xfrm>
            <a:off x="7164634" y="1404852"/>
            <a:ext cx="2188307" cy="1112947"/>
            <a:chOff x="1529244" y="2375297"/>
            <a:chExt cx="2254898" cy="1112947"/>
          </a:xfrm>
        </p:grpSpPr>
        <p:sp>
          <p:nvSpPr>
            <p:cNvPr id="9" name="iślidê">
              <a:extLst>
                <a:ext uri="{FF2B5EF4-FFF2-40B4-BE49-F238E27FC236}">
                  <a16:creationId xmlns:a16="http://schemas.microsoft.com/office/drawing/2014/main" id="{59640794-ECD4-4672-894F-22A508B5DA05}"/>
                </a:ext>
              </a:extLst>
            </p:cNvPr>
            <p:cNvSpPr/>
            <p:nvPr/>
          </p:nvSpPr>
          <p:spPr bwMode="auto">
            <a:xfrm>
              <a:off x="1529244" y="2782606"/>
              <a:ext cx="2254897" cy="705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íṩļîḑé">
              <a:extLst>
                <a:ext uri="{FF2B5EF4-FFF2-40B4-BE49-F238E27FC236}">
                  <a16:creationId xmlns:a16="http://schemas.microsoft.com/office/drawing/2014/main" id="{317139CE-1311-4100-85DF-70A8FAE2579E}"/>
                </a:ext>
              </a:extLst>
            </p:cNvPr>
            <p:cNvSpPr txBox="1"/>
            <p:nvPr/>
          </p:nvSpPr>
          <p:spPr bwMode="auto">
            <a:xfrm>
              <a:off x="1529244" y="2375297"/>
              <a:ext cx="2254898" cy="40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isľîḋè">
            <a:extLst>
              <a:ext uri="{FF2B5EF4-FFF2-40B4-BE49-F238E27FC236}">
                <a16:creationId xmlns:a16="http://schemas.microsoft.com/office/drawing/2014/main" id="{17A6457F-6448-4034-A056-068CC9703564}"/>
              </a:ext>
            </a:extLst>
          </p:cNvPr>
          <p:cNvGrpSpPr/>
          <p:nvPr/>
        </p:nvGrpSpPr>
        <p:grpSpPr>
          <a:xfrm>
            <a:off x="661989" y="5227865"/>
            <a:ext cx="2188307" cy="1112947"/>
            <a:chOff x="1529244" y="2375297"/>
            <a:chExt cx="2254898" cy="1112947"/>
          </a:xfrm>
        </p:grpSpPr>
        <p:sp>
          <p:nvSpPr>
            <p:cNvPr id="12" name="îş1ïḋè">
              <a:extLst>
                <a:ext uri="{FF2B5EF4-FFF2-40B4-BE49-F238E27FC236}">
                  <a16:creationId xmlns:a16="http://schemas.microsoft.com/office/drawing/2014/main" id="{E264F53B-1587-4C22-B029-A366F955E333}"/>
                </a:ext>
              </a:extLst>
            </p:cNvPr>
            <p:cNvSpPr/>
            <p:nvPr/>
          </p:nvSpPr>
          <p:spPr bwMode="auto">
            <a:xfrm>
              <a:off x="1529244" y="2782606"/>
              <a:ext cx="2254897" cy="705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îṥḻïdé">
              <a:extLst>
                <a:ext uri="{FF2B5EF4-FFF2-40B4-BE49-F238E27FC236}">
                  <a16:creationId xmlns:a16="http://schemas.microsoft.com/office/drawing/2014/main" id="{2F05E7CA-00B5-48B7-B958-A19B4D02FE80}"/>
                </a:ext>
              </a:extLst>
            </p:cNvPr>
            <p:cNvSpPr txBox="1"/>
            <p:nvPr/>
          </p:nvSpPr>
          <p:spPr bwMode="auto">
            <a:xfrm>
              <a:off x="1529244" y="2375297"/>
              <a:ext cx="2254898" cy="40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4" name="îṩ1ïḓé">
            <a:extLst>
              <a:ext uri="{FF2B5EF4-FFF2-40B4-BE49-F238E27FC236}">
                <a16:creationId xmlns:a16="http://schemas.microsoft.com/office/drawing/2014/main" id="{974DBA33-6827-4B86-B085-8C2A18E41565}"/>
              </a:ext>
            </a:extLst>
          </p:cNvPr>
          <p:cNvGrpSpPr/>
          <p:nvPr/>
        </p:nvGrpSpPr>
        <p:grpSpPr>
          <a:xfrm>
            <a:off x="4997085" y="5227865"/>
            <a:ext cx="2188307" cy="1112947"/>
            <a:chOff x="1529244" y="2375297"/>
            <a:chExt cx="2254898" cy="1112947"/>
          </a:xfrm>
        </p:grpSpPr>
        <p:sp>
          <p:nvSpPr>
            <p:cNvPr id="15" name="íṣliḋe">
              <a:extLst>
                <a:ext uri="{FF2B5EF4-FFF2-40B4-BE49-F238E27FC236}">
                  <a16:creationId xmlns:a16="http://schemas.microsoft.com/office/drawing/2014/main" id="{E9F14197-457C-4E74-AA43-BC779DDE8AF9}"/>
                </a:ext>
              </a:extLst>
            </p:cNvPr>
            <p:cNvSpPr/>
            <p:nvPr/>
          </p:nvSpPr>
          <p:spPr bwMode="auto">
            <a:xfrm>
              <a:off x="1529244" y="2782606"/>
              <a:ext cx="2254897" cy="705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ïṣḷïḍê">
              <a:extLst>
                <a:ext uri="{FF2B5EF4-FFF2-40B4-BE49-F238E27FC236}">
                  <a16:creationId xmlns:a16="http://schemas.microsoft.com/office/drawing/2014/main" id="{88597FF0-92B3-46FC-9233-470D0E70D6A3}"/>
                </a:ext>
              </a:extLst>
            </p:cNvPr>
            <p:cNvSpPr txBox="1"/>
            <p:nvPr/>
          </p:nvSpPr>
          <p:spPr bwMode="auto">
            <a:xfrm>
              <a:off x="1529244" y="2375297"/>
              <a:ext cx="2254898" cy="40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7" name="îṣļîḋè">
            <a:extLst>
              <a:ext uri="{FF2B5EF4-FFF2-40B4-BE49-F238E27FC236}">
                <a16:creationId xmlns:a16="http://schemas.microsoft.com/office/drawing/2014/main" id="{258D43DA-5C10-41DD-AA0E-D7B995306013}"/>
              </a:ext>
            </a:extLst>
          </p:cNvPr>
          <p:cNvGrpSpPr/>
          <p:nvPr/>
        </p:nvGrpSpPr>
        <p:grpSpPr>
          <a:xfrm>
            <a:off x="9332181" y="5227865"/>
            <a:ext cx="2188307" cy="1112947"/>
            <a:chOff x="1529244" y="2375297"/>
            <a:chExt cx="2254898" cy="1112947"/>
          </a:xfrm>
        </p:grpSpPr>
        <p:sp>
          <p:nvSpPr>
            <p:cNvPr id="18" name="îšľiďê">
              <a:extLst>
                <a:ext uri="{FF2B5EF4-FFF2-40B4-BE49-F238E27FC236}">
                  <a16:creationId xmlns:a16="http://schemas.microsoft.com/office/drawing/2014/main" id="{6512FE62-CEB8-4E20-80E3-2F04B9AA5322}"/>
                </a:ext>
              </a:extLst>
            </p:cNvPr>
            <p:cNvSpPr/>
            <p:nvPr/>
          </p:nvSpPr>
          <p:spPr bwMode="auto">
            <a:xfrm>
              <a:off x="1529244" y="2782606"/>
              <a:ext cx="2254897" cy="705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defTabSz="914400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iŝļiḋe">
              <a:extLst>
                <a:ext uri="{FF2B5EF4-FFF2-40B4-BE49-F238E27FC236}">
                  <a16:creationId xmlns:a16="http://schemas.microsoft.com/office/drawing/2014/main" id="{C20698DF-5903-4D26-8FE4-E7C39ED90E2C}"/>
                </a:ext>
              </a:extLst>
            </p:cNvPr>
            <p:cNvSpPr txBox="1"/>
            <p:nvPr/>
          </p:nvSpPr>
          <p:spPr bwMode="auto">
            <a:xfrm>
              <a:off x="1529244" y="2375297"/>
              <a:ext cx="2254898" cy="4073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6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0" name="íṩľîďe">
            <a:extLst>
              <a:ext uri="{FF2B5EF4-FFF2-40B4-BE49-F238E27FC236}">
                <a16:creationId xmlns:a16="http://schemas.microsoft.com/office/drawing/2014/main" id="{EA506701-F63B-49B0-9051-FF98DE2E47A7}"/>
              </a:ext>
            </a:extLst>
          </p:cNvPr>
          <p:cNvSpPr/>
          <p:nvPr/>
        </p:nvSpPr>
        <p:spPr>
          <a:xfrm>
            <a:off x="662965" y="3090252"/>
            <a:ext cx="10856546" cy="156516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38100">
            <a:solidFill>
              <a:schemeClr val="accent1">
                <a:lumMod val="20000"/>
                <a:lumOff val="8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1" name="i$lïḓè">
            <a:extLst>
              <a:ext uri="{FF2B5EF4-FFF2-40B4-BE49-F238E27FC236}">
                <a16:creationId xmlns:a16="http://schemas.microsoft.com/office/drawing/2014/main" id="{F883AE65-6E1A-4847-BA36-B552E00F6C1C}"/>
              </a:ext>
            </a:extLst>
          </p:cNvPr>
          <p:cNvSpPr/>
          <p:nvPr/>
        </p:nvSpPr>
        <p:spPr>
          <a:xfrm>
            <a:off x="3233984" y="2614245"/>
            <a:ext cx="1379414" cy="1379414"/>
          </a:xfrm>
          <a:prstGeom prst="ellipse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 cap="flat" cmpd="sng" algn="ctr">
            <a:noFill/>
            <a:prstDash val="solid"/>
            <a:miter lim="800000"/>
          </a:ln>
          <a:effectLst>
            <a:outerShdw blurRad="381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2" name="ïslîḓe">
            <a:extLst>
              <a:ext uri="{FF2B5EF4-FFF2-40B4-BE49-F238E27FC236}">
                <a16:creationId xmlns:a16="http://schemas.microsoft.com/office/drawing/2014/main" id="{9BCDDB01-1B91-4813-B55E-9BD483CD40AA}"/>
              </a:ext>
            </a:extLst>
          </p:cNvPr>
          <p:cNvSpPr/>
          <p:nvPr/>
        </p:nvSpPr>
        <p:spPr>
          <a:xfrm>
            <a:off x="3340059" y="4126760"/>
            <a:ext cx="1167264" cy="528652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49%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ïŝļíḋè">
            <a:extLst>
              <a:ext uri="{FF2B5EF4-FFF2-40B4-BE49-F238E27FC236}">
                <a16:creationId xmlns:a16="http://schemas.microsoft.com/office/drawing/2014/main" id="{BD9A44C5-A7D6-46BA-848B-4A45889D5826}"/>
              </a:ext>
            </a:extLst>
          </p:cNvPr>
          <p:cNvSpPr/>
          <p:nvPr/>
        </p:nvSpPr>
        <p:spPr>
          <a:xfrm>
            <a:off x="7569080" y="2614245"/>
            <a:ext cx="1379414" cy="1379414"/>
          </a:xfrm>
          <a:prstGeom prst="ellipse">
            <a:avLst/>
          </a:prstGeom>
          <a:blipFill>
            <a:blip r:embed="rId4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 cap="flat" cmpd="sng" algn="ctr">
            <a:noFill/>
            <a:prstDash val="solid"/>
            <a:miter lim="800000"/>
          </a:ln>
          <a:effectLst>
            <a:outerShdw blurRad="381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iŝļiḓè">
            <a:extLst>
              <a:ext uri="{FF2B5EF4-FFF2-40B4-BE49-F238E27FC236}">
                <a16:creationId xmlns:a16="http://schemas.microsoft.com/office/drawing/2014/main" id="{A3796AD0-3644-4266-B375-4B08E2E8739E}"/>
              </a:ext>
            </a:extLst>
          </p:cNvPr>
          <p:cNvSpPr/>
          <p:nvPr/>
        </p:nvSpPr>
        <p:spPr>
          <a:xfrm>
            <a:off x="7675155" y="4126760"/>
            <a:ext cx="1167264" cy="528652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89%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5" name="ïśľiḓê">
            <a:extLst>
              <a:ext uri="{FF2B5EF4-FFF2-40B4-BE49-F238E27FC236}">
                <a16:creationId xmlns:a16="http://schemas.microsoft.com/office/drawing/2014/main" id="{DA710646-618A-4AF4-A17A-C4003FE65C36}"/>
              </a:ext>
            </a:extLst>
          </p:cNvPr>
          <p:cNvSpPr/>
          <p:nvPr/>
        </p:nvSpPr>
        <p:spPr>
          <a:xfrm>
            <a:off x="1066435" y="3752005"/>
            <a:ext cx="1379414" cy="1379414"/>
          </a:xfrm>
          <a:prstGeom prst="ellipse">
            <a:avLst/>
          </a:prstGeom>
          <a:blipFill>
            <a:blip r:embed="rId5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 cap="flat" cmpd="sng" algn="ctr">
            <a:noFill/>
            <a:prstDash val="solid"/>
            <a:miter lim="800000"/>
          </a:ln>
          <a:effectLst>
            <a:outerShdw blurRad="381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î$ḷîḑe">
            <a:extLst>
              <a:ext uri="{FF2B5EF4-FFF2-40B4-BE49-F238E27FC236}">
                <a16:creationId xmlns:a16="http://schemas.microsoft.com/office/drawing/2014/main" id="{67F3E407-2E04-4B34-A687-72D5794AED7A}"/>
              </a:ext>
            </a:extLst>
          </p:cNvPr>
          <p:cNvSpPr/>
          <p:nvPr/>
        </p:nvSpPr>
        <p:spPr>
          <a:xfrm>
            <a:off x="1172510" y="3090252"/>
            <a:ext cx="1167264" cy="528652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76%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îṧ1ïḋê">
            <a:extLst>
              <a:ext uri="{FF2B5EF4-FFF2-40B4-BE49-F238E27FC236}">
                <a16:creationId xmlns:a16="http://schemas.microsoft.com/office/drawing/2014/main" id="{0E92F1BB-1A2D-48BC-AA18-18E94B38B2C1}"/>
              </a:ext>
            </a:extLst>
          </p:cNvPr>
          <p:cNvSpPr/>
          <p:nvPr/>
        </p:nvSpPr>
        <p:spPr>
          <a:xfrm>
            <a:off x="5401531" y="3752005"/>
            <a:ext cx="1379414" cy="1379414"/>
          </a:xfrm>
          <a:prstGeom prst="ellipse">
            <a:avLst/>
          </a:prstGeom>
          <a:blipFill>
            <a:blip r:embed="rId6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 cap="flat" cmpd="sng" algn="ctr">
            <a:noFill/>
            <a:prstDash val="solid"/>
            <a:miter lim="800000"/>
          </a:ln>
          <a:effectLst>
            <a:outerShdw blurRad="381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îṥḻîḋé">
            <a:extLst>
              <a:ext uri="{FF2B5EF4-FFF2-40B4-BE49-F238E27FC236}">
                <a16:creationId xmlns:a16="http://schemas.microsoft.com/office/drawing/2014/main" id="{FC79BBE2-57C8-4168-B169-1AE184C8028E}"/>
              </a:ext>
            </a:extLst>
          </p:cNvPr>
          <p:cNvSpPr/>
          <p:nvPr/>
        </p:nvSpPr>
        <p:spPr>
          <a:xfrm>
            <a:off x="5507606" y="3090252"/>
            <a:ext cx="1167264" cy="528652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78%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í$1iḑe">
            <a:extLst>
              <a:ext uri="{FF2B5EF4-FFF2-40B4-BE49-F238E27FC236}">
                <a16:creationId xmlns:a16="http://schemas.microsoft.com/office/drawing/2014/main" id="{41EC04E1-CF70-44D8-8B3A-462B375B7963}"/>
              </a:ext>
            </a:extLst>
          </p:cNvPr>
          <p:cNvSpPr/>
          <p:nvPr/>
        </p:nvSpPr>
        <p:spPr>
          <a:xfrm>
            <a:off x="9736627" y="3752005"/>
            <a:ext cx="1379414" cy="1379414"/>
          </a:xfrm>
          <a:prstGeom prst="ellipse">
            <a:avLst/>
          </a:prstGeom>
          <a:blipFill>
            <a:blip r:embed="rId7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 cap="flat" cmpd="sng" algn="ctr">
            <a:noFill/>
            <a:prstDash val="solid"/>
            <a:miter lim="800000"/>
          </a:ln>
          <a:effectLst>
            <a:outerShdw blurRad="38100" dist="38100" dir="2700000" sx="102000" sy="102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í$ľïďè">
            <a:extLst>
              <a:ext uri="{FF2B5EF4-FFF2-40B4-BE49-F238E27FC236}">
                <a16:creationId xmlns:a16="http://schemas.microsoft.com/office/drawing/2014/main" id="{FBDA2EA2-BDB4-47FC-95E7-5450CDFBB397}"/>
              </a:ext>
            </a:extLst>
          </p:cNvPr>
          <p:cNvSpPr/>
          <p:nvPr/>
        </p:nvSpPr>
        <p:spPr>
          <a:xfrm>
            <a:off x="9842702" y="3090252"/>
            <a:ext cx="1167264" cy="528652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73%</a:t>
            </a:r>
            <a:endParaRPr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6319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75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250"/>
                            </p:stCondLst>
                            <p:childTnLst>
                              <p:par>
                                <p:cTn id="3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75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7500"/>
                            </p:stCondLst>
                            <p:childTnLst>
                              <p:par>
                                <p:cTn id="5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8250"/>
                            </p:stCondLst>
                            <p:childTnLst>
                              <p:par>
                                <p:cTn id="6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9000"/>
                            </p:stCondLst>
                            <p:childTnLst>
                              <p:par>
                                <p:cTn id="6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9750"/>
                            </p:stCondLst>
                            <p:childTnLst>
                              <p:par>
                                <p:cTn id="7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5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0500"/>
                            </p:stCondLst>
                            <p:childTnLst>
                              <p:par>
                                <p:cTn id="7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1250"/>
                            </p:stCondLst>
                            <p:childTnLst>
                              <p:par>
                                <p:cTn id="8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12000"/>
                            </p:stCondLst>
                            <p:childTnLst>
                              <p:par>
                                <p:cTn id="87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12750"/>
                            </p:stCondLst>
                            <p:childTnLst>
                              <p:par>
                                <p:cTn id="9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13500"/>
                            </p:stCondLst>
                            <p:childTnLst>
                              <p:par>
                                <p:cTn id="9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20" grpId="0" animBg="1"/>
      <p:bldP spid="21" grpId="0" animBg="1"/>
      <p:bldP spid="22" grpId="0"/>
      <p:bldP spid="23" grpId="0" animBg="1"/>
      <p:bldP spid="24" grpId="0"/>
      <p:bldP spid="25" grpId="0" animBg="1"/>
      <p:bldP spid="26" grpId="0"/>
      <p:bldP spid="27" grpId="0" animBg="1"/>
      <p:bldP spid="28" grpId="0"/>
      <p:bldP spid="29" grpId="0" animBg="1"/>
      <p:bldP spid="3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80764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roduct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3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28" name="iṥlïďè">
            <a:extLst>
              <a:ext uri="{FF2B5EF4-FFF2-40B4-BE49-F238E27FC236}">
                <a16:creationId xmlns:a16="http://schemas.microsoft.com/office/drawing/2014/main" id="{0427BE12-041E-4709-8826-03EFFBE07F4D}"/>
              </a:ext>
            </a:extLst>
          </p:cNvPr>
          <p:cNvGrpSpPr/>
          <p:nvPr/>
        </p:nvGrpSpPr>
        <p:grpSpPr>
          <a:xfrm>
            <a:off x="1090609" y="1588171"/>
            <a:ext cx="2059747" cy="4352713"/>
            <a:chOff x="4941071" y="1232756"/>
            <a:chExt cx="2279985" cy="4818127"/>
          </a:xfrm>
        </p:grpSpPr>
        <p:sp>
          <p:nvSpPr>
            <p:cNvPr id="51" name="íṥḻîďe">
              <a:extLst>
                <a:ext uri="{FF2B5EF4-FFF2-40B4-BE49-F238E27FC236}">
                  <a16:creationId xmlns:a16="http://schemas.microsoft.com/office/drawing/2014/main" id="{1EF52BA5-2F2A-4082-8968-FD786125F9CF}"/>
                </a:ext>
              </a:extLst>
            </p:cNvPr>
            <p:cNvSpPr/>
            <p:nvPr/>
          </p:nvSpPr>
          <p:spPr>
            <a:xfrm>
              <a:off x="4965329" y="1259536"/>
              <a:ext cx="2255727" cy="4791347"/>
            </a:xfrm>
            <a:custGeom>
              <a:avLst/>
              <a:gdLst>
                <a:gd name="connsiteX0" fmla="*/ 0 w 1459144"/>
                <a:gd name="connsiteY0" fmla="*/ 176060 h 3099339"/>
                <a:gd name="connsiteX1" fmla="*/ 51567 w 1459144"/>
                <a:gd name="connsiteY1" fmla="*/ 51567 h 3099339"/>
                <a:gd name="connsiteX2" fmla="*/ 176060 w 1459144"/>
                <a:gd name="connsiteY2" fmla="*/ 0 h 3099339"/>
                <a:gd name="connsiteX3" fmla="*/ 1283084 w 1459144"/>
                <a:gd name="connsiteY3" fmla="*/ 0 h 3099339"/>
                <a:gd name="connsiteX4" fmla="*/ 1407577 w 1459144"/>
                <a:gd name="connsiteY4" fmla="*/ 51567 h 3099339"/>
                <a:gd name="connsiteX5" fmla="*/ 1459144 w 1459144"/>
                <a:gd name="connsiteY5" fmla="*/ 176060 h 3099339"/>
                <a:gd name="connsiteX6" fmla="*/ 1459144 w 1459144"/>
                <a:gd name="connsiteY6" fmla="*/ 2923279 h 3099339"/>
                <a:gd name="connsiteX7" fmla="*/ 1407577 w 1459144"/>
                <a:gd name="connsiteY7" fmla="*/ 3047772 h 3099339"/>
                <a:gd name="connsiteX8" fmla="*/ 1283084 w 1459144"/>
                <a:gd name="connsiteY8" fmla="*/ 3099339 h 3099339"/>
                <a:gd name="connsiteX9" fmla="*/ 176060 w 1459144"/>
                <a:gd name="connsiteY9" fmla="*/ 3099339 h 3099339"/>
                <a:gd name="connsiteX10" fmla="*/ 51567 w 1459144"/>
                <a:gd name="connsiteY10" fmla="*/ 3047772 h 3099339"/>
                <a:gd name="connsiteX11" fmla="*/ 0 w 1459144"/>
                <a:gd name="connsiteY11" fmla="*/ 2923279 h 3099339"/>
                <a:gd name="connsiteX12" fmla="*/ 0 w 1459144"/>
                <a:gd name="connsiteY12" fmla="*/ 176060 h 3099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459144" h="3099339">
                  <a:moveTo>
                    <a:pt x="0" y="176060"/>
                  </a:moveTo>
                  <a:cubicBezTo>
                    <a:pt x="0" y="129366"/>
                    <a:pt x="18549" y="84584"/>
                    <a:pt x="51567" y="51567"/>
                  </a:cubicBezTo>
                  <a:cubicBezTo>
                    <a:pt x="84585" y="18549"/>
                    <a:pt x="129366" y="0"/>
                    <a:pt x="176060" y="0"/>
                  </a:cubicBezTo>
                  <a:lnTo>
                    <a:pt x="1283084" y="0"/>
                  </a:lnTo>
                  <a:cubicBezTo>
                    <a:pt x="1329778" y="0"/>
                    <a:pt x="1374560" y="18549"/>
                    <a:pt x="1407577" y="51567"/>
                  </a:cubicBezTo>
                  <a:cubicBezTo>
                    <a:pt x="1440595" y="84585"/>
                    <a:pt x="1459144" y="129366"/>
                    <a:pt x="1459144" y="176060"/>
                  </a:cubicBezTo>
                  <a:lnTo>
                    <a:pt x="1459144" y="2923279"/>
                  </a:lnTo>
                  <a:cubicBezTo>
                    <a:pt x="1459144" y="2969973"/>
                    <a:pt x="1440595" y="3014755"/>
                    <a:pt x="1407577" y="3047772"/>
                  </a:cubicBezTo>
                  <a:cubicBezTo>
                    <a:pt x="1374559" y="3080790"/>
                    <a:pt x="1329778" y="3099339"/>
                    <a:pt x="1283084" y="3099339"/>
                  </a:cubicBezTo>
                  <a:lnTo>
                    <a:pt x="176060" y="3099339"/>
                  </a:lnTo>
                  <a:cubicBezTo>
                    <a:pt x="129366" y="3099339"/>
                    <a:pt x="84584" y="3080790"/>
                    <a:pt x="51567" y="3047772"/>
                  </a:cubicBezTo>
                  <a:cubicBezTo>
                    <a:pt x="18549" y="3014754"/>
                    <a:pt x="0" y="2969973"/>
                    <a:pt x="0" y="2923279"/>
                  </a:cubicBezTo>
                  <a:lnTo>
                    <a:pt x="0" y="17606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>
              <a:outerShdw blurRad="63500" sx="102000" sy="102000" algn="ctr" rotWithShape="0">
                <a:schemeClr val="accent1">
                  <a:lumMod val="20000"/>
                  <a:lumOff val="80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52" name="i$lîḋe">
              <a:extLst>
                <a:ext uri="{FF2B5EF4-FFF2-40B4-BE49-F238E27FC236}">
                  <a16:creationId xmlns:a16="http://schemas.microsoft.com/office/drawing/2014/main" id="{204B01B4-1DC0-4FC5-BCAF-ABB7147FD583}"/>
                </a:ext>
              </a:extLst>
            </p:cNvPr>
            <p:cNvGrpSpPr/>
            <p:nvPr/>
          </p:nvGrpSpPr>
          <p:grpSpPr>
            <a:xfrm>
              <a:off x="4941071" y="1896120"/>
              <a:ext cx="36581" cy="998512"/>
              <a:chOff x="3392428" y="1951545"/>
              <a:chExt cx="27432" cy="735419"/>
            </a:xfrm>
          </p:grpSpPr>
          <p:sp>
            <p:nvSpPr>
              <p:cNvPr id="57" name="íṡlîḋé">
                <a:extLst>
                  <a:ext uri="{FF2B5EF4-FFF2-40B4-BE49-F238E27FC236}">
                    <a16:creationId xmlns:a16="http://schemas.microsoft.com/office/drawing/2014/main" id="{B92A051C-A0E5-45FF-8FD3-880A648F2F97}"/>
                  </a:ext>
                </a:extLst>
              </p:cNvPr>
              <p:cNvSpPr/>
              <p:nvPr/>
            </p:nvSpPr>
            <p:spPr>
              <a:xfrm>
                <a:off x="3392428" y="1951545"/>
                <a:ext cx="18288" cy="172821"/>
              </a:xfrm>
              <a:prstGeom prst="rect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47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íṧľiḋé">
                <a:extLst>
                  <a:ext uri="{FF2B5EF4-FFF2-40B4-BE49-F238E27FC236}">
                    <a16:creationId xmlns:a16="http://schemas.microsoft.com/office/drawing/2014/main" id="{AB67C329-AE4B-4BD9-BABE-016DDD2907B7}"/>
                  </a:ext>
                </a:extLst>
              </p:cNvPr>
              <p:cNvSpPr/>
              <p:nvPr/>
            </p:nvSpPr>
            <p:spPr>
              <a:xfrm>
                <a:off x="3401572" y="2289545"/>
                <a:ext cx="18288" cy="118872"/>
              </a:xfrm>
              <a:prstGeom prst="rect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išľídê">
                <a:extLst>
                  <a:ext uri="{FF2B5EF4-FFF2-40B4-BE49-F238E27FC236}">
                    <a16:creationId xmlns:a16="http://schemas.microsoft.com/office/drawing/2014/main" id="{0181D4F9-8AE0-4E1E-B0FE-75BAD730D463}"/>
                  </a:ext>
                </a:extLst>
              </p:cNvPr>
              <p:cNvSpPr/>
              <p:nvPr/>
            </p:nvSpPr>
            <p:spPr>
              <a:xfrm>
                <a:off x="3401572" y="2568092"/>
                <a:ext cx="18288" cy="118872"/>
              </a:xfrm>
              <a:prstGeom prst="rect">
                <a:avLst/>
              </a:pr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53" name="iS1iḋé">
              <a:extLst>
                <a:ext uri="{FF2B5EF4-FFF2-40B4-BE49-F238E27FC236}">
                  <a16:creationId xmlns:a16="http://schemas.microsoft.com/office/drawing/2014/main" id="{D8AED886-9BC9-4E45-AD52-BD189CBEE1E3}"/>
                </a:ext>
              </a:extLst>
            </p:cNvPr>
            <p:cNvSpPr/>
            <p:nvPr/>
          </p:nvSpPr>
          <p:spPr>
            <a:xfrm>
              <a:off x="5894894" y="5515687"/>
              <a:ext cx="396596" cy="403820"/>
            </a:xfrm>
            <a:custGeom>
              <a:avLst/>
              <a:gdLst>
                <a:gd name="connsiteX0" fmla="*/ 0 w 256543"/>
                <a:gd name="connsiteY0" fmla="*/ 130608 h 261216"/>
                <a:gd name="connsiteX1" fmla="*/ 36755 w 256543"/>
                <a:gd name="connsiteY1" fmla="*/ 39091 h 261216"/>
                <a:gd name="connsiteX2" fmla="*/ 128272 w 256543"/>
                <a:gd name="connsiteY2" fmla="*/ 0 h 261216"/>
                <a:gd name="connsiteX3" fmla="*/ 219789 w 256543"/>
                <a:gd name="connsiteY3" fmla="*/ 39091 h 261216"/>
                <a:gd name="connsiteX4" fmla="*/ 256544 w 256543"/>
                <a:gd name="connsiteY4" fmla="*/ 130608 h 261216"/>
                <a:gd name="connsiteX5" fmla="*/ 219789 w 256543"/>
                <a:gd name="connsiteY5" fmla="*/ 222125 h 261216"/>
                <a:gd name="connsiteX6" fmla="*/ 128272 w 256543"/>
                <a:gd name="connsiteY6" fmla="*/ 261216 h 261216"/>
                <a:gd name="connsiteX7" fmla="*/ 36755 w 256543"/>
                <a:gd name="connsiteY7" fmla="*/ 222125 h 261216"/>
                <a:gd name="connsiteX8" fmla="*/ 0 w 256543"/>
                <a:gd name="connsiteY8" fmla="*/ 130608 h 261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6543" h="261216">
                  <a:moveTo>
                    <a:pt x="0" y="130608"/>
                  </a:moveTo>
                  <a:cubicBezTo>
                    <a:pt x="0" y="96377"/>
                    <a:pt x="13199" y="63514"/>
                    <a:pt x="36755" y="39091"/>
                  </a:cubicBezTo>
                  <a:cubicBezTo>
                    <a:pt x="60874" y="14086"/>
                    <a:pt x="93851" y="0"/>
                    <a:pt x="128272" y="0"/>
                  </a:cubicBezTo>
                  <a:cubicBezTo>
                    <a:pt x="162693" y="0"/>
                    <a:pt x="195670" y="14086"/>
                    <a:pt x="219789" y="39091"/>
                  </a:cubicBezTo>
                  <a:cubicBezTo>
                    <a:pt x="243346" y="63514"/>
                    <a:pt x="256544" y="96377"/>
                    <a:pt x="256544" y="130608"/>
                  </a:cubicBezTo>
                  <a:cubicBezTo>
                    <a:pt x="256544" y="164839"/>
                    <a:pt x="243345" y="197702"/>
                    <a:pt x="219789" y="222125"/>
                  </a:cubicBezTo>
                  <a:cubicBezTo>
                    <a:pt x="195670" y="247130"/>
                    <a:pt x="162693" y="261216"/>
                    <a:pt x="128272" y="261216"/>
                  </a:cubicBezTo>
                  <a:cubicBezTo>
                    <a:pt x="93851" y="261216"/>
                    <a:pt x="60874" y="247130"/>
                    <a:pt x="36755" y="222125"/>
                  </a:cubicBezTo>
                  <a:cubicBezTo>
                    <a:pt x="13198" y="197702"/>
                    <a:pt x="0" y="164839"/>
                    <a:pt x="0" y="130608"/>
                  </a:cubicBezTo>
                  <a:close/>
                </a:path>
              </a:pathLst>
            </a:custGeom>
            <a:noFill/>
            <a:ln w="190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îSļïďê">
              <a:extLst>
                <a:ext uri="{FF2B5EF4-FFF2-40B4-BE49-F238E27FC236}">
                  <a16:creationId xmlns:a16="http://schemas.microsoft.com/office/drawing/2014/main" id="{5C55416B-043B-4CE9-9AF0-3F2E3233A26F}"/>
                </a:ext>
              </a:extLst>
            </p:cNvPr>
            <p:cNvSpPr/>
            <p:nvPr/>
          </p:nvSpPr>
          <p:spPr>
            <a:xfrm>
              <a:off x="5879813" y="1637856"/>
              <a:ext cx="426759" cy="49661"/>
            </a:xfrm>
            <a:custGeom>
              <a:avLst/>
              <a:gdLst>
                <a:gd name="connsiteX0" fmla="*/ 0 w 276054"/>
                <a:gd name="connsiteY0" fmla="*/ 16062 h 32124"/>
                <a:gd name="connsiteX1" fmla="*/ 4704 w 276054"/>
                <a:gd name="connsiteY1" fmla="*/ 4704 h 32124"/>
                <a:gd name="connsiteX2" fmla="*/ 16062 w 276054"/>
                <a:gd name="connsiteY2" fmla="*/ 0 h 32124"/>
                <a:gd name="connsiteX3" fmla="*/ 259992 w 276054"/>
                <a:gd name="connsiteY3" fmla="*/ 0 h 32124"/>
                <a:gd name="connsiteX4" fmla="*/ 271350 w 276054"/>
                <a:gd name="connsiteY4" fmla="*/ 4704 h 32124"/>
                <a:gd name="connsiteX5" fmla="*/ 276054 w 276054"/>
                <a:gd name="connsiteY5" fmla="*/ 16062 h 32124"/>
                <a:gd name="connsiteX6" fmla="*/ 276054 w 276054"/>
                <a:gd name="connsiteY6" fmla="*/ 16062 h 32124"/>
                <a:gd name="connsiteX7" fmla="*/ 271350 w 276054"/>
                <a:gd name="connsiteY7" fmla="*/ 27420 h 32124"/>
                <a:gd name="connsiteX8" fmla="*/ 259992 w 276054"/>
                <a:gd name="connsiteY8" fmla="*/ 32124 h 32124"/>
                <a:gd name="connsiteX9" fmla="*/ 16062 w 276054"/>
                <a:gd name="connsiteY9" fmla="*/ 32124 h 32124"/>
                <a:gd name="connsiteX10" fmla="*/ 4704 w 276054"/>
                <a:gd name="connsiteY10" fmla="*/ 27420 h 32124"/>
                <a:gd name="connsiteX11" fmla="*/ 0 w 276054"/>
                <a:gd name="connsiteY11" fmla="*/ 16062 h 3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6054" h="32124">
                  <a:moveTo>
                    <a:pt x="0" y="16062"/>
                  </a:moveTo>
                  <a:cubicBezTo>
                    <a:pt x="0" y="11802"/>
                    <a:pt x="1692" y="7717"/>
                    <a:pt x="4704" y="4704"/>
                  </a:cubicBezTo>
                  <a:cubicBezTo>
                    <a:pt x="7716" y="1692"/>
                    <a:pt x="11802" y="0"/>
                    <a:pt x="16062" y="0"/>
                  </a:cubicBezTo>
                  <a:lnTo>
                    <a:pt x="259992" y="0"/>
                  </a:lnTo>
                  <a:cubicBezTo>
                    <a:pt x="264252" y="0"/>
                    <a:pt x="268337" y="1692"/>
                    <a:pt x="271350" y="4704"/>
                  </a:cubicBezTo>
                  <a:cubicBezTo>
                    <a:pt x="274362" y="7716"/>
                    <a:pt x="276054" y="11802"/>
                    <a:pt x="276054" y="16062"/>
                  </a:cubicBezTo>
                  <a:lnTo>
                    <a:pt x="276054" y="16062"/>
                  </a:lnTo>
                  <a:cubicBezTo>
                    <a:pt x="276054" y="20322"/>
                    <a:pt x="274362" y="24407"/>
                    <a:pt x="271350" y="27420"/>
                  </a:cubicBezTo>
                  <a:cubicBezTo>
                    <a:pt x="268338" y="30432"/>
                    <a:pt x="264252" y="32124"/>
                    <a:pt x="259992" y="32124"/>
                  </a:cubicBezTo>
                  <a:lnTo>
                    <a:pt x="16062" y="32124"/>
                  </a:lnTo>
                  <a:cubicBezTo>
                    <a:pt x="11802" y="32124"/>
                    <a:pt x="7717" y="30432"/>
                    <a:pt x="4704" y="27420"/>
                  </a:cubicBezTo>
                  <a:cubicBezTo>
                    <a:pt x="1692" y="24408"/>
                    <a:pt x="0" y="20322"/>
                    <a:pt x="0" y="160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îsḷîḑè">
              <a:extLst>
                <a:ext uri="{FF2B5EF4-FFF2-40B4-BE49-F238E27FC236}">
                  <a16:creationId xmlns:a16="http://schemas.microsoft.com/office/drawing/2014/main" id="{A066F337-A4E2-46B3-B4A3-5ADA794C8B72}"/>
                </a:ext>
              </a:extLst>
            </p:cNvPr>
            <p:cNvSpPr/>
            <p:nvPr/>
          </p:nvSpPr>
          <p:spPr>
            <a:xfrm>
              <a:off x="6057015" y="1452330"/>
              <a:ext cx="72355" cy="73674"/>
            </a:xfrm>
            <a:custGeom>
              <a:avLst/>
              <a:gdLst>
                <a:gd name="connsiteX0" fmla="*/ 0 w 46804"/>
                <a:gd name="connsiteY0" fmla="*/ 23829 h 47657"/>
                <a:gd name="connsiteX1" fmla="*/ 6705 w 46804"/>
                <a:gd name="connsiteY1" fmla="*/ 7132 h 47657"/>
                <a:gd name="connsiteX2" fmla="*/ 23402 w 46804"/>
                <a:gd name="connsiteY2" fmla="*/ 0 h 47657"/>
                <a:gd name="connsiteX3" fmla="*/ 40099 w 46804"/>
                <a:gd name="connsiteY3" fmla="*/ 7132 h 47657"/>
                <a:gd name="connsiteX4" fmla="*/ 46804 w 46804"/>
                <a:gd name="connsiteY4" fmla="*/ 23829 h 47657"/>
                <a:gd name="connsiteX5" fmla="*/ 40099 w 46804"/>
                <a:gd name="connsiteY5" fmla="*/ 40526 h 47657"/>
                <a:gd name="connsiteX6" fmla="*/ 23402 w 46804"/>
                <a:gd name="connsiteY6" fmla="*/ 47658 h 47657"/>
                <a:gd name="connsiteX7" fmla="*/ 6705 w 46804"/>
                <a:gd name="connsiteY7" fmla="*/ 40526 h 47657"/>
                <a:gd name="connsiteX8" fmla="*/ 0 w 46804"/>
                <a:gd name="connsiteY8" fmla="*/ 23829 h 47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804" h="47657">
                  <a:moveTo>
                    <a:pt x="0" y="23829"/>
                  </a:moveTo>
                  <a:cubicBezTo>
                    <a:pt x="0" y="17584"/>
                    <a:pt x="2408" y="11588"/>
                    <a:pt x="6705" y="7132"/>
                  </a:cubicBezTo>
                  <a:cubicBezTo>
                    <a:pt x="11105" y="2570"/>
                    <a:pt x="17122" y="0"/>
                    <a:pt x="23402" y="0"/>
                  </a:cubicBezTo>
                  <a:cubicBezTo>
                    <a:pt x="29682" y="0"/>
                    <a:pt x="35698" y="2570"/>
                    <a:pt x="40099" y="7132"/>
                  </a:cubicBezTo>
                  <a:cubicBezTo>
                    <a:pt x="44397" y="11588"/>
                    <a:pt x="46804" y="17583"/>
                    <a:pt x="46804" y="23829"/>
                  </a:cubicBezTo>
                  <a:cubicBezTo>
                    <a:pt x="46804" y="30074"/>
                    <a:pt x="44396" y="36070"/>
                    <a:pt x="40099" y="40526"/>
                  </a:cubicBezTo>
                  <a:cubicBezTo>
                    <a:pt x="35699" y="45088"/>
                    <a:pt x="29682" y="47658"/>
                    <a:pt x="23402" y="47658"/>
                  </a:cubicBezTo>
                  <a:cubicBezTo>
                    <a:pt x="17122" y="47658"/>
                    <a:pt x="11106" y="45088"/>
                    <a:pt x="6705" y="40526"/>
                  </a:cubicBezTo>
                  <a:cubicBezTo>
                    <a:pt x="2407" y="36070"/>
                    <a:pt x="0" y="30075"/>
                    <a:pt x="0" y="238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i$lîḑé">
              <a:extLst>
                <a:ext uri="{FF2B5EF4-FFF2-40B4-BE49-F238E27FC236}">
                  <a16:creationId xmlns:a16="http://schemas.microsoft.com/office/drawing/2014/main" id="{A0B39D31-021E-4C59-83EC-D003E7E641BD}"/>
                </a:ext>
              </a:extLst>
            </p:cNvPr>
            <p:cNvSpPr/>
            <p:nvPr/>
          </p:nvSpPr>
          <p:spPr>
            <a:xfrm>
              <a:off x="6646764" y="1232756"/>
              <a:ext cx="307265" cy="62075"/>
            </a:xfrm>
            <a:custGeom>
              <a:avLst/>
              <a:gdLst>
                <a:gd name="connsiteX0" fmla="*/ 0 w 198758"/>
                <a:gd name="connsiteY0" fmla="*/ 0 h 40154"/>
                <a:gd name="connsiteX1" fmla="*/ 198758 w 198758"/>
                <a:gd name="connsiteY1" fmla="*/ 0 h 40154"/>
                <a:gd name="connsiteX2" fmla="*/ 198758 w 198758"/>
                <a:gd name="connsiteY2" fmla="*/ 40154 h 40154"/>
                <a:gd name="connsiteX3" fmla="*/ 0 w 198758"/>
                <a:gd name="connsiteY3" fmla="*/ 40154 h 40154"/>
                <a:gd name="connsiteX4" fmla="*/ 0 w 198758"/>
                <a:gd name="connsiteY4" fmla="*/ 0 h 40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8758" h="40154">
                  <a:moveTo>
                    <a:pt x="0" y="0"/>
                  </a:moveTo>
                  <a:lnTo>
                    <a:pt x="198758" y="0"/>
                  </a:lnTo>
                  <a:lnTo>
                    <a:pt x="198758" y="40154"/>
                  </a:lnTo>
                  <a:lnTo>
                    <a:pt x="0" y="401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9" name="ïṩļiḋé">
            <a:extLst>
              <a:ext uri="{FF2B5EF4-FFF2-40B4-BE49-F238E27FC236}">
                <a16:creationId xmlns:a16="http://schemas.microsoft.com/office/drawing/2014/main" id="{9571FBBD-48FE-4181-90D1-76985A9C0659}"/>
              </a:ext>
            </a:extLst>
          </p:cNvPr>
          <p:cNvGrpSpPr/>
          <p:nvPr/>
        </p:nvGrpSpPr>
        <p:grpSpPr>
          <a:xfrm>
            <a:off x="1209961" y="2187454"/>
            <a:ext cx="10034302" cy="3212345"/>
            <a:chOff x="2530475" y="3689350"/>
            <a:chExt cx="20008850" cy="6405563"/>
          </a:xfrm>
        </p:grpSpPr>
        <p:sp>
          <p:nvSpPr>
            <p:cNvPr id="30" name="îṧľidê">
              <a:extLst>
                <a:ext uri="{FF2B5EF4-FFF2-40B4-BE49-F238E27FC236}">
                  <a16:creationId xmlns:a16="http://schemas.microsoft.com/office/drawing/2014/main" id="{D333646C-2C12-404B-8241-42ECF8026302}"/>
                </a:ext>
              </a:extLst>
            </p:cNvPr>
            <p:cNvSpPr/>
            <p:nvPr/>
          </p:nvSpPr>
          <p:spPr bwMode="auto">
            <a:xfrm>
              <a:off x="6134100" y="3689350"/>
              <a:ext cx="4119563" cy="6345238"/>
            </a:xfrm>
            <a:custGeom>
              <a:avLst/>
              <a:gdLst>
                <a:gd name="T0" fmla="*/ 2059782 w 21600"/>
                <a:gd name="T1" fmla="*/ 3172619 h 21600"/>
                <a:gd name="T2" fmla="*/ 2059782 w 21600"/>
                <a:gd name="T3" fmla="*/ 3172619 h 21600"/>
                <a:gd name="T4" fmla="*/ 2059782 w 21600"/>
                <a:gd name="T5" fmla="*/ 3172619 h 21600"/>
                <a:gd name="T6" fmla="*/ 2059782 w 21600"/>
                <a:gd name="T7" fmla="*/ 3172619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20269"/>
                  </a:moveTo>
                  <a:lnTo>
                    <a:pt x="0" y="21599"/>
                  </a:lnTo>
                  <a:lnTo>
                    <a:pt x="0" y="0"/>
                  </a:lnTo>
                  <a:lnTo>
                    <a:pt x="21600" y="1433"/>
                  </a:lnTo>
                  <a:cubicBezTo>
                    <a:pt x="21600" y="1433"/>
                    <a:pt x="21600" y="20269"/>
                    <a:pt x="21600" y="202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1" name="íSľiḑê">
              <a:extLst>
                <a:ext uri="{FF2B5EF4-FFF2-40B4-BE49-F238E27FC236}">
                  <a16:creationId xmlns:a16="http://schemas.microsoft.com/office/drawing/2014/main" id="{6F0C975D-3CF8-4BEF-957C-5F8623D20168}"/>
                </a:ext>
              </a:extLst>
            </p:cNvPr>
            <p:cNvSpPr/>
            <p:nvPr/>
          </p:nvSpPr>
          <p:spPr bwMode="auto">
            <a:xfrm>
              <a:off x="10253663" y="3719514"/>
              <a:ext cx="4092574" cy="6375399"/>
            </a:xfrm>
            <a:custGeom>
              <a:avLst/>
              <a:gdLst>
                <a:gd name="T0" fmla="*/ 2046288 w 21600"/>
                <a:gd name="T1" fmla="*/ 3187700 h 21600"/>
                <a:gd name="T2" fmla="*/ 2046288 w 21600"/>
                <a:gd name="T3" fmla="*/ 3187700 h 21600"/>
                <a:gd name="T4" fmla="*/ 2046288 w 21600"/>
                <a:gd name="T5" fmla="*/ 3187700 h 21600"/>
                <a:gd name="T6" fmla="*/ 2046288 w 21600"/>
                <a:gd name="T7" fmla="*/ 318770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20173"/>
                  </a:moveTo>
                  <a:lnTo>
                    <a:pt x="21599" y="21600"/>
                  </a:lnTo>
                  <a:lnTo>
                    <a:pt x="21599" y="0"/>
                  </a:lnTo>
                  <a:lnTo>
                    <a:pt x="0" y="1426"/>
                  </a:lnTo>
                  <a:cubicBezTo>
                    <a:pt x="0" y="1426"/>
                    <a:pt x="0" y="20173"/>
                    <a:pt x="0" y="201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i$1îďe">
              <a:extLst>
                <a:ext uri="{FF2B5EF4-FFF2-40B4-BE49-F238E27FC236}">
                  <a16:creationId xmlns:a16="http://schemas.microsoft.com/office/drawing/2014/main" id="{3506EE62-D956-4D20-935F-7803D5ECD624}"/>
                </a:ext>
              </a:extLst>
            </p:cNvPr>
            <p:cNvSpPr/>
            <p:nvPr/>
          </p:nvSpPr>
          <p:spPr bwMode="auto">
            <a:xfrm>
              <a:off x="10240963" y="3689350"/>
              <a:ext cx="4092575" cy="6375400"/>
            </a:xfrm>
            <a:custGeom>
              <a:avLst/>
              <a:gdLst>
                <a:gd name="T0" fmla="*/ 2046288 w 21600"/>
                <a:gd name="T1" fmla="*/ 3187700 h 21600"/>
                <a:gd name="T2" fmla="*/ 2046288 w 21600"/>
                <a:gd name="T3" fmla="*/ 3187700 h 21600"/>
                <a:gd name="T4" fmla="*/ 2046288 w 21600"/>
                <a:gd name="T5" fmla="*/ 3187700 h 21600"/>
                <a:gd name="T6" fmla="*/ 2046288 w 21600"/>
                <a:gd name="T7" fmla="*/ 318770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20173"/>
                  </a:moveTo>
                  <a:lnTo>
                    <a:pt x="21599" y="21600"/>
                  </a:lnTo>
                  <a:lnTo>
                    <a:pt x="21599" y="0"/>
                  </a:lnTo>
                  <a:lnTo>
                    <a:pt x="0" y="1426"/>
                  </a:lnTo>
                  <a:cubicBezTo>
                    <a:pt x="0" y="1426"/>
                    <a:pt x="0" y="20173"/>
                    <a:pt x="0" y="2017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ïṩḻîḍe">
              <a:extLst>
                <a:ext uri="{FF2B5EF4-FFF2-40B4-BE49-F238E27FC236}">
                  <a16:creationId xmlns:a16="http://schemas.microsoft.com/office/drawing/2014/main" id="{9310CFA7-8726-42C9-BCDD-6574F0328195}"/>
                </a:ext>
              </a:extLst>
            </p:cNvPr>
            <p:cNvSpPr/>
            <p:nvPr/>
          </p:nvSpPr>
          <p:spPr bwMode="auto">
            <a:xfrm>
              <a:off x="14333538" y="3719513"/>
              <a:ext cx="4119562" cy="6345237"/>
            </a:xfrm>
            <a:custGeom>
              <a:avLst/>
              <a:gdLst>
                <a:gd name="T0" fmla="*/ 2059781 w 21600"/>
                <a:gd name="T1" fmla="*/ 3172619 h 21600"/>
                <a:gd name="T2" fmla="*/ 2059781 w 21600"/>
                <a:gd name="T3" fmla="*/ 3172619 h 21600"/>
                <a:gd name="T4" fmla="*/ 2059781 w 21600"/>
                <a:gd name="T5" fmla="*/ 3172619 h 21600"/>
                <a:gd name="T6" fmla="*/ 2059781 w 21600"/>
                <a:gd name="T7" fmla="*/ 3172619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21600" y="20269"/>
                  </a:moveTo>
                  <a:lnTo>
                    <a:pt x="0" y="21599"/>
                  </a:lnTo>
                  <a:lnTo>
                    <a:pt x="0" y="0"/>
                  </a:lnTo>
                  <a:lnTo>
                    <a:pt x="21600" y="1433"/>
                  </a:lnTo>
                  <a:cubicBezTo>
                    <a:pt x="21600" y="1433"/>
                    <a:pt x="21600" y="20269"/>
                    <a:pt x="21600" y="202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iṥliḋê">
              <a:extLst>
                <a:ext uri="{FF2B5EF4-FFF2-40B4-BE49-F238E27FC236}">
                  <a16:creationId xmlns:a16="http://schemas.microsoft.com/office/drawing/2014/main" id="{75975BAB-974E-496E-868C-F0CD3B2500A9}"/>
                </a:ext>
              </a:extLst>
            </p:cNvPr>
            <p:cNvSpPr/>
            <p:nvPr/>
          </p:nvSpPr>
          <p:spPr bwMode="auto">
            <a:xfrm>
              <a:off x="18446750" y="3719513"/>
              <a:ext cx="4092575" cy="6375400"/>
            </a:xfrm>
            <a:custGeom>
              <a:avLst/>
              <a:gdLst>
                <a:gd name="T0" fmla="*/ 2046288 w 21600"/>
                <a:gd name="T1" fmla="*/ 3187700 h 21600"/>
                <a:gd name="T2" fmla="*/ 2046288 w 21600"/>
                <a:gd name="T3" fmla="*/ 3187700 h 21600"/>
                <a:gd name="T4" fmla="*/ 2046288 w 21600"/>
                <a:gd name="T5" fmla="*/ 3187700 h 21600"/>
                <a:gd name="T6" fmla="*/ 2046288 w 21600"/>
                <a:gd name="T7" fmla="*/ 318770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20173"/>
                  </a:moveTo>
                  <a:lnTo>
                    <a:pt x="21599" y="21600"/>
                  </a:lnTo>
                  <a:lnTo>
                    <a:pt x="21599" y="0"/>
                  </a:lnTo>
                  <a:lnTo>
                    <a:pt x="0" y="1426"/>
                  </a:lnTo>
                  <a:cubicBezTo>
                    <a:pt x="0" y="1426"/>
                    <a:pt x="0" y="20173"/>
                    <a:pt x="0" y="2017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20000"/>
                  <a:lumOff val="80000"/>
                </a:schemeClr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îṡļíḑè">
              <a:extLst>
                <a:ext uri="{FF2B5EF4-FFF2-40B4-BE49-F238E27FC236}">
                  <a16:creationId xmlns:a16="http://schemas.microsoft.com/office/drawing/2014/main" id="{DB54FE25-AEFB-4132-9F7A-D3D58F2A0635}"/>
                </a:ext>
              </a:extLst>
            </p:cNvPr>
            <p:cNvSpPr/>
            <p:nvPr/>
          </p:nvSpPr>
          <p:spPr bwMode="auto">
            <a:xfrm>
              <a:off x="6716713" y="6470650"/>
              <a:ext cx="2954337" cy="533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solidFill>
                    <a:schemeClr val="bg2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36" name="íṩ1îḑê">
              <a:extLst>
                <a:ext uri="{FF2B5EF4-FFF2-40B4-BE49-F238E27FC236}">
                  <a16:creationId xmlns:a16="http://schemas.microsoft.com/office/drawing/2014/main" id="{0672C8EF-B07C-412E-9A58-F69FD729BA6D}"/>
                </a:ext>
              </a:extLst>
            </p:cNvPr>
            <p:cNvSpPr/>
            <p:nvPr/>
          </p:nvSpPr>
          <p:spPr bwMode="auto">
            <a:xfrm>
              <a:off x="6670675" y="7273925"/>
              <a:ext cx="3046413" cy="1354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2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37" name="íṩļïḍè">
              <a:extLst>
                <a:ext uri="{FF2B5EF4-FFF2-40B4-BE49-F238E27FC236}">
                  <a16:creationId xmlns:a16="http://schemas.microsoft.com/office/drawing/2014/main" id="{4D5D3C1E-2D2C-464E-98F4-2E7EC36FE641}"/>
                </a:ext>
              </a:extLst>
            </p:cNvPr>
            <p:cNvSpPr/>
            <p:nvPr/>
          </p:nvSpPr>
          <p:spPr bwMode="auto">
            <a:xfrm>
              <a:off x="10823575" y="6470650"/>
              <a:ext cx="2952750" cy="533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solidFill>
                    <a:schemeClr val="bg2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38" name="íṩľiḓe">
              <a:extLst>
                <a:ext uri="{FF2B5EF4-FFF2-40B4-BE49-F238E27FC236}">
                  <a16:creationId xmlns:a16="http://schemas.microsoft.com/office/drawing/2014/main" id="{C7122F2E-A918-4724-9F2A-B679F15484DE}"/>
                </a:ext>
              </a:extLst>
            </p:cNvPr>
            <p:cNvSpPr/>
            <p:nvPr/>
          </p:nvSpPr>
          <p:spPr bwMode="auto">
            <a:xfrm>
              <a:off x="10777538" y="7273925"/>
              <a:ext cx="3046412" cy="1354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2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39" name="ïSľíḋè">
              <a:extLst>
                <a:ext uri="{FF2B5EF4-FFF2-40B4-BE49-F238E27FC236}">
                  <a16:creationId xmlns:a16="http://schemas.microsoft.com/office/drawing/2014/main" id="{D6318D10-EFBD-4039-87FE-A09011E152D7}"/>
                </a:ext>
              </a:extLst>
            </p:cNvPr>
            <p:cNvSpPr/>
            <p:nvPr/>
          </p:nvSpPr>
          <p:spPr bwMode="auto">
            <a:xfrm>
              <a:off x="14917738" y="6470650"/>
              <a:ext cx="2952750" cy="533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solidFill>
                    <a:schemeClr val="bg2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40" name="îṡḷîḍe">
              <a:extLst>
                <a:ext uri="{FF2B5EF4-FFF2-40B4-BE49-F238E27FC236}">
                  <a16:creationId xmlns:a16="http://schemas.microsoft.com/office/drawing/2014/main" id="{906AA1D6-D795-4C62-9996-03627EB39933}"/>
                </a:ext>
              </a:extLst>
            </p:cNvPr>
            <p:cNvSpPr/>
            <p:nvPr/>
          </p:nvSpPr>
          <p:spPr bwMode="auto">
            <a:xfrm>
              <a:off x="14998700" y="7273925"/>
              <a:ext cx="2865438" cy="1354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2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41" name="iṧḷîḍè">
              <a:extLst>
                <a:ext uri="{FF2B5EF4-FFF2-40B4-BE49-F238E27FC236}">
                  <a16:creationId xmlns:a16="http://schemas.microsoft.com/office/drawing/2014/main" id="{DCAC75DF-9E38-45EB-81BD-EA89A4FC83EE}"/>
                </a:ext>
              </a:extLst>
            </p:cNvPr>
            <p:cNvSpPr/>
            <p:nvPr/>
          </p:nvSpPr>
          <p:spPr bwMode="auto">
            <a:xfrm>
              <a:off x="19023013" y="6470650"/>
              <a:ext cx="2954337" cy="533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solidFill>
                    <a:schemeClr val="bg2"/>
                  </a:solidFill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42" name="iśḻide">
              <a:extLst>
                <a:ext uri="{FF2B5EF4-FFF2-40B4-BE49-F238E27FC236}">
                  <a16:creationId xmlns:a16="http://schemas.microsoft.com/office/drawing/2014/main" id="{42628983-4433-4C33-B54E-48962F8AA87E}"/>
                </a:ext>
              </a:extLst>
            </p:cNvPr>
            <p:cNvSpPr/>
            <p:nvPr/>
          </p:nvSpPr>
          <p:spPr bwMode="auto">
            <a:xfrm>
              <a:off x="19051588" y="7273925"/>
              <a:ext cx="2895600" cy="1354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100" dirty="0">
                  <a:solidFill>
                    <a:schemeClr val="bg2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2"/>
                </a:solidFill>
                <a:cs typeface="+mn-ea"/>
                <a:sym typeface="+mn-lt"/>
              </a:endParaRPr>
            </a:p>
          </p:txBody>
        </p:sp>
        <p:sp>
          <p:nvSpPr>
            <p:cNvPr id="43" name="îS1ïḓê">
              <a:extLst>
                <a:ext uri="{FF2B5EF4-FFF2-40B4-BE49-F238E27FC236}">
                  <a16:creationId xmlns:a16="http://schemas.microsoft.com/office/drawing/2014/main" id="{82D22CE6-AB7D-4910-841A-89F5FADAB0F3}"/>
                </a:ext>
              </a:extLst>
            </p:cNvPr>
            <p:cNvSpPr/>
            <p:nvPr/>
          </p:nvSpPr>
          <p:spPr bwMode="auto">
            <a:xfrm>
              <a:off x="2530475" y="3690938"/>
              <a:ext cx="3603625" cy="6342062"/>
            </a:xfrm>
            <a:custGeom>
              <a:avLst/>
              <a:gdLst>
                <a:gd name="T0" fmla="*/ 1801813 w 21600"/>
                <a:gd name="T1" fmla="*/ 3171031 h 21600"/>
                <a:gd name="T2" fmla="*/ 1801813 w 21600"/>
                <a:gd name="T3" fmla="*/ 3171031 h 21600"/>
                <a:gd name="T4" fmla="*/ 1801813 w 21600"/>
                <a:gd name="T5" fmla="*/ 3171031 h 21600"/>
                <a:gd name="T6" fmla="*/ 1801813 w 21600"/>
                <a:gd name="T7" fmla="*/ 317103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600"/>
                  </a:lnTo>
                  <a:lnTo>
                    <a:pt x="0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íṥļíḍé">
              <a:extLst>
                <a:ext uri="{FF2B5EF4-FFF2-40B4-BE49-F238E27FC236}">
                  <a16:creationId xmlns:a16="http://schemas.microsoft.com/office/drawing/2014/main" id="{711B2058-6B95-4B32-817A-9273A4082976}"/>
                </a:ext>
              </a:extLst>
            </p:cNvPr>
            <p:cNvSpPr/>
            <p:nvPr/>
          </p:nvSpPr>
          <p:spPr bwMode="auto">
            <a:xfrm>
              <a:off x="2862263" y="6469063"/>
              <a:ext cx="2954337" cy="5334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Enter the title</a:t>
              </a:r>
              <a:endParaRPr lang="en-US" altLang="zh-CN" sz="1600" b="1" dirty="0">
                <a:cs typeface="+mn-ea"/>
                <a:sym typeface="+mn-lt"/>
              </a:endParaRPr>
            </a:p>
          </p:txBody>
        </p:sp>
        <p:sp>
          <p:nvSpPr>
            <p:cNvPr id="45" name="işlîde">
              <a:extLst>
                <a:ext uri="{FF2B5EF4-FFF2-40B4-BE49-F238E27FC236}">
                  <a16:creationId xmlns:a16="http://schemas.microsoft.com/office/drawing/2014/main" id="{FFA5161F-64B4-46CE-9C60-99A02040D3F9}"/>
                </a:ext>
              </a:extLst>
            </p:cNvPr>
            <p:cNvSpPr/>
            <p:nvPr/>
          </p:nvSpPr>
          <p:spPr bwMode="auto">
            <a:xfrm>
              <a:off x="2906713" y="7273925"/>
              <a:ext cx="2865437" cy="135413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0" y="0"/>
                  </a:moveTo>
                  <a:lnTo>
                    <a:pt x="21599" y="0"/>
                  </a:lnTo>
                  <a:lnTo>
                    <a:pt x="21599" y="21599"/>
                  </a:lnTo>
                  <a:lnTo>
                    <a:pt x="0" y="21599"/>
                  </a:lnTo>
                  <a:close/>
                </a:path>
              </a:pathLst>
            </a:cu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1100" dirty="0"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46" name="iŝḻíḓé">
              <a:extLst>
                <a:ext uri="{FF2B5EF4-FFF2-40B4-BE49-F238E27FC236}">
                  <a16:creationId xmlns:a16="http://schemas.microsoft.com/office/drawing/2014/main" id="{768D05A4-1127-456B-BFE0-EB9F8DA6FFE2}"/>
                </a:ext>
              </a:extLst>
            </p:cNvPr>
            <p:cNvSpPr/>
            <p:nvPr/>
          </p:nvSpPr>
          <p:spPr bwMode="auto">
            <a:xfrm>
              <a:off x="3897313" y="5210175"/>
              <a:ext cx="884237" cy="560388"/>
            </a:xfrm>
            <a:custGeom>
              <a:avLst/>
              <a:gdLst>
                <a:gd name="T0" fmla="*/ 442119 w 21130"/>
                <a:gd name="T1" fmla="*/ 290243 h 21219"/>
                <a:gd name="T2" fmla="*/ 442119 w 21130"/>
                <a:gd name="T3" fmla="*/ 290243 h 21219"/>
                <a:gd name="T4" fmla="*/ 442119 w 21130"/>
                <a:gd name="T5" fmla="*/ 290243 h 21219"/>
                <a:gd name="T6" fmla="*/ 442119 w 21130"/>
                <a:gd name="T7" fmla="*/ 290243 h 21219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130" h="21219">
                  <a:moveTo>
                    <a:pt x="703" y="20557"/>
                  </a:moveTo>
                  <a:cubicBezTo>
                    <a:pt x="-104" y="19543"/>
                    <a:pt x="-243" y="17647"/>
                    <a:pt x="425" y="16369"/>
                  </a:cubicBezTo>
                  <a:lnTo>
                    <a:pt x="5769" y="5878"/>
                  </a:lnTo>
                  <a:cubicBezTo>
                    <a:pt x="6353" y="4732"/>
                    <a:pt x="7383" y="4424"/>
                    <a:pt x="8191" y="5173"/>
                  </a:cubicBezTo>
                  <a:lnTo>
                    <a:pt x="13284" y="9889"/>
                  </a:lnTo>
                  <a:lnTo>
                    <a:pt x="17794" y="1073"/>
                  </a:lnTo>
                  <a:cubicBezTo>
                    <a:pt x="18434" y="-161"/>
                    <a:pt x="19631" y="-381"/>
                    <a:pt x="20438" y="676"/>
                  </a:cubicBezTo>
                  <a:cubicBezTo>
                    <a:pt x="21245" y="1690"/>
                    <a:pt x="21356" y="3586"/>
                    <a:pt x="20716" y="4864"/>
                  </a:cubicBezTo>
                  <a:lnTo>
                    <a:pt x="15205" y="15620"/>
                  </a:lnTo>
                  <a:cubicBezTo>
                    <a:pt x="14621" y="16722"/>
                    <a:pt x="13590" y="17031"/>
                    <a:pt x="12783" y="16282"/>
                  </a:cubicBezTo>
                  <a:lnTo>
                    <a:pt x="7689" y="11608"/>
                  </a:lnTo>
                  <a:lnTo>
                    <a:pt x="3347" y="20116"/>
                  </a:lnTo>
                  <a:cubicBezTo>
                    <a:pt x="2958" y="20866"/>
                    <a:pt x="2429" y="21219"/>
                    <a:pt x="1872" y="21219"/>
                  </a:cubicBezTo>
                  <a:cubicBezTo>
                    <a:pt x="1454" y="21219"/>
                    <a:pt x="1037" y="20998"/>
                    <a:pt x="703" y="2055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îṣ1ïdè">
              <a:extLst>
                <a:ext uri="{FF2B5EF4-FFF2-40B4-BE49-F238E27FC236}">
                  <a16:creationId xmlns:a16="http://schemas.microsoft.com/office/drawing/2014/main" id="{5D7AFDE0-20BE-41C3-86C5-6EB04632353F}"/>
                </a:ext>
              </a:extLst>
            </p:cNvPr>
            <p:cNvSpPr/>
            <p:nvPr/>
          </p:nvSpPr>
          <p:spPr bwMode="auto">
            <a:xfrm>
              <a:off x="7877175" y="5132388"/>
              <a:ext cx="633413" cy="692150"/>
            </a:xfrm>
            <a:custGeom>
              <a:avLst/>
              <a:gdLst>
                <a:gd name="T0" fmla="*/ 316707 w 21600"/>
                <a:gd name="T1" fmla="*/ 346075 h 21600"/>
                <a:gd name="T2" fmla="*/ 316707 w 21600"/>
                <a:gd name="T3" fmla="*/ 346075 h 21600"/>
                <a:gd name="T4" fmla="*/ 316707 w 21600"/>
                <a:gd name="T5" fmla="*/ 346075 h 21600"/>
                <a:gd name="T6" fmla="*/ 316707 w 21600"/>
                <a:gd name="T7" fmla="*/ 34607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21599" y="21599"/>
                  </a:moveTo>
                  <a:lnTo>
                    <a:pt x="15882" y="21599"/>
                  </a:lnTo>
                  <a:lnTo>
                    <a:pt x="15882" y="0"/>
                  </a:lnTo>
                  <a:lnTo>
                    <a:pt x="21599" y="0"/>
                  </a:lnTo>
                  <a:cubicBezTo>
                    <a:pt x="21599" y="0"/>
                    <a:pt x="21599" y="21599"/>
                    <a:pt x="21599" y="21599"/>
                  </a:cubicBezTo>
                  <a:close/>
                  <a:moveTo>
                    <a:pt x="13658" y="21599"/>
                  </a:moveTo>
                  <a:lnTo>
                    <a:pt x="7941" y="21599"/>
                  </a:lnTo>
                  <a:lnTo>
                    <a:pt x="7941" y="9983"/>
                  </a:lnTo>
                  <a:lnTo>
                    <a:pt x="13658" y="9983"/>
                  </a:lnTo>
                  <a:cubicBezTo>
                    <a:pt x="13658" y="9983"/>
                    <a:pt x="13658" y="21599"/>
                    <a:pt x="13658" y="21599"/>
                  </a:cubicBezTo>
                  <a:close/>
                  <a:moveTo>
                    <a:pt x="5717" y="21599"/>
                  </a:moveTo>
                  <a:lnTo>
                    <a:pt x="0" y="21599"/>
                  </a:lnTo>
                  <a:lnTo>
                    <a:pt x="0" y="5990"/>
                  </a:lnTo>
                  <a:lnTo>
                    <a:pt x="5717" y="5990"/>
                  </a:lnTo>
                  <a:cubicBezTo>
                    <a:pt x="5717" y="5990"/>
                    <a:pt x="5717" y="21599"/>
                    <a:pt x="5717" y="215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iṧḻíḓe">
              <a:extLst>
                <a:ext uri="{FF2B5EF4-FFF2-40B4-BE49-F238E27FC236}">
                  <a16:creationId xmlns:a16="http://schemas.microsoft.com/office/drawing/2014/main" id="{A4053FC9-33F6-446B-B547-3BC9C52633CB}"/>
                </a:ext>
              </a:extLst>
            </p:cNvPr>
            <p:cNvSpPr/>
            <p:nvPr/>
          </p:nvSpPr>
          <p:spPr bwMode="auto">
            <a:xfrm>
              <a:off x="11945938" y="5132388"/>
              <a:ext cx="714375" cy="714375"/>
            </a:xfrm>
            <a:custGeom>
              <a:avLst/>
              <a:gdLst>
                <a:gd name="T0" fmla="*/ 357188 w 21600"/>
                <a:gd name="T1" fmla="*/ 357188 h 21600"/>
                <a:gd name="T2" fmla="*/ 357188 w 21600"/>
                <a:gd name="T3" fmla="*/ 357188 h 21600"/>
                <a:gd name="T4" fmla="*/ 357188 w 21600"/>
                <a:gd name="T5" fmla="*/ 357188 h 21600"/>
                <a:gd name="T6" fmla="*/ 357188 w 21600"/>
                <a:gd name="T7" fmla="*/ 357188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2277" y="9427"/>
                  </a:moveTo>
                  <a:lnTo>
                    <a:pt x="12277" y="0"/>
                  </a:lnTo>
                  <a:cubicBezTo>
                    <a:pt x="17448" y="0"/>
                    <a:pt x="21599" y="4150"/>
                    <a:pt x="21599" y="9322"/>
                  </a:cubicBezTo>
                  <a:cubicBezTo>
                    <a:pt x="21599" y="9357"/>
                    <a:pt x="21599" y="9392"/>
                    <a:pt x="21599" y="9427"/>
                  </a:cubicBezTo>
                  <a:cubicBezTo>
                    <a:pt x="21599" y="9427"/>
                    <a:pt x="12277" y="9427"/>
                    <a:pt x="12277" y="9427"/>
                  </a:cubicBezTo>
                  <a:close/>
                  <a:moveTo>
                    <a:pt x="18680" y="12383"/>
                  </a:moveTo>
                  <a:cubicBezTo>
                    <a:pt x="18680" y="12312"/>
                    <a:pt x="18680" y="12277"/>
                    <a:pt x="18680" y="12277"/>
                  </a:cubicBezTo>
                  <a:cubicBezTo>
                    <a:pt x="18680" y="17449"/>
                    <a:pt x="14493" y="21599"/>
                    <a:pt x="9322" y="21599"/>
                  </a:cubicBezTo>
                  <a:cubicBezTo>
                    <a:pt x="4151" y="21599"/>
                    <a:pt x="0" y="17449"/>
                    <a:pt x="0" y="12277"/>
                  </a:cubicBezTo>
                  <a:cubicBezTo>
                    <a:pt x="0" y="7106"/>
                    <a:pt x="4151" y="2919"/>
                    <a:pt x="9322" y="2919"/>
                  </a:cubicBezTo>
                  <a:lnTo>
                    <a:pt x="9322" y="12383"/>
                  </a:lnTo>
                  <a:cubicBezTo>
                    <a:pt x="9322" y="12383"/>
                    <a:pt x="18680" y="12383"/>
                    <a:pt x="18680" y="1238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íṣļïḋê">
              <a:extLst>
                <a:ext uri="{FF2B5EF4-FFF2-40B4-BE49-F238E27FC236}">
                  <a16:creationId xmlns:a16="http://schemas.microsoft.com/office/drawing/2014/main" id="{D1C98E8E-45D2-42AE-911C-5054AE1925BA}"/>
                </a:ext>
              </a:extLst>
            </p:cNvPr>
            <p:cNvSpPr/>
            <p:nvPr/>
          </p:nvSpPr>
          <p:spPr bwMode="auto">
            <a:xfrm>
              <a:off x="16065500" y="5132388"/>
              <a:ext cx="661988" cy="708025"/>
            </a:xfrm>
            <a:custGeom>
              <a:avLst/>
              <a:gdLst>
                <a:gd name="T0" fmla="*/ 330994 w 21600"/>
                <a:gd name="T1" fmla="*/ 354013 h 21600"/>
                <a:gd name="T2" fmla="*/ 330994 w 21600"/>
                <a:gd name="T3" fmla="*/ 354013 h 21600"/>
                <a:gd name="T4" fmla="*/ 330994 w 21600"/>
                <a:gd name="T5" fmla="*/ 354013 h 21600"/>
                <a:gd name="T6" fmla="*/ 330994 w 21600"/>
                <a:gd name="T7" fmla="*/ 354013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9072" y="16413"/>
                  </a:moveTo>
                  <a:cubicBezTo>
                    <a:pt x="9072" y="16199"/>
                    <a:pt x="10249" y="16164"/>
                    <a:pt x="10781" y="16164"/>
                  </a:cubicBezTo>
                  <a:cubicBezTo>
                    <a:pt x="12109" y="16164"/>
                    <a:pt x="12489" y="16270"/>
                    <a:pt x="12489" y="16413"/>
                  </a:cubicBezTo>
                  <a:cubicBezTo>
                    <a:pt x="12489" y="17407"/>
                    <a:pt x="11730" y="18189"/>
                    <a:pt x="10781" y="18189"/>
                  </a:cubicBezTo>
                  <a:cubicBezTo>
                    <a:pt x="9831" y="18189"/>
                    <a:pt x="9072" y="17407"/>
                    <a:pt x="9072" y="16413"/>
                  </a:cubicBezTo>
                  <a:close/>
                  <a:moveTo>
                    <a:pt x="19360" y="17265"/>
                  </a:moveTo>
                  <a:cubicBezTo>
                    <a:pt x="17804" y="15525"/>
                    <a:pt x="13779" y="15170"/>
                    <a:pt x="10781" y="15170"/>
                  </a:cubicBezTo>
                  <a:cubicBezTo>
                    <a:pt x="7820" y="15170"/>
                    <a:pt x="3757" y="15525"/>
                    <a:pt x="2201" y="17265"/>
                  </a:cubicBezTo>
                  <a:cubicBezTo>
                    <a:pt x="3757" y="19006"/>
                    <a:pt x="7820" y="19433"/>
                    <a:pt x="10781" y="19397"/>
                  </a:cubicBezTo>
                  <a:cubicBezTo>
                    <a:pt x="13779" y="19397"/>
                    <a:pt x="17804" y="19042"/>
                    <a:pt x="19360" y="17265"/>
                  </a:cubicBezTo>
                  <a:close/>
                  <a:moveTo>
                    <a:pt x="21599" y="17976"/>
                  </a:moveTo>
                  <a:cubicBezTo>
                    <a:pt x="21599" y="20463"/>
                    <a:pt x="14805" y="21599"/>
                    <a:pt x="10781" y="21599"/>
                  </a:cubicBezTo>
                  <a:cubicBezTo>
                    <a:pt x="6756" y="21599"/>
                    <a:pt x="0" y="20463"/>
                    <a:pt x="0" y="17976"/>
                  </a:cubicBezTo>
                  <a:cubicBezTo>
                    <a:pt x="0" y="17585"/>
                    <a:pt x="151" y="17230"/>
                    <a:pt x="455" y="16910"/>
                  </a:cubicBezTo>
                  <a:cubicBezTo>
                    <a:pt x="4138" y="9841"/>
                    <a:pt x="3188" y="6536"/>
                    <a:pt x="5200" y="3908"/>
                  </a:cubicBezTo>
                  <a:cubicBezTo>
                    <a:pt x="6111" y="2735"/>
                    <a:pt x="7175" y="1989"/>
                    <a:pt x="8882" y="1634"/>
                  </a:cubicBezTo>
                  <a:cubicBezTo>
                    <a:pt x="8959" y="710"/>
                    <a:pt x="9756" y="0"/>
                    <a:pt x="10781" y="0"/>
                  </a:cubicBezTo>
                  <a:cubicBezTo>
                    <a:pt x="11768" y="0"/>
                    <a:pt x="12603" y="710"/>
                    <a:pt x="12679" y="1634"/>
                  </a:cubicBezTo>
                  <a:cubicBezTo>
                    <a:pt x="14387" y="1989"/>
                    <a:pt x="15450" y="2735"/>
                    <a:pt x="16361" y="3908"/>
                  </a:cubicBezTo>
                  <a:cubicBezTo>
                    <a:pt x="18372" y="6536"/>
                    <a:pt x="17424" y="9841"/>
                    <a:pt x="21106" y="16910"/>
                  </a:cubicBezTo>
                  <a:cubicBezTo>
                    <a:pt x="21409" y="17230"/>
                    <a:pt x="21599" y="17585"/>
                    <a:pt x="21599" y="179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îṧľiḑè">
              <a:extLst>
                <a:ext uri="{FF2B5EF4-FFF2-40B4-BE49-F238E27FC236}">
                  <a16:creationId xmlns:a16="http://schemas.microsoft.com/office/drawing/2014/main" id="{1AD01A09-1C4B-4C83-9A7A-C089FA8B7E73}"/>
                </a:ext>
              </a:extLst>
            </p:cNvPr>
            <p:cNvSpPr/>
            <p:nvPr/>
          </p:nvSpPr>
          <p:spPr bwMode="auto">
            <a:xfrm>
              <a:off x="20188238" y="5267325"/>
              <a:ext cx="609600" cy="603250"/>
            </a:xfrm>
            <a:custGeom>
              <a:avLst/>
              <a:gdLst>
                <a:gd name="T0" fmla="*/ 304800 w 21600"/>
                <a:gd name="T1" fmla="*/ 301625 h 21600"/>
                <a:gd name="T2" fmla="*/ 304800 w 21600"/>
                <a:gd name="T3" fmla="*/ 301625 h 21600"/>
                <a:gd name="T4" fmla="*/ 304800 w 21600"/>
                <a:gd name="T5" fmla="*/ 301625 h 21600"/>
                <a:gd name="T6" fmla="*/ 304800 w 21600"/>
                <a:gd name="T7" fmla="*/ 30162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9821" y="21405"/>
                  </a:moveTo>
                  <a:cubicBezTo>
                    <a:pt x="9821" y="16015"/>
                    <a:pt x="5524" y="11401"/>
                    <a:pt x="153" y="11401"/>
                  </a:cubicBezTo>
                  <a:lnTo>
                    <a:pt x="153" y="7717"/>
                  </a:lnTo>
                  <a:cubicBezTo>
                    <a:pt x="7251" y="7717"/>
                    <a:pt x="13658" y="12796"/>
                    <a:pt x="13658" y="21405"/>
                  </a:cubicBezTo>
                  <a:cubicBezTo>
                    <a:pt x="13658" y="21405"/>
                    <a:pt x="9821" y="21405"/>
                    <a:pt x="9821" y="21405"/>
                  </a:cubicBezTo>
                  <a:close/>
                  <a:moveTo>
                    <a:pt x="17417" y="21405"/>
                  </a:moveTo>
                  <a:cubicBezTo>
                    <a:pt x="17417" y="12098"/>
                    <a:pt x="9399" y="3994"/>
                    <a:pt x="153" y="3994"/>
                  </a:cubicBezTo>
                  <a:lnTo>
                    <a:pt x="153" y="0"/>
                  </a:lnTo>
                  <a:cubicBezTo>
                    <a:pt x="11509" y="0"/>
                    <a:pt x="21600" y="8725"/>
                    <a:pt x="21600" y="21405"/>
                  </a:cubicBezTo>
                  <a:cubicBezTo>
                    <a:pt x="21600" y="21405"/>
                    <a:pt x="17417" y="21405"/>
                    <a:pt x="17417" y="21405"/>
                  </a:cubicBezTo>
                  <a:close/>
                  <a:moveTo>
                    <a:pt x="2801" y="21599"/>
                  </a:moveTo>
                  <a:cubicBezTo>
                    <a:pt x="1266" y="21599"/>
                    <a:pt x="0" y="20359"/>
                    <a:pt x="0" y="18769"/>
                  </a:cubicBezTo>
                  <a:cubicBezTo>
                    <a:pt x="0" y="17217"/>
                    <a:pt x="1266" y="15937"/>
                    <a:pt x="2801" y="15937"/>
                  </a:cubicBezTo>
                  <a:cubicBezTo>
                    <a:pt x="4335" y="15937"/>
                    <a:pt x="5640" y="17217"/>
                    <a:pt x="5640" y="18769"/>
                  </a:cubicBezTo>
                  <a:cubicBezTo>
                    <a:pt x="5640" y="20359"/>
                    <a:pt x="4335" y="21599"/>
                    <a:pt x="2801" y="215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flat" cmpd="sng">
                  <a:solidFill>
                    <a:srgbClr val="000000"/>
                  </a:solidFill>
                  <a:prstDash val="solid"/>
                  <a:miter lim="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8086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40957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roduct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3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6" name="îṡľiḑé">
            <a:extLst>
              <a:ext uri="{FF2B5EF4-FFF2-40B4-BE49-F238E27FC236}">
                <a16:creationId xmlns:a16="http://schemas.microsoft.com/office/drawing/2014/main" id="{8A707CCE-6649-43F3-A9D0-882A9674E038}"/>
              </a:ext>
            </a:extLst>
          </p:cNvPr>
          <p:cNvGrpSpPr/>
          <p:nvPr/>
        </p:nvGrpSpPr>
        <p:grpSpPr>
          <a:xfrm>
            <a:off x="3489992" y="645850"/>
            <a:ext cx="8702008" cy="6212150"/>
            <a:chOff x="3489992" y="645850"/>
            <a:chExt cx="8702008" cy="6212150"/>
          </a:xfrm>
        </p:grpSpPr>
        <p:sp>
          <p:nvSpPr>
            <p:cNvPr id="28" name="îŝlidè">
              <a:extLst>
                <a:ext uri="{FF2B5EF4-FFF2-40B4-BE49-F238E27FC236}">
                  <a16:creationId xmlns:a16="http://schemas.microsoft.com/office/drawing/2014/main" id="{641CABD1-1E41-4F8D-B897-8481CBF4615D}"/>
                </a:ext>
              </a:extLst>
            </p:cNvPr>
            <p:cNvSpPr/>
            <p:nvPr/>
          </p:nvSpPr>
          <p:spPr>
            <a:xfrm>
              <a:off x="3489992" y="645850"/>
              <a:ext cx="8702008" cy="6212150"/>
            </a:xfrm>
            <a:custGeom>
              <a:avLst/>
              <a:gdLst>
                <a:gd name="connsiteX0" fmla="*/ 8547098 w 8549609"/>
                <a:gd name="connsiteY0" fmla="*/ 21399 h 6103355"/>
                <a:gd name="connsiteX1" fmla="*/ 8547098 w 8549609"/>
                <a:gd name="connsiteY1" fmla="*/ 6103355 h 6103355"/>
                <a:gd name="connsiteX2" fmla="*/ 0 w 8549609"/>
                <a:gd name="connsiteY2" fmla="*/ 6103355 h 6103355"/>
                <a:gd name="connsiteX3" fmla="*/ 0 w 8549609"/>
                <a:gd name="connsiteY3" fmla="*/ 6099979 h 6103355"/>
                <a:gd name="connsiteX4" fmla="*/ 75154 w 8549609"/>
                <a:gd name="connsiteY4" fmla="*/ 6079058 h 6103355"/>
                <a:gd name="connsiteX5" fmla="*/ 3487391 w 8549609"/>
                <a:gd name="connsiteY5" fmla="*/ 3453037 h 6103355"/>
                <a:gd name="connsiteX6" fmla="*/ 6803933 w 8549609"/>
                <a:gd name="connsiteY6" fmla="*/ 3249290 h 6103355"/>
                <a:gd name="connsiteX7" fmla="*/ 8283925 w 8549609"/>
                <a:gd name="connsiteY7" fmla="*/ 1305208 h 6103355"/>
                <a:gd name="connsiteX8" fmla="*/ 8539114 w 8549609"/>
                <a:gd name="connsiteY8" fmla="*/ 89449 h 6103355"/>
                <a:gd name="connsiteX9" fmla="*/ 8547098 w 8549609"/>
                <a:gd name="connsiteY9" fmla="*/ 0 h 6103355"/>
                <a:gd name="connsiteX10" fmla="*/ 8549609 w 8549609"/>
                <a:gd name="connsiteY10" fmla="*/ 0 h 6103355"/>
                <a:gd name="connsiteX11" fmla="*/ 8547098 w 8549609"/>
                <a:gd name="connsiteY11" fmla="*/ 21399 h 6103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49609" h="6103355">
                  <a:moveTo>
                    <a:pt x="8547098" y="21399"/>
                  </a:moveTo>
                  <a:lnTo>
                    <a:pt x="8547098" y="6103355"/>
                  </a:lnTo>
                  <a:lnTo>
                    <a:pt x="0" y="6103355"/>
                  </a:lnTo>
                  <a:lnTo>
                    <a:pt x="0" y="6099979"/>
                  </a:lnTo>
                  <a:lnTo>
                    <a:pt x="75154" y="6079058"/>
                  </a:lnTo>
                  <a:cubicBezTo>
                    <a:pt x="1052315" y="5760037"/>
                    <a:pt x="2385889" y="3914126"/>
                    <a:pt x="3487391" y="3453037"/>
                  </a:cubicBezTo>
                  <a:cubicBezTo>
                    <a:pt x="4624426" y="2977074"/>
                    <a:pt x="5960649" y="3836005"/>
                    <a:pt x="6803933" y="3249290"/>
                  </a:cubicBezTo>
                  <a:cubicBezTo>
                    <a:pt x="7513273" y="2898394"/>
                    <a:pt x="7993397" y="1857965"/>
                    <a:pt x="8283925" y="1305208"/>
                  </a:cubicBezTo>
                  <a:cubicBezTo>
                    <a:pt x="8412211" y="956669"/>
                    <a:pt x="8496263" y="434805"/>
                    <a:pt x="8539114" y="89449"/>
                  </a:cubicBezTo>
                  <a:close/>
                  <a:moveTo>
                    <a:pt x="8547098" y="0"/>
                  </a:moveTo>
                  <a:lnTo>
                    <a:pt x="8549609" y="0"/>
                  </a:lnTo>
                  <a:lnTo>
                    <a:pt x="8547098" y="21399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>
              <a:outerShdw blurRad="635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îśľiḑê">
              <a:extLst>
                <a:ext uri="{FF2B5EF4-FFF2-40B4-BE49-F238E27FC236}">
                  <a16:creationId xmlns:a16="http://schemas.microsoft.com/office/drawing/2014/main" id="{FFB660FD-AB04-45AF-900B-FF5685314EFE}"/>
                </a:ext>
              </a:extLst>
            </p:cNvPr>
            <p:cNvSpPr/>
            <p:nvPr/>
          </p:nvSpPr>
          <p:spPr>
            <a:xfrm>
              <a:off x="3642391" y="754645"/>
              <a:ext cx="8549609" cy="6103355"/>
            </a:xfrm>
            <a:custGeom>
              <a:avLst/>
              <a:gdLst>
                <a:gd name="connsiteX0" fmla="*/ 8547098 w 8549609"/>
                <a:gd name="connsiteY0" fmla="*/ 21399 h 6103355"/>
                <a:gd name="connsiteX1" fmla="*/ 8547098 w 8549609"/>
                <a:gd name="connsiteY1" fmla="*/ 6103355 h 6103355"/>
                <a:gd name="connsiteX2" fmla="*/ 0 w 8549609"/>
                <a:gd name="connsiteY2" fmla="*/ 6103355 h 6103355"/>
                <a:gd name="connsiteX3" fmla="*/ 0 w 8549609"/>
                <a:gd name="connsiteY3" fmla="*/ 6099979 h 6103355"/>
                <a:gd name="connsiteX4" fmla="*/ 75154 w 8549609"/>
                <a:gd name="connsiteY4" fmla="*/ 6079058 h 6103355"/>
                <a:gd name="connsiteX5" fmla="*/ 3487391 w 8549609"/>
                <a:gd name="connsiteY5" fmla="*/ 3453037 h 6103355"/>
                <a:gd name="connsiteX6" fmla="*/ 6803933 w 8549609"/>
                <a:gd name="connsiteY6" fmla="*/ 3249290 h 6103355"/>
                <a:gd name="connsiteX7" fmla="*/ 8283925 w 8549609"/>
                <a:gd name="connsiteY7" fmla="*/ 1305208 h 6103355"/>
                <a:gd name="connsiteX8" fmla="*/ 8539114 w 8549609"/>
                <a:gd name="connsiteY8" fmla="*/ 89449 h 6103355"/>
                <a:gd name="connsiteX9" fmla="*/ 8547098 w 8549609"/>
                <a:gd name="connsiteY9" fmla="*/ 0 h 6103355"/>
                <a:gd name="connsiteX10" fmla="*/ 8549609 w 8549609"/>
                <a:gd name="connsiteY10" fmla="*/ 0 h 6103355"/>
                <a:gd name="connsiteX11" fmla="*/ 8547098 w 8549609"/>
                <a:gd name="connsiteY11" fmla="*/ 21399 h 6103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549609" h="6103355">
                  <a:moveTo>
                    <a:pt x="8547098" y="21399"/>
                  </a:moveTo>
                  <a:lnTo>
                    <a:pt x="8547098" y="6103355"/>
                  </a:lnTo>
                  <a:lnTo>
                    <a:pt x="0" y="6103355"/>
                  </a:lnTo>
                  <a:lnTo>
                    <a:pt x="0" y="6099979"/>
                  </a:lnTo>
                  <a:lnTo>
                    <a:pt x="75154" y="6079058"/>
                  </a:lnTo>
                  <a:cubicBezTo>
                    <a:pt x="1052315" y="5760037"/>
                    <a:pt x="2385889" y="3914126"/>
                    <a:pt x="3487391" y="3453037"/>
                  </a:cubicBezTo>
                  <a:cubicBezTo>
                    <a:pt x="4624426" y="2977074"/>
                    <a:pt x="5960649" y="3836005"/>
                    <a:pt x="6803933" y="3249290"/>
                  </a:cubicBezTo>
                  <a:cubicBezTo>
                    <a:pt x="7513273" y="2898394"/>
                    <a:pt x="7993397" y="1857965"/>
                    <a:pt x="8283925" y="1305208"/>
                  </a:cubicBezTo>
                  <a:cubicBezTo>
                    <a:pt x="8412211" y="956669"/>
                    <a:pt x="8496263" y="434805"/>
                    <a:pt x="8539114" y="89449"/>
                  </a:cubicBezTo>
                  <a:close/>
                  <a:moveTo>
                    <a:pt x="8547098" y="0"/>
                  </a:moveTo>
                  <a:lnTo>
                    <a:pt x="8549609" y="0"/>
                  </a:lnTo>
                  <a:lnTo>
                    <a:pt x="8547098" y="21399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i="1" u="sng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7" name="ïṩľîḋe">
            <a:extLst>
              <a:ext uri="{FF2B5EF4-FFF2-40B4-BE49-F238E27FC236}">
                <a16:creationId xmlns:a16="http://schemas.microsoft.com/office/drawing/2014/main" id="{1EF91398-9178-449B-85BE-3D968902A726}"/>
              </a:ext>
            </a:extLst>
          </p:cNvPr>
          <p:cNvGrpSpPr/>
          <p:nvPr/>
        </p:nvGrpSpPr>
        <p:grpSpPr>
          <a:xfrm>
            <a:off x="6789494" y="2200973"/>
            <a:ext cx="3885445" cy="3692447"/>
            <a:chOff x="6725406" y="2236666"/>
            <a:chExt cx="3885445" cy="3692447"/>
          </a:xfrm>
          <a:effectLst>
            <a:outerShdw blurRad="50800" dist="38100" dir="16200000" rotWithShape="0">
              <a:schemeClr val="accent1">
                <a:lumMod val="20000"/>
                <a:lumOff val="80000"/>
                <a:alpha val="40000"/>
              </a:schemeClr>
            </a:outerShdw>
          </a:effectLst>
        </p:grpSpPr>
        <p:sp>
          <p:nvSpPr>
            <p:cNvPr id="20" name="iṥ1îďè">
              <a:extLst>
                <a:ext uri="{FF2B5EF4-FFF2-40B4-BE49-F238E27FC236}">
                  <a16:creationId xmlns:a16="http://schemas.microsoft.com/office/drawing/2014/main" id="{D0A56AFC-A88B-4CAE-B258-B8D5F5F6950F}"/>
                </a:ext>
              </a:extLst>
            </p:cNvPr>
            <p:cNvSpPr/>
            <p:nvPr/>
          </p:nvSpPr>
          <p:spPr>
            <a:xfrm>
              <a:off x="7173043" y="5788443"/>
              <a:ext cx="2990171" cy="140670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1" name="îṣlíḑé">
              <a:extLst>
                <a:ext uri="{FF2B5EF4-FFF2-40B4-BE49-F238E27FC236}">
                  <a16:creationId xmlns:a16="http://schemas.microsoft.com/office/drawing/2014/main" id="{FC2ADA89-919D-4B67-9F3C-3545A37D7F43}"/>
                </a:ext>
              </a:extLst>
            </p:cNvPr>
            <p:cNvGrpSpPr/>
            <p:nvPr/>
          </p:nvGrpSpPr>
          <p:grpSpPr>
            <a:xfrm>
              <a:off x="6725406" y="2236666"/>
              <a:ext cx="3885445" cy="3263192"/>
              <a:chOff x="1554163" y="1203325"/>
              <a:chExt cx="6840537" cy="5745163"/>
            </a:xfrm>
          </p:grpSpPr>
          <p:sp>
            <p:nvSpPr>
              <p:cNvPr id="22" name="iṡḻîḋé">
                <a:extLst>
                  <a:ext uri="{FF2B5EF4-FFF2-40B4-BE49-F238E27FC236}">
                    <a16:creationId xmlns:a16="http://schemas.microsoft.com/office/drawing/2014/main" id="{79F76DEB-E0A0-4B6C-9ACB-282BE661EAFF}"/>
                  </a:ext>
                </a:extLst>
              </p:cNvPr>
              <p:cNvSpPr/>
              <p:nvPr/>
            </p:nvSpPr>
            <p:spPr bwMode="auto">
              <a:xfrm>
                <a:off x="3735388" y="6911975"/>
                <a:ext cx="2513012" cy="36513"/>
              </a:xfrm>
              <a:custGeom>
                <a:avLst/>
                <a:gdLst>
                  <a:gd name="T0" fmla="*/ 6776 w 6981"/>
                  <a:gd name="T1" fmla="*/ 0 h 103"/>
                  <a:gd name="T2" fmla="*/ 6776 w 6981"/>
                  <a:gd name="T3" fmla="*/ 0 h 103"/>
                  <a:gd name="T4" fmla="*/ 203 w 6981"/>
                  <a:gd name="T5" fmla="*/ 0 h 103"/>
                  <a:gd name="T6" fmla="*/ 0 w 6981"/>
                  <a:gd name="T7" fmla="*/ 46 h 103"/>
                  <a:gd name="T8" fmla="*/ 0 w 6981"/>
                  <a:gd name="T9" fmla="*/ 55 h 103"/>
                  <a:gd name="T10" fmla="*/ 203 w 6981"/>
                  <a:gd name="T11" fmla="*/ 102 h 103"/>
                  <a:gd name="T12" fmla="*/ 6776 w 6981"/>
                  <a:gd name="T13" fmla="*/ 102 h 103"/>
                  <a:gd name="T14" fmla="*/ 6980 w 6981"/>
                  <a:gd name="T15" fmla="*/ 55 h 103"/>
                  <a:gd name="T16" fmla="*/ 6980 w 6981"/>
                  <a:gd name="T17" fmla="*/ 46 h 103"/>
                  <a:gd name="T18" fmla="*/ 6776 w 6981"/>
                  <a:gd name="T1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81" h="103">
                    <a:moveTo>
                      <a:pt x="6776" y="0"/>
                    </a:moveTo>
                    <a:lnTo>
                      <a:pt x="6776" y="0"/>
                    </a:lnTo>
                    <a:cubicBezTo>
                      <a:pt x="203" y="0"/>
                      <a:pt x="203" y="0"/>
                      <a:pt x="203" y="0"/>
                    </a:cubicBezTo>
                    <a:cubicBezTo>
                      <a:pt x="92" y="0"/>
                      <a:pt x="0" y="18"/>
                      <a:pt x="0" y="46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83"/>
                      <a:pt x="92" y="102"/>
                      <a:pt x="203" y="102"/>
                    </a:cubicBezTo>
                    <a:cubicBezTo>
                      <a:pt x="6776" y="102"/>
                      <a:pt x="6776" y="102"/>
                      <a:pt x="6776" y="102"/>
                    </a:cubicBezTo>
                    <a:cubicBezTo>
                      <a:pt x="6887" y="102"/>
                      <a:pt x="6980" y="83"/>
                      <a:pt x="6980" y="55"/>
                    </a:cubicBezTo>
                    <a:cubicBezTo>
                      <a:pt x="6980" y="46"/>
                      <a:pt x="6980" y="46"/>
                      <a:pt x="6980" y="46"/>
                    </a:cubicBezTo>
                    <a:cubicBezTo>
                      <a:pt x="6980" y="18"/>
                      <a:pt x="6887" y="0"/>
                      <a:pt x="6776" y="0"/>
                    </a:cubicBezTo>
                  </a:path>
                </a:pathLst>
              </a:custGeom>
              <a:solidFill>
                <a:srgbClr val="BCBD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ïṧľîďê">
                <a:extLst>
                  <a:ext uri="{FF2B5EF4-FFF2-40B4-BE49-F238E27FC236}">
                    <a16:creationId xmlns:a16="http://schemas.microsoft.com/office/drawing/2014/main" id="{159F4D65-393A-4CFB-8EF1-B018FDB5EC75}"/>
                  </a:ext>
                </a:extLst>
              </p:cNvPr>
              <p:cNvSpPr/>
              <p:nvPr/>
            </p:nvSpPr>
            <p:spPr bwMode="auto">
              <a:xfrm>
                <a:off x="1554163" y="1203325"/>
                <a:ext cx="6840537" cy="4140200"/>
              </a:xfrm>
              <a:custGeom>
                <a:avLst/>
                <a:gdLst>
                  <a:gd name="T0" fmla="*/ 18999 w 19000"/>
                  <a:gd name="T1" fmla="*/ 11499 h 11500"/>
                  <a:gd name="T2" fmla="*/ 18999 w 19000"/>
                  <a:gd name="T3" fmla="*/ 11499 h 11500"/>
                  <a:gd name="T4" fmla="*/ 18999 w 19000"/>
                  <a:gd name="T5" fmla="*/ 630 h 11500"/>
                  <a:gd name="T6" fmla="*/ 18369 w 19000"/>
                  <a:gd name="T7" fmla="*/ 0 h 11500"/>
                  <a:gd name="T8" fmla="*/ 630 w 19000"/>
                  <a:gd name="T9" fmla="*/ 0 h 11500"/>
                  <a:gd name="T10" fmla="*/ 0 w 19000"/>
                  <a:gd name="T11" fmla="*/ 630 h 11500"/>
                  <a:gd name="T12" fmla="*/ 0 w 19000"/>
                  <a:gd name="T13" fmla="*/ 11499 h 11500"/>
                  <a:gd name="T14" fmla="*/ 18999 w 19000"/>
                  <a:gd name="T15" fmla="*/ 11499 h 11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000" h="11500">
                    <a:moveTo>
                      <a:pt x="18999" y="11499"/>
                    </a:moveTo>
                    <a:lnTo>
                      <a:pt x="18999" y="11499"/>
                    </a:lnTo>
                    <a:cubicBezTo>
                      <a:pt x="18999" y="630"/>
                      <a:pt x="18999" y="630"/>
                      <a:pt x="18999" y="630"/>
                    </a:cubicBezTo>
                    <a:cubicBezTo>
                      <a:pt x="18999" y="287"/>
                      <a:pt x="18712" y="0"/>
                      <a:pt x="18369" y="0"/>
                    </a:cubicBezTo>
                    <a:cubicBezTo>
                      <a:pt x="630" y="0"/>
                      <a:pt x="630" y="0"/>
                      <a:pt x="630" y="0"/>
                    </a:cubicBezTo>
                    <a:cubicBezTo>
                      <a:pt x="278" y="0"/>
                      <a:pt x="0" y="287"/>
                      <a:pt x="0" y="630"/>
                    </a:cubicBezTo>
                    <a:cubicBezTo>
                      <a:pt x="0" y="11499"/>
                      <a:pt x="0" y="11499"/>
                      <a:pt x="0" y="11499"/>
                    </a:cubicBezTo>
                    <a:lnTo>
                      <a:pt x="18999" y="11499"/>
                    </a:lnTo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íṥļïḑê">
                <a:extLst>
                  <a:ext uri="{FF2B5EF4-FFF2-40B4-BE49-F238E27FC236}">
                    <a16:creationId xmlns:a16="http://schemas.microsoft.com/office/drawing/2014/main" id="{6CD0DDD4-5B63-4B43-A74E-A76A88F87893}"/>
                  </a:ext>
                </a:extLst>
              </p:cNvPr>
              <p:cNvSpPr/>
              <p:nvPr/>
            </p:nvSpPr>
            <p:spPr bwMode="auto">
              <a:xfrm>
                <a:off x="3735388" y="6099175"/>
                <a:ext cx="2513012" cy="833438"/>
              </a:xfrm>
              <a:custGeom>
                <a:avLst/>
                <a:gdLst>
                  <a:gd name="T0" fmla="*/ 6924 w 6981"/>
                  <a:gd name="T1" fmla="*/ 2138 h 2315"/>
                  <a:gd name="T2" fmla="*/ 6924 w 6981"/>
                  <a:gd name="T3" fmla="*/ 2138 h 2315"/>
                  <a:gd name="T4" fmla="*/ 6249 w 6981"/>
                  <a:gd name="T5" fmla="*/ 2000 h 2315"/>
                  <a:gd name="T6" fmla="*/ 6036 w 6981"/>
                  <a:gd name="T7" fmla="*/ 1712 h 2315"/>
                  <a:gd name="T8" fmla="*/ 5897 w 6981"/>
                  <a:gd name="T9" fmla="*/ 0 h 2315"/>
                  <a:gd name="T10" fmla="*/ 1074 w 6981"/>
                  <a:gd name="T11" fmla="*/ 0 h 2315"/>
                  <a:gd name="T12" fmla="*/ 944 w 6981"/>
                  <a:gd name="T13" fmla="*/ 1712 h 2315"/>
                  <a:gd name="T14" fmla="*/ 731 w 6981"/>
                  <a:gd name="T15" fmla="*/ 2000 h 2315"/>
                  <a:gd name="T16" fmla="*/ 37 w 6981"/>
                  <a:gd name="T17" fmla="*/ 2148 h 2315"/>
                  <a:gd name="T18" fmla="*/ 0 w 6981"/>
                  <a:gd name="T19" fmla="*/ 2185 h 2315"/>
                  <a:gd name="T20" fmla="*/ 0 w 6981"/>
                  <a:gd name="T21" fmla="*/ 2314 h 2315"/>
                  <a:gd name="T22" fmla="*/ 18 w 6981"/>
                  <a:gd name="T23" fmla="*/ 2314 h 2315"/>
                  <a:gd name="T24" fmla="*/ 6961 w 6981"/>
                  <a:gd name="T25" fmla="*/ 2314 h 2315"/>
                  <a:gd name="T26" fmla="*/ 6980 w 6981"/>
                  <a:gd name="T27" fmla="*/ 2314 h 2315"/>
                  <a:gd name="T28" fmla="*/ 6980 w 6981"/>
                  <a:gd name="T29" fmla="*/ 2185 h 2315"/>
                  <a:gd name="T30" fmla="*/ 6924 w 6981"/>
                  <a:gd name="T31" fmla="*/ 2138 h 2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981" h="2315">
                    <a:moveTo>
                      <a:pt x="6924" y="2138"/>
                    </a:moveTo>
                    <a:lnTo>
                      <a:pt x="6924" y="2138"/>
                    </a:lnTo>
                    <a:cubicBezTo>
                      <a:pt x="6795" y="2111"/>
                      <a:pt x="6443" y="2037"/>
                      <a:pt x="6249" y="2000"/>
                    </a:cubicBezTo>
                    <a:cubicBezTo>
                      <a:pt x="6008" y="1944"/>
                      <a:pt x="6036" y="1712"/>
                      <a:pt x="6036" y="1712"/>
                    </a:cubicBezTo>
                    <a:cubicBezTo>
                      <a:pt x="5897" y="0"/>
                      <a:pt x="5897" y="0"/>
                      <a:pt x="5897" y="0"/>
                    </a:cubicBezTo>
                    <a:cubicBezTo>
                      <a:pt x="1074" y="0"/>
                      <a:pt x="1074" y="0"/>
                      <a:pt x="1074" y="0"/>
                    </a:cubicBezTo>
                    <a:cubicBezTo>
                      <a:pt x="944" y="1712"/>
                      <a:pt x="944" y="1712"/>
                      <a:pt x="944" y="1712"/>
                    </a:cubicBezTo>
                    <a:cubicBezTo>
                      <a:pt x="944" y="1712"/>
                      <a:pt x="972" y="1944"/>
                      <a:pt x="731" y="2000"/>
                    </a:cubicBezTo>
                    <a:cubicBezTo>
                      <a:pt x="527" y="2046"/>
                      <a:pt x="148" y="2120"/>
                      <a:pt x="37" y="2148"/>
                    </a:cubicBezTo>
                    <a:cubicBezTo>
                      <a:pt x="0" y="2157"/>
                      <a:pt x="0" y="2185"/>
                      <a:pt x="0" y="2185"/>
                    </a:cubicBezTo>
                    <a:cubicBezTo>
                      <a:pt x="0" y="2314"/>
                      <a:pt x="0" y="2314"/>
                      <a:pt x="0" y="2314"/>
                    </a:cubicBezTo>
                    <a:cubicBezTo>
                      <a:pt x="18" y="2314"/>
                      <a:pt x="18" y="2314"/>
                      <a:pt x="18" y="2314"/>
                    </a:cubicBezTo>
                    <a:cubicBezTo>
                      <a:pt x="6961" y="2314"/>
                      <a:pt x="6961" y="2314"/>
                      <a:pt x="6961" y="2314"/>
                    </a:cubicBezTo>
                    <a:cubicBezTo>
                      <a:pt x="6980" y="2314"/>
                      <a:pt x="6980" y="2314"/>
                      <a:pt x="6980" y="2314"/>
                    </a:cubicBezTo>
                    <a:cubicBezTo>
                      <a:pt x="6980" y="2185"/>
                      <a:pt x="6980" y="2185"/>
                      <a:pt x="6980" y="2185"/>
                    </a:cubicBezTo>
                    <a:cubicBezTo>
                      <a:pt x="6980" y="2185"/>
                      <a:pt x="6980" y="2157"/>
                      <a:pt x="6924" y="2138"/>
                    </a:cubicBezTo>
                  </a:path>
                </a:pathLst>
              </a:custGeom>
              <a:solidFill>
                <a:srgbClr val="EAEAEA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5" name="íSľïḋé">
                <a:extLst>
                  <a:ext uri="{FF2B5EF4-FFF2-40B4-BE49-F238E27FC236}">
                    <a16:creationId xmlns:a16="http://schemas.microsoft.com/office/drawing/2014/main" id="{068B6C3B-CCA1-478B-8C16-D2E8D850A3BF}"/>
                  </a:ext>
                </a:extLst>
              </p:cNvPr>
              <p:cNvSpPr/>
              <p:nvPr/>
            </p:nvSpPr>
            <p:spPr bwMode="auto">
              <a:xfrm>
                <a:off x="1554163" y="5343525"/>
                <a:ext cx="6840537" cy="757238"/>
              </a:xfrm>
              <a:custGeom>
                <a:avLst/>
                <a:gdLst>
                  <a:gd name="T0" fmla="*/ 0 w 19000"/>
                  <a:gd name="T1" fmla="*/ 0 h 2103"/>
                  <a:gd name="T2" fmla="*/ 0 w 19000"/>
                  <a:gd name="T3" fmla="*/ 0 h 2103"/>
                  <a:gd name="T4" fmla="*/ 0 w 19000"/>
                  <a:gd name="T5" fmla="*/ 1472 h 2103"/>
                  <a:gd name="T6" fmla="*/ 630 w 19000"/>
                  <a:gd name="T7" fmla="*/ 2102 h 2103"/>
                  <a:gd name="T8" fmla="*/ 18369 w 19000"/>
                  <a:gd name="T9" fmla="*/ 2102 h 2103"/>
                  <a:gd name="T10" fmla="*/ 18999 w 19000"/>
                  <a:gd name="T11" fmla="*/ 1472 h 2103"/>
                  <a:gd name="T12" fmla="*/ 18999 w 19000"/>
                  <a:gd name="T13" fmla="*/ 0 h 2103"/>
                  <a:gd name="T14" fmla="*/ 0 w 19000"/>
                  <a:gd name="T15" fmla="*/ 0 h 2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9000" h="2103">
                    <a:moveTo>
                      <a:pt x="0" y="0"/>
                    </a:moveTo>
                    <a:lnTo>
                      <a:pt x="0" y="0"/>
                    </a:ln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824"/>
                      <a:pt x="278" y="2102"/>
                      <a:pt x="630" y="2102"/>
                    </a:cubicBezTo>
                    <a:cubicBezTo>
                      <a:pt x="18369" y="2102"/>
                      <a:pt x="18369" y="2102"/>
                      <a:pt x="18369" y="2102"/>
                    </a:cubicBezTo>
                    <a:cubicBezTo>
                      <a:pt x="18712" y="2102"/>
                      <a:pt x="18999" y="1824"/>
                      <a:pt x="18999" y="1472"/>
                    </a:cubicBezTo>
                    <a:cubicBezTo>
                      <a:pt x="18999" y="0"/>
                      <a:pt x="18999" y="0"/>
                      <a:pt x="18999" y="0"/>
                    </a:cubicBezTo>
                    <a:lnTo>
                      <a:pt x="0" y="0"/>
                    </a:lnTo>
                  </a:path>
                </a:pathLst>
              </a:custGeom>
              <a:solidFill>
                <a:srgbClr val="F4F4F4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ïSļíḋê">
                <a:extLst>
                  <a:ext uri="{FF2B5EF4-FFF2-40B4-BE49-F238E27FC236}">
                    <a16:creationId xmlns:a16="http://schemas.microsoft.com/office/drawing/2014/main" id="{E31D270D-7C18-4CB3-9100-F804F7BC8489}"/>
                  </a:ext>
                </a:extLst>
              </p:cNvPr>
              <p:cNvSpPr/>
              <p:nvPr/>
            </p:nvSpPr>
            <p:spPr bwMode="auto">
              <a:xfrm>
                <a:off x="3735388" y="6872288"/>
                <a:ext cx="2513012" cy="60325"/>
              </a:xfrm>
              <a:custGeom>
                <a:avLst/>
                <a:gdLst>
                  <a:gd name="T0" fmla="*/ 6943 w 6981"/>
                  <a:gd name="T1" fmla="*/ 0 h 167"/>
                  <a:gd name="T2" fmla="*/ 6943 w 6981"/>
                  <a:gd name="T3" fmla="*/ 0 h 167"/>
                  <a:gd name="T4" fmla="*/ 27 w 6981"/>
                  <a:gd name="T5" fmla="*/ 0 h 167"/>
                  <a:gd name="T6" fmla="*/ 0 w 6981"/>
                  <a:gd name="T7" fmla="*/ 37 h 167"/>
                  <a:gd name="T8" fmla="*/ 0 w 6981"/>
                  <a:gd name="T9" fmla="*/ 166 h 167"/>
                  <a:gd name="T10" fmla="*/ 18 w 6981"/>
                  <a:gd name="T11" fmla="*/ 166 h 167"/>
                  <a:gd name="T12" fmla="*/ 6961 w 6981"/>
                  <a:gd name="T13" fmla="*/ 166 h 167"/>
                  <a:gd name="T14" fmla="*/ 6980 w 6981"/>
                  <a:gd name="T15" fmla="*/ 166 h 167"/>
                  <a:gd name="T16" fmla="*/ 6980 w 6981"/>
                  <a:gd name="T17" fmla="*/ 37 h 167"/>
                  <a:gd name="T18" fmla="*/ 6943 w 6981"/>
                  <a:gd name="T19" fmla="*/ 0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81" h="167">
                    <a:moveTo>
                      <a:pt x="6943" y="0"/>
                    </a:moveTo>
                    <a:lnTo>
                      <a:pt x="6943" y="0"/>
                    </a:lnTo>
                    <a:cubicBezTo>
                      <a:pt x="27" y="0"/>
                      <a:pt x="27" y="0"/>
                      <a:pt x="27" y="0"/>
                    </a:cubicBezTo>
                    <a:cubicBezTo>
                      <a:pt x="0" y="9"/>
                      <a:pt x="0" y="37"/>
                      <a:pt x="0" y="37"/>
                    </a:cubicBezTo>
                    <a:cubicBezTo>
                      <a:pt x="0" y="166"/>
                      <a:pt x="0" y="166"/>
                      <a:pt x="0" y="166"/>
                    </a:cubicBezTo>
                    <a:cubicBezTo>
                      <a:pt x="18" y="166"/>
                      <a:pt x="18" y="166"/>
                      <a:pt x="18" y="166"/>
                    </a:cubicBezTo>
                    <a:cubicBezTo>
                      <a:pt x="6961" y="166"/>
                      <a:pt x="6961" y="166"/>
                      <a:pt x="6961" y="166"/>
                    </a:cubicBezTo>
                    <a:cubicBezTo>
                      <a:pt x="6980" y="166"/>
                      <a:pt x="6980" y="166"/>
                      <a:pt x="6980" y="166"/>
                    </a:cubicBezTo>
                    <a:cubicBezTo>
                      <a:pt x="6980" y="37"/>
                      <a:pt x="6980" y="37"/>
                      <a:pt x="6980" y="37"/>
                    </a:cubicBezTo>
                    <a:cubicBezTo>
                      <a:pt x="6980" y="37"/>
                      <a:pt x="6980" y="18"/>
                      <a:pt x="6943" y="0"/>
                    </a:cubicBezTo>
                  </a:path>
                </a:pathLst>
              </a:custGeom>
              <a:solidFill>
                <a:srgbClr val="D1D2D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iśļidê">
                <a:extLst>
                  <a:ext uri="{FF2B5EF4-FFF2-40B4-BE49-F238E27FC236}">
                    <a16:creationId xmlns:a16="http://schemas.microsoft.com/office/drawing/2014/main" id="{A4336B10-F9D7-4D5C-BD04-DCE34FA24453}"/>
                  </a:ext>
                </a:extLst>
              </p:cNvPr>
              <p:cNvSpPr/>
              <p:nvPr/>
            </p:nvSpPr>
            <p:spPr bwMode="auto">
              <a:xfrm>
                <a:off x="1874837" y="1503362"/>
                <a:ext cx="6196012" cy="3509961"/>
              </a:xfrm>
              <a:custGeom>
                <a:avLst/>
                <a:gdLst>
                  <a:gd name="T0" fmla="*/ 17212 w 17213"/>
                  <a:gd name="T1" fmla="*/ 9749 h 9750"/>
                  <a:gd name="T2" fmla="*/ 0 w 17213"/>
                  <a:gd name="T3" fmla="*/ 9749 h 9750"/>
                  <a:gd name="T4" fmla="*/ 0 w 17213"/>
                  <a:gd name="T5" fmla="*/ 0 h 9750"/>
                  <a:gd name="T6" fmla="*/ 17212 w 17213"/>
                  <a:gd name="T7" fmla="*/ 0 h 9750"/>
                  <a:gd name="T8" fmla="*/ 17212 w 17213"/>
                  <a:gd name="T9" fmla="*/ 9749 h 9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13" h="9750">
                    <a:moveTo>
                      <a:pt x="17212" y="9749"/>
                    </a:moveTo>
                    <a:lnTo>
                      <a:pt x="0" y="9749"/>
                    </a:lnTo>
                    <a:lnTo>
                      <a:pt x="0" y="0"/>
                    </a:lnTo>
                    <a:lnTo>
                      <a:pt x="17212" y="0"/>
                    </a:lnTo>
                    <a:lnTo>
                      <a:pt x="17212" y="9749"/>
                    </a:lnTo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0" name="组合 29">
            <a:extLst>
              <a:ext uri="{FF2B5EF4-FFF2-40B4-BE49-F238E27FC236}">
                <a16:creationId xmlns:a16="http://schemas.microsoft.com/office/drawing/2014/main" id="{9A16D1CA-86B4-4765-A484-F81D24BFD8B7}"/>
              </a:ext>
            </a:extLst>
          </p:cNvPr>
          <p:cNvGrpSpPr/>
          <p:nvPr/>
        </p:nvGrpSpPr>
        <p:grpSpPr>
          <a:xfrm>
            <a:off x="685132" y="1972780"/>
            <a:ext cx="3803650" cy="1197489"/>
            <a:chOff x="673100" y="1972780"/>
            <a:chExt cx="3803650" cy="1197489"/>
          </a:xfrm>
        </p:grpSpPr>
        <p:sp>
          <p:nvSpPr>
            <p:cNvPr id="8" name="îSľîḋè">
              <a:extLst>
                <a:ext uri="{FF2B5EF4-FFF2-40B4-BE49-F238E27FC236}">
                  <a16:creationId xmlns:a16="http://schemas.microsoft.com/office/drawing/2014/main" id="{23F6E25A-75E4-47E1-AFD3-0676E53CE1D4}"/>
                </a:ext>
              </a:extLst>
            </p:cNvPr>
            <p:cNvSpPr/>
            <p:nvPr/>
          </p:nvSpPr>
          <p:spPr bwMode="auto">
            <a:xfrm>
              <a:off x="673100" y="2478085"/>
              <a:ext cx="3632200" cy="692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işlîḑe">
              <a:extLst>
                <a:ext uri="{FF2B5EF4-FFF2-40B4-BE49-F238E27FC236}">
                  <a16:creationId xmlns:a16="http://schemas.microsoft.com/office/drawing/2014/main" id="{AFFDBC53-84C3-410D-8D33-68F309C181ED}"/>
                </a:ext>
              </a:extLst>
            </p:cNvPr>
            <p:cNvSpPr txBox="1"/>
            <p:nvPr/>
          </p:nvSpPr>
          <p:spPr bwMode="auto">
            <a:xfrm>
              <a:off x="673100" y="1972780"/>
              <a:ext cx="3632200" cy="5053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01.</a:t>
              </a:r>
              <a:r>
                <a:rPr lang="zh-CN" altLang="en-US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4A2A4462-75DC-41CF-BAAC-8546369A4081}"/>
                </a:ext>
              </a:extLst>
            </p:cNvPr>
            <p:cNvCxnSpPr/>
            <p:nvPr/>
          </p:nvCxnSpPr>
          <p:spPr>
            <a:xfrm>
              <a:off x="673100" y="2478085"/>
              <a:ext cx="379412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íṩḻiḋê">
              <a:extLst>
                <a:ext uri="{FF2B5EF4-FFF2-40B4-BE49-F238E27FC236}">
                  <a16:creationId xmlns:a16="http://schemas.microsoft.com/office/drawing/2014/main" id="{239F7C4A-6BBA-4B53-9F7E-FDB16CDBD341}"/>
                </a:ext>
              </a:extLst>
            </p:cNvPr>
            <p:cNvSpPr/>
            <p:nvPr/>
          </p:nvSpPr>
          <p:spPr>
            <a:xfrm>
              <a:off x="4124325" y="2168145"/>
              <a:ext cx="352425" cy="286506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1" name="组合 30">
            <a:extLst>
              <a:ext uri="{FF2B5EF4-FFF2-40B4-BE49-F238E27FC236}">
                <a16:creationId xmlns:a16="http://schemas.microsoft.com/office/drawing/2014/main" id="{C50E00A2-4843-4693-BD36-ED648934B1F0}"/>
              </a:ext>
            </a:extLst>
          </p:cNvPr>
          <p:cNvGrpSpPr/>
          <p:nvPr/>
        </p:nvGrpSpPr>
        <p:grpSpPr>
          <a:xfrm>
            <a:off x="685132" y="3322553"/>
            <a:ext cx="3803650" cy="1197489"/>
            <a:chOff x="673100" y="3232314"/>
            <a:chExt cx="3803650" cy="1197489"/>
          </a:xfrm>
        </p:grpSpPr>
        <p:sp>
          <p:nvSpPr>
            <p:cNvPr id="12" name="i$1íḑè">
              <a:extLst>
                <a:ext uri="{FF2B5EF4-FFF2-40B4-BE49-F238E27FC236}">
                  <a16:creationId xmlns:a16="http://schemas.microsoft.com/office/drawing/2014/main" id="{6F30D8C1-C74C-4EAD-8925-A7E2E9C8F7B2}"/>
                </a:ext>
              </a:extLst>
            </p:cNvPr>
            <p:cNvSpPr/>
            <p:nvPr/>
          </p:nvSpPr>
          <p:spPr bwMode="auto">
            <a:xfrm>
              <a:off x="673100" y="3737619"/>
              <a:ext cx="3632200" cy="692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iṥļîḑé">
              <a:extLst>
                <a:ext uri="{FF2B5EF4-FFF2-40B4-BE49-F238E27FC236}">
                  <a16:creationId xmlns:a16="http://schemas.microsoft.com/office/drawing/2014/main" id="{6A08FB56-E931-46EE-B1BC-4A43DE764DC7}"/>
                </a:ext>
              </a:extLst>
            </p:cNvPr>
            <p:cNvSpPr txBox="1"/>
            <p:nvPr/>
          </p:nvSpPr>
          <p:spPr bwMode="auto">
            <a:xfrm>
              <a:off x="673100" y="3232314"/>
              <a:ext cx="3632200" cy="5053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02.</a:t>
              </a:r>
              <a:r>
                <a:rPr lang="zh-CN" altLang="en-US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C46B3779-87C1-4B05-BD1C-B746E877C55F}"/>
                </a:ext>
              </a:extLst>
            </p:cNvPr>
            <p:cNvCxnSpPr/>
            <p:nvPr/>
          </p:nvCxnSpPr>
          <p:spPr>
            <a:xfrm>
              <a:off x="673100" y="3737619"/>
              <a:ext cx="379412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íṡļîdé">
              <a:extLst>
                <a:ext uri="{FF2B5EF4-FFF2-40B4-BE49-F238E27FC236}">
                  <a16:creationId xmlns:a16="http://schemas.microsoft.com/office/drawing/2014/main" id="{755BE015-8478-4A59-A636-C0C48C706A53}"/>
                </a:ext>
              </a:extLst>
            </p:cNvPr>
            <p:cNvSpPr/>
            <p:nvPr/>
          </p:nvSpPr>
          <p:spPr>
            <a:xfrm>
              <a:off x="4124325" y="3427679"/>
              <a:ext cx="352425" cy="286506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6A2500D3-AB31-4277-A697-3252C6BA6C85}"/>
              </a:ext>
            </a:extLst>
          </p:cNvPr>
          <p:cNvGrpSpPr/>
          <p:nvPr/>
        </p:nvGrpSpPr>
        <p:grpSpPr>
          <a:xfrm>
            <a:off x="685132" y="4672325"/>
            <a:ext cx="3803650" cy="1197489"/>
            <a:chOff x="673100" y="4672325"/>
            <a:chExt cx="3803650" cy="1197489"/>
          </a:xfrm>
        </p:grpSpPr>
        <p:sp>
          <p:nvSpPr>
            <p:cNvPr id="16" name="îṣḷiďè">
              <a:extLst>
                <a:ext uri="{FF2B5EF4-FFF2-40B4-BE49-F238E27FC236}">
                  <a16:creationId xmlns:a16="http://schemas.microsoft.com/office/drawing/2014/main" id="{324C634A-213A-4EA4-97FA-56275786E502}"/>
                </a:ext>
              </a:extLst>
            </p:cNvPr>
            <p:cNvSpPr/>
            <p:nvPr/>
          </p:nvSpPr>
          <p:spPr bwMode="auto">
            <a:xfrm>
              <a:off x="673100" y="5177630"/>
              <a:ext cx="3632200" cy="6921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íṡľídê">
              <a:extLst>
                <a:ext uri="{FF2B5EF4-FFF2-40B4-BE49-F238E27FC236}">
                  <a16:creationId xmlns:a16="http://schemas.microsoft.com/office/drawing/2014/main" id="{F9EA9FCB-1268-45DB-AE79-7AA5E61C3AB5}"/>
                </a:ext>
              </a:extLst>
            </p:cNvPr>
            <p:cNvSpPr txBox="1"/>
            <p:nvPr/>
          </p:nvSpPr>
          <p:spPr bwMode="auto">
            <a:xfrm>
              <a:off x="673100" y="4672325"/>
              <a:ext cx="3632200" cy="5053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dirty="0">
                  <a:solidFill>
                    <a:schemeClr val="bg1"/>
                  </a:solidFill>
                  <a:cs typeface="+mn-ea"/>
                  <a:sym typeface="+mn-lt"/>
                </a:rPr>
                <a:t>03.</a:t>
              </a:r>
              <a:r>
                <a:rPr lang="zh-CN" altLang="en-US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F5BA6761-E31C-48AE-B85D-C04D70556900}"/>
                </a:ext>
              </a:extLst>
            </p:cNvPr>
            <p:cNvCxnSpPr/>
            <p:nvPr/>
          </p:nvCxnSpPr>
          <p:spPr>
            <a:xfrm>
              <a:off x="673100" y="5177630"/>
              <a:ext cx="379412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ïš1îďê">
              <a:extLst>
                <a:ext uri="{FF2B5EF4-FFF2-40B4-BE49-F238E27FC236}">
                  <a16:creationId xmlns:a16="http://schemas.microsoft.com/office/drawing/2014/main" id="{E64279B6-0E6C-457C-A34F-5568063089E9}"/>
                </a:ext>
              </a:extLst>
            </p:cNvPr>
            <p:cNvSpPr/>
            <p:nvPr/>
          </p:nvSpPr>
          <p:spPr>
            <a:xfrm>
              <a:off x="4124325" y="4867690"/>
              <a:ext cx="352425" cy="286506"/>
            </a:xfrm>
            <a:custGeom>
              <a:avLst/>
              <a:gdLst>
                <a:gd name="connsiteX0" fmla="*/ 390482 w 564166"/>
                <a:gd name="connsiteY0" fmla="*/ 307997 h 458643"/>
                <a:gd name="connsiteX1" fmla="*/ 403395 w 564166"/>
                <a:gd name="connsiteY1" fmla="*/ 307997 h 458643"/>
                <a:gd name="connsiteX2" fmla="*/ 439265 w 564166"/>
                <a:gd name="connsiteY2" fmla="*/ 353908 h 458643"/>
                <a:gd name="connsiteX3" fmla="*/ 434961 w 564166"/>
                <a:gd name="connsiteY3" fmla="*/ 361082 h 458643"/>
                <a:gd name="connsiteX4" fmla="*/ 419178 w 564166"/>
                <a:gd name="connsiteY4" fmla="*/ 361082 h 458643"/>
                <a:gd name="connsiteX5" fmla="*/ 492353 w 564166"/>
                <a:gd name="connsiteY5" fmla="*/ 419905 h 458643"/>
                <a:gd name="connsiteX6" fmla="*/ 512440 w 564166"/>
                <a:gd name="connsiteY6" fmla="*/ 438557 h 458643"/>
                <a:gd name="connsiteX7" fmla="*/ 492353 w 564166"/>
                <a:gd name="connsiteY7" fmla="*/ 458643 h 458643"/>
                <a:gd name="connsiteX8" fmla="*/ 379004 w 564166"/>
                <a:gd name="connsiteY8" fmla="*/ 361082 h 458643"/>
                <a:gd name="connsiteX9" fmla="*/ 358916 w 564166"/>
                <a:gd name="connsiteY9" fmla="*/ 361082 h 458643"/>
                <a:gd name="connsiteX10" fmla="*/ 354612 w 564166"/>
                <a:gd name="connsiteY10" fmla="*/ 353908 h 458643"/>
                <a:gd name="connsiteX11" fmla="*/ 277051 w 564166"/>
                <a:gd name="connsiteY11" fmla="*/ 307997 h 458643"/>
                <a:gd name="connsiteX12" fmla="*/ 288553 w 564166"/>
                <a:gd name="connsiteY12" fmla="*/ 307997 h 458643"/>
                <a:gd name="connsiteX13" fmla="*/ 324497 w 564166"/>
                <a:gd name="connsiteY13" fmla="*/ 353908 h 458643"/>
                <a:gd name="connsiteX14" fmla="*/ 320183 w 564166"/>
                <a:gd name="connsiteY14" fmla="*/ 361082 h 458643"/>
                <a:gd name="connsiteX15" fmla="*/ 301493 w 564166"/>
                <a:gd name="connsiteY15" fmla="*/ 361082 h 458643"/>
                <a:gd name="connsiteX16" fmla="*/ 301493 w 564166"/>
                <a:gd name="connsiteY16" fmla="*/ 438557 h 458643"/>
                <a:gd name="connsiteX17" fmla="*/ 282802 w 564166"/>
                <a:gd name="connsiteY17" fmla="*/ 458643 h 458643"/>
                <a:gd name="connsiteX18" fmla="*/ 262673 w 564166"/>
                <a:gd name="connsiteY18" fmla="*/ 438557 h 458643"/>
                <a:gd name="connsiteX19" fmla="*/ 262673 w 564166"/>
                <a:gd name="connsiteY19" fmla="*/ 361082 h 458643"/>
                <a:gd name="connsiteX20" fmla="*/ 243982 w 564166"/>
                <a:gd name="connsiteY20" fmla="*/ 361082 h 458643"/>
                <a:gd name="connsiteX21" fmla="*/ 239669 w 564166"/>
                <a:gd name="connsiteY21" fmla="*/ 353908 h 458643"/>
                <a:gd name="connsiteX22" fmla="*/ 162189 w 564166"/>
                <a:gd name="connsiteY22" fmla="*/ 307997 h 458643"/>
                <a:gd name="connsiteX23" fmla="*/ 173671 w 564166"/>
                <a:gd name="connsiteY23" fmla="*/ 307997 h 458643"/>
                <a:gd name="connsiteX24" fmla="*/ 209554 w 564166"/>
                <a:gd name="connsiteY24" fmla="*/ 353908 h 458643"/>
                <a:gd name="connsiteX25" fmla="*/ 205248 w 564166"/>
                <a:gd name="connsiteY25" fmla="*/ 361082 h 458643"/>
                <a:gd name="connsiteX26" fmla="*/ 185154 w 564166"/>
                <a:gd name="connsiteY26" fmla="*/ 361082 h 458643"/>
                <a:gd name="connsiteX27" fmla="*/ 71765 w 564166"/>
                <a:gd name="connsiteY27" fmla="*/ 458643 h 458643"/>
                <a:gd name="connsiteX28" fmla="*/ 53106 w 564166"/>
                <a:gd name="connsiteY28" fmla="*/ 438557 h 458643"/>
                <a:gd name="connsiteX29" fmla="*/ 71765 w 564166"/>
                <a:gd name="connsiteY29" fmla="*/ 419905 h 458643"/>
                <a:gd name="connsiteX30" fmla="*/ 146401 w 564166"/>
                <a:gd name="connsiteY30" fmla="*/ 361082 h 458643"/>
                <a:gd name="connsiteX31" fmla="*/ 129177 w 564166"/>
                <a:gd name="connsiteY31" fmla="*/ 361082 h 458643"/>
                <a:gd name="connsiteX32" fmla="*/ 124871 w 564166"/>
                <a:gd name="connsiteY32" fmla="*/ 353908 h 458643"/>
                <a:gd name="connsiteX33" fmla="*/ 340222 w 564166"/>
                <a:gd name="connsiteY33" fmla="*/ 0 h 458643"/>
                <a:gd name="connsiteX34" fmla="*/ 453630 w 564166"/>
                <a:gd name="connsiteY34" fmla="*/ 118973 h 458643"/>
                <a:gd name="connsiteX35" fmla="*/ 525407 w 564166"/>
                <a:gd name="connsiteY35" fmla="*/ 179176 h 458643"/>
                <a:gd name="connsiteX36" fmla="*/ 564166 w 564166"/>
                <a:gd name="connsiteY36" fmla="*/ 232212 h 458643"/>
                <a:gd name="connsiteX37" fmla="*/ 518229 w 564166"/>
                <a:gd name="connsiteY37" fmla="*/ 286681 h 458643"/>
                <a:gd name="connsiteX38" fmla="*/ 45937 w 564166"/>
                <a:gd name="connsiteY38" fmla="*/ 286681 h 458643"/>
                <a:gd name="connsiteX39" fmla="*/ 0 w 564166"/>
                <a:gd name="connsiteY39" fmla="*/ 232212 h 458643"/>
                <a:gd name="connsiteX40" fmla="*/ 45937 w 564166"/>
                <a:gd name="connsiteY40" fmla="*/ 179176 h 458643"/>
                <a:gd name="connsiteX41" fmla="*/ 111972 w 564166"/>
                <a:gd name="connsiteY41" fmla="*/ 103205 h 458643"/>
                <a:gd name="connsiteX42" fmla="*/ 134941 w 564166"/>
                <a:gd name="connsiteY42" fmla="*/ 107505 h 458643"/>
                <a:gd name="connsiteX43" fmla="*/ 209589 w 564166"/>
                <a:gd name="connsiteY43" fmla="*/ 22934 h 458643"/>
                <a:gd name="connsiteX44" fmla="*/ 256961 w 564166"/>
                <a:gd name="connsiteY44" fmla="*/ 43002 h 458643"/>
                <a:gd name="connsiteX45" fmla="*/ 340222 w 564166"/>
                <a:gd name="connsiteY45" fmla="*/ 0 h 4586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64166" h="458643">
                  <a:moveTo>
                    <a:pt x="390482" y="307997"/>
                  </a:moveTo>
                  <a:cubicBezTo>
                    <a:pt x="394786" y="303693"/>
                    <a:pt x="399091" y="303693"/>
                    <a:pt x="403395" y="307997"/>
                  </a:cubicBezTo>
                  <a:lnTo>
                    <a:pt x="439265" y="353908"/>
                  </a:lnTo>
                  <a:cubicBezTo>
                    <a:pt x="442135" y="358212"/>
                    <a:pt x="440700" y="361082"/>
                    <a:pt x="434961" y="361082"/>
                  </a:cubicBezTo>
                  <a:lnTo>
                    <a:pt x="419178" y="361082"/>
                  </a:lnTo>
                  <a:cubicBezTo>
                    <a:pt x="426352" y="394081"/>
                    <a:pt x="456483" y="419905"/>
                    <a:pt x="492353" y="419905"/>
                  </a:cubicBezTo>
                  <a:cubicBezTo>
                    <a:pt x="503831" y="419905"/>
                    <a:pt x="512440" y="428514"/>
                    <a:pt x="512440" y="438557"/>
                  </a:cubicBezTo>
                  <a:cubicBezTo>
                    <a:pt x="512440" y="450035"/>
                    <a:pt x="503831" y="458643"/>
                    <a:pt x="492353" y="458643"/>
                  </a:cubicBezTo>
                  <a:cubicBezTo>
                    <a:pt x="434961" y="458643"/>
                    <a:pt x="387612" y="415601"/>
                    <a:pt x="379004" y="361082"/>
                  </a:cubicBezTo>
                  <a:lnTo>
                    <a:pt x="358916" y="361082"/>
                  </a:lnTo>
                  <a:cubicBezTo>
                    <a:pt x="353177" y="361082"/>
                    <a:pt x="351742" y="358212"/>
                    <a:pt x="354612" y="353908"/>
                  </a:cubicBezTo>
                  <a:close/>
                  <a:moveTo>
                    <a:pt x="277051" y="307997"/>
                  </a:moveTo>
                  <a:cubicBezTo>
                    <a:pt x="279926" y="303693"/>
                    <a:pt x="285677" y="303693"/>
                    <a:pt x="288553" y="307997"/>
                  </a:cubicBezTo>
                  <a:lnTo>
                    <a:pt x="324497" y="353908"/>
                  </a:lnTo>
                  <a:cubicBezTo>
                    <a:pt x="327372" y="358212"/>
                    <a:pt x="325934" y="361082"/>
                    <a:pt x="320183" y="361082"/>
                  </a:cubicBezTo>
                  <a:lnTo>
                    <a:pt x="301493" y="361082"/>
                  </a:lnTo>
                  <a:lnTo>
                    <a:pt x="301493" y="438557"/>
                  </a:lnTo>
                  <a:cubicBezTo>
                    <a:pt x="301493" y="450035"/>
                    <a:pt x="292866" y="458643"/>
                    <a:pt x="282802" y="458643"/>
                  </a:cubicBezTo>
                  <a:cubicBezTo>
                    <a:pt x="271300" y="458643"/>
                    <a:pt x="262673" y="450035"/>
                    <a:pt x="262673" y="438557"/>
                  </a:cubicBezTo>
                  <a:lnTo>
                    <a:pt x="262673" y="361082"/>
                  </a:lnTo>
                  <a:lnTo>
                    <a:pt x="243982" y="361082"/>
                  </a:lnTo>
                  <a:cubicBezTo>
                    <a:pt x="238231" y="361082"/>
                    <a:pt x="236793" y="358212"/>
                    <a:pt x="239669" y="353908"/>
                  </a:cubicBezTo>
                  <a:close/>
                  <a:moveTo>
                    <a:pt x="162189" y="307997"/>
                  </a:moveTo>
                  <a:cubicBezTo>
                    <a:pt x="165059" y="303693"/>
                    <a:pt x="169365" y="303693"/>
                    <a:pt x="173671" y="307997"/>
                  </a:cubicBezTo>
                  <a:lnTo>
                    <a:pt x="209554" y="353908"/>
                  </a:lnTo>
                  <a:cubicBezTo>
                    <a:pt x="212424" y="358212"/>
                    <a:pt x="210989" y="361082"/>
                    <a:pt x="205248" y="361082"/>
                  </a:cubicBezTo>
                  <a:lnTo>
                    <a:pt x="185154" y="361082"/>
                  </a:lnTo>
                  <a:cubicBezTo>
                    <a:pt x="176542" y="415601"/>
                    <a:pt x="129177" y="458643"/>
                    <a:pt x="71765" y="458643"/>
                  </a:cubicBezTo>
                  <a:cubicBezTo>
                    <a:pt x="61718" y="458643"/>
                    <a:pt x="53106" y="450035"/>
                    <a:pt x="53106" y="438557"/>
                  </a:cubicBezTo>
                  <a:cubicBezTo>
                    <a:pt x="53106" y="428514"/>
                    <a:pt x="61718" y="419905"/>
                    <a:pt x="71765" y="419905"/>
                  </a:cubicBezTo>
                  <a:cubicBezTo>
                    <a:pt x="107648" y="419905"/>
                    <a:pt x="137789" y="394081"/>
                    <a:pt x="146401" y="361082"/>
                  </a:cubicBezTo>
                  <a:lnTo>
                    <a:pt x="129177" y="361082"/>
                  </a:lnTo>
                  <a:cubicBezTo>
                    <a:pt x="123436" y="361082"/>
                    <a:pt x="122001" y="358212"/>
                    <a:pt x="124871" y="353908"/>
                  </a:cubicBezTo>
                  <a:close/>
                  <a:moveTo>
                    <a:pt x="340222" y="0"/>
                  </a:moveTo>
                  <a:cubicBezTo>
                    <a:pt x="399079" y="0"/>
                    <a:pt x="447888" y="51603"/>
                    <a:pt x="453630" y="118973"/>
                  </a:cubicBezTo>
                  <a:cubicBezTo>
                    <a:pt x="488083" y="118973"/>
                    <a:pt x="515358" y="144774"/>
                    <a:pt x="525407" y="179176"/>
                  </a:cubicBezTo>
                  <a:cubicBezTo>
                    <a:pt x="546940" y="183476"/>
                    <a:pt x="564166" y="204977"/>
                    <a:pt x="564166" y="232212"/>
                  </a:cubicBezTo>
                  <a:cubicBezTo>
                    <a:pt x="564166" y="262313"/>
                    <a:pt x="544069" y="286681"/>
                    <a:pt x="518229" y="286681"/>
                  </a:cubicBezTo>
                  <a:lnTo>
                    <a:pt x="45937" y="286681"/>
                  </a:lnTo>
                  <a:cubicBezTo>
                    <a:pt x="20097" y="286681"/>
                    <a:pt x="0" y="262313"/>
                    <a:pt x="0" y="232212"/>
                  </a:cubicBezTo>
                  <a:cubicBezTo>
                    <a:pt x="0" y="202110"/>
                    <a:pt x="20097" y="179176"/>
                    <a:pt x="45937" y="179176"/>
                  </a:cubicBezTo>
                  <a:cubicBezTo>
                    <a:pt x="45937" y="136173"/>
                    <a:pt x="76084" y="103205"/>
                    <a:pt x="111972" y="103205"/>
                  </a:cubicBezTo>
                  <a:cubicBezTo>
                    <a:pt x="119150" y="103205"/>
                    <a:pt x="127763" y="104639"/>
                    <a:pt x="134941" y="107505"/>
                  </a:cubicBezTo>
                  <a:cubicBezTo>
                    <a:pt x="134941" y="60203"/>
                    <a:pt x="169394" y="22934"/>
                    <a:pt x="209589" y="22934"/>
                  </a:cubicBezTo>
                  <a:cubicBezTo>
                    <a:pt x="228251" y="22934"/>
                    <a:pt x="244042" y="30102"/>
                    <a:pt x="256961" y="43002"/>
                  </a:cubicBezTo>
                  <a:cubicBezTo>
                    <a:pt x="278494" y="15767"/>
                    <a:pt x="307205" y="0"/>
                    <a:pt x="340222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8677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750"/>
                            </p:stCondLst>
                            <p:childTnLst>
                              <p:par>
                                <p:cTn id="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750"/>
                            </p:stCondLst>
                            <p:childTnLst>
                              <p:par>
                                <p:cTn id="3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750"/>
                            </p:stCondLst>
                            <p:childTnLst>
                              <p:par>
                                <p:cTn id="3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ślïď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组合 86">
            <a:extLst>
              <a:ext uri="{FF2B5EF4-FFF2-40B4-BE49-F238E27FC236}">
                <a16:creationId xmlns:a16="http://schemas.microsoft.com/office/drawing/2014/main" id="{84D49D53-2640-430A-8641-4E1CDBBEF55D}"/>
              </a:ext>
            </a:extLst>
          </p:cNvPr>
          <p:cNvGrpSpPr/>
          <p:nvPr/>
        </p:nvGrpSpPr>
        <p:grpSpPr>
          <a:xfrm>
            <a:off x="2932035" y="-13648"/>
            <a:ext cx="6301427" cy="2809876"/>
            <a:chOff x="2945287" y="-13648"/>
            <a:chExt cx="6301427" cy="2809876"/>
          </a:xfrm>
        </p:grpSpPr>
        <p:sp>
          <p:nvSpPr>
            <p:cNvPr id="18" name="îṩḷíḋé">
              <a:extLst>
                <a:ext uri="{FF2B5EF4-FFF2-40B4-BE49-F238E27FC236}">
                  <a16:creationId xmlns:a16="http://schemas.microsoft.com/office/drawing/2014/main" id="{0365C859-2BEC-4A86-A6C8-7D3DF3DBD886}"/>
                </a:ext>
              </a:extLst>
            </p:cNvPr>
            <p:cNvSpPr/>
            <p:nvPr/>
          </p:nvSpPr>
          <p:spPr bwMode="auto">
            <a:xfrm>
              <a:off x="2945287" y="-13648"/>
              <a:ext cx="6301427" cy="2809876"/>
            </a:xfrm>
            <a:custGeom>
              <a:avLst/>
              <a:gdLst>
                <a:gd name="connsiteX0" fmla="*/ 0 w 6301427"/>
                <a:gd name="connsiteY0" fmla="*/ 0 h 2809876"/>
                <a:gd name="connsiteX1" fmla="*/ 6301427 w 6301427"/>
                <a:gd name="connsiteY1" fmla="*/ 0 h 2809876"/>
                <a:gd name="connsiteX2" fmla="*/ 6259252 w 6301427"/>
                <a:gd name="connsiteY2" fmla="*/ 276344 h 2809876"/>
                <a:gd name="connsiteX3" fmla="*/ 3150714 w 6301427"/>
                <a:gd name="connsiteY3" fmla="*/ 2809876 h 2809876"/>
                <a:gd name="connsiteX4" fmla="*/ 42175 w 6301427"/>
                <a:gd name="connsiteY4" fmla="*/ 276344 h 2809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01427" h="2809876">
                  <a:moveTo>
                    <a:pt x="0" y="0"/>
                  </a:moveTo>
                  <a:lnTo>
                    <a:pt x="6301427" y="0"/>
                  </a:lnTo>
                  <a:lnTo>
                    <a:pt x="6259252" y="276344"/>
                  </a:lnTo>
                  <a:cubicBezTo>
                    <a:pt x="5963382" y="1722229"/>
                    <a:pt x="4684066" y="2809876"/>
                    <a:pt x="3150714" y="2809876"/>
                  </a:cubicBezTo>
                  <a:cubicBezTo>
                    <a:pt x="1617362" y="2809876"/>
                    <a:pt x="338046" y="1722229"/>
                    <a:pt x="42175" y="276344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1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ísḻïḓe">
              <a:extLst>
                <a:ext uri="{FF2B5EF4-FFF2-40B4-BE49-F238E27FC236}">
                  <a16:creationId xmlns:a16="http://schemas.microsoft.com/office/drawing/2014/main" id="{185F0EA6-B3FA-4955-9BAC-84BD06F523B0}"/>
                </a:ext>
              </a:extLst>
            </p:cNvPr>
            <p:cNvSpPr/>
            <p:nvPr/>
          </p:nvSpPr>
          <p:spPr bwMode="auto">
            <a:xfrm>
              <a:off x="3619624" y="-13648"/>
              <a:ext cx="4952753" cy="2476376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317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îṥ1íḓè">
              <a:extLst>
                <a:ext uri="{FF2B5EF4-FFF2-40B4-BE49-F238E27FC236}">
                  <a16:creationId xmlns:a16="http://schemas.microsoft.com/office/drawing/2014/main" id="{40F6E2E9-CCF0-4706-9BD1-05C11B5DB637}"/>
                </a:ext>
              </a:extLst>
            </p:cNvPr>
            <p:cNvSpPr/>
            <p:nvPr/>
          </p:nvSpPr>
          <p:spPr bwMode="auto">
            <a:xfrm>
              <a:off x="3827748" y="-13648"/>
              <a:ext cx="4536505" cy="2268252"/>
            </a:xfrm>
            <a:custGeom>
              <a:avLst/>
              <a:gdLst>
                <a:gd name="connsiteX0" fmla="*/ 0 w 1800200"/>
                <a:gd name="connsiteY0" fmla="*/ 0 h 900100"/>
                <a:gd name="connsiteX1" fmla="*/ 1800200 w 1800200"/>
                <a:gd name="connsiteY1" fmla="*/ 0 h 900100"/>
                <a:gd name="connsiteX2" fmla="*/ 900100 w 1800200"/>
                <a:gd name="connsiteY2" fmla="*/ 900100 h 900100"/>
                <a:gd name="connsiteX3" fmla="*/ 0 w 1800200"/>
                <a:gd name="connsiteY3" fmla="*/ 0 h 9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0200" h="900100">
                  <a:moveTo>
                    <a:pt x="0" y="0"/>
                  </a:moveTo>
                  <a:lnTo>
                    <a:pt x="1800200" y="0"/>
                  </a:lnTo>
                  <a:cubicBezTo>
                    <a:pt x="1800200" y="497112"/>
                    <a:pt x="1397212" y="900100"/>
                    <a:pt x="900100" y="900100"/>
                  </a:cubicBezTo>
                  <a:cubicBezTo>
                    <a:pt x="402988" y="900100"/>
                    <a:pt x="0" y="497112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9" name="组合 88">
            <a:extLst>
              <a:ext uri="{FF2B5EF4-FFF2-40B4-BE49-F238E27FC236}">
                <a16:creationId xmlns:a16="http://schemas.microsoft.com/office/drawing/2014/main" id="{CCE69B74-129E-47FC-AC19-6D3D1758FE08}"/>
              </a:ext>
            </a:extLst>
          </p:cNvPr>
          <p:cNvGrpSpPr/>
          <p:nvPr/>
        </p:nvGrpSpPr>
        <p:grpSpPr>
          <a:xfrm>
            <a:off x="1173713" y="1949664"/>
            <a:ext cx="2252494" cy="2075846"/>
            <a:chOff x="1173713" y="1949664"/>
            <a:chExt cx="2252494" cy="2075846"/>
          </a:xfrm>
        </p:grpSpPr>
        <p:sp>
          <p:nvSpPr>
            <p:cNvPr id="31" name="íşļïḓè">
              <a:extLst>
                <a:ext uri="{FF2B5EF4-FFF2-40B4-BE49-F238E27FC236}">
                  <a16:creationId xmlns:a16="http://schemas.microsoft.com/office/drawing/2014/main" id="{9999354D-748F-4978-8CEE-4EAF5ADC817A}"/>
                </a:ext>
              </a:extLst>
            </p:cNvPr>
            <p:cNvSpPr/>
            <p:nvPr/>
          </p:nvSpPr>
          <p:spPr bwMode="auto">
            <a:xfrm>
              <a:off x="1714031" y="1949664"/>
              <a:ext cx="1171857" cy="117185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2" name="íṡḷïḓe">
              <a:extLst>
                <a:ext uri="{FF2B5EF4-FFF2-40B4-BE49-F238E27FC236}">
                  <a16:creationId xmlns:a16="http://schemas.microsoft.com/office/drawing/2014/main" id="{F031F6EE-471B-43C8-B393-6E8AC2611F83}"/>
                </a:ext>
              </a:extLst>
            </p:cNvPr>
            <p:cNvSpPr/>
            <p:nvPr/>
          </p:nvSpPr>
          <p:spPr bwMode="auto">
            <a:xfrm>
              <a:off x="1788031" y="2023664"/>
              <a:ext cx="1023857" cy="102385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3" name="ísḻïḋê">
              <a:extLst>
                <a:ext uri="{FF2B5EF4-FFF2-40B4-BE49-F238E27FC236}">
                  <a16:creationId xmlns:a16="http://schemas.microsoft.com/office/drawing/2014/main" id="{3AF7433B-6148-41D3-9B0C-46803E055AC3}"/>
                </a:ext>
              </a:extLst>
            </p:cNvPr>
            <p:cNvSpPr/>
            <p:nvPr/>
          </p:nvSpPr>
          <p:spPr bwMode="auto">
            <a:xfrm>
              <a:off x="2085768" y="2282457"/>
              <a:ext cx="428384" cy="506272"/>
            </a:xfrm>
            <a:custGeom>
              <a:avLst/>
              <a:gdLst/>
              <a:ahLst/>
              <a:cxnLst>
                <a:cxn ang="0">
                  <a:pos x="250" y="250"/>
                </a:cxn>
                <a:cxn ang="0">
                  <a:pos x="125" y="296"/>
                </a:cxn>
                <a:cxn ang="0">
                  <a:pos x="0" y="250"/>
                </a:cxn>
                <a:cxn ang="0">
                  <a:pos x="66" y="210"/>
                </a:cxn>
                <a:cxn ang="0">
                  <a:pos x="79" y="219"/>
                </a:cxn>
                <a:cxn ang="0">
                  <a:pos x="70" y="232"/>
                </a:cxn>
                <a:cxn ang="0">
                  <a:pos x="23" y="251"/>
                </a:cxn>
                <a:cxn ang="0">
                  <a:pos x="125" y="273"/>
                </a:cxn>
                <a:cxn ang="0">
                  <a:pos x="228" y="250"/>
                </a:cxn>
                <a:cxn ang="0">
                  <a:pos x="180" y="232"/>
                </a:cxn>
                <a:cxn ang="0">
                  <a:pos x="171" y="219"/>
                </a:cxn>
                <a:cxn ang="0">
                  <a:pos x="184" y="210"/>
                </a:cxn>
                <a:cxn ang="0">
                  <a:pos x="250" y="250"/>
                </a:cxn>
                <a:cxn ang="0">
                  <a:pos x="80" y="182"/>
                </a:cxn>
                <a:cxn ang="0">
                  <a:pos x="91" y="182"/>
                </a:cxn>
                <a:cxn ang="0">
                  <a:pos x="91" y="250"/>
                </a:cxn>
                <a:cxn ang="0">
                  <a:pos x="102" y="262"/>
                </a:cxn>
                <a:cxn ang="0">
                  <a:pos x="148" y="262"/>
                </a:cxn>
                <a:cxn ang="0">
                  <a:pos x="159" y="250"/>
                </a:cxn>
                <a:cxn ang="0">
                  <a:pos x="159" y="182"/>
                </a:cxn>
                <a:cxn ang="0">
                  <a:pos x="171" y="182"/>
                </a:cxn>
                <a:cxn ang="0">
                  <a:pos x="182" y="171"/>
                </a:cxn>
                <a:cxn ang="0">
                  <a:pos x="182" y="102"/>
                </a:cxn>
                <a:cxn ang="0">
                  <a:pos x="157" y="82"/>
                </a:cxn>
                <a:cxn ang="0">
                  <a:pos x="125" y="80"/>
                </a:cxn>
                <a:cxn ang="0">
                  <a:pos x="93" y="82"/>
                </a:cxn>
                <a:cxn ang="0">
                  <a:pos x="68" y="102"/>
                </a:cxn>
                <a:cxn ang="0">
                  <a:pos x="68" y="171"/>
                </a:cxn>
                <a:cxn ang="0">
                  <a:pos x="80" y="182"/>
                </a:cxn>
                <a:cxn ang="0">
                  <a:pos x="125" y="68"/>
                </a:cxn>
                <a:cxn ang="0">
                  <a:pos x="159" y="34"/>
                </a:cxn>
                <a:cxn ang="0">
                  <a:pos x="125" y="0"/>
                </a:cxn>
                <a:cxn ang="0">
                  <a:pos x="91" y="34"/>
                </a:cxn>
                <a:cxn ang="0">
                  <a:pos x="125" y="68"/>
                </a:cxn>
                <a:cxn ang="0">
                  <a:pos x="125" y="68"/>
                </a:cxn>
                <a:cxn ang="0">
                  <a:pos x="125" y="68"/>
                </a:cxn>
              </a:cxnLst>
              <a:rect l="0" t="0" r="r" b="b"/>
              <a:pathLst>
                <a:path w="250" h="296">
                  <a:moveTo>
                    <a:pt x="250" y="250"/>
                  </a:moveTo>
                  <a:cubicBezTo>
                    <a:pt x="250" y="282"/>
                    <a:pt x="185" y="296"/>
                    <a:pt x="125" y="296"/>
                  </a:cubicBezTo>
                  <a:cubicBezTo>
                    <a:pt x="65" y="296"/>
                    <a:pt x="0" y="282"/>
                    <a:pt x="0" y="250"/>
                  </a:cubicBezTo>
                  <a:cubicBezTo>
                    <a:pt x="0" y="226"/>
                    <a:pt x="36" y="215"/>
                    <a:pt x="66" y="210"/>
                  </a:cubicBezTo>
                  <a:cubicBezTo>
                    <a:pt x="72" y="209"/>
                    <a:pt x="78" y="213"/>
                    <a:pt x="79" y="219"/>
                  </a:cubicBezTo>
                  <a:cubicBezTo>
                    <a:pt x="80" y="225"/>
                    <a:pt x="76" y="231"/>
                    <a:pt x="70" y="232"/>
                  </a:cubicBezTo>
                  <a:cubicBezTo>
                    <a:pt x="33" y="239"/>
                    <a:pt x="23" y="249"/>
                    <a:pt x="23" y="251"/>
                  </a:cubicBezTo>
                  <a:cubicBezTo>
                    <a:pt x="24" y="257"/>
                    <a:pt x="58" y="273"/>
                    <a:pt x="125" y="273"/>
                  </a:cubicBezTo>
                  <a:cubicBezTo>
                    <a:pt x="192" y="273"/>
                    <a:pt x="226" y="257"/>
                    <a:pt x="228" y="250"/>
                  </a:cubicBezTo>
                  <a:cubicBezTo>
                    <a:pt x="227" y="249"/>
                    <a:pt x="217" y="238"/>
                    <a:pt x="180" y="232"/>
                  </a:cubicBezTo>
                  <a:cubicBezTo>
                    <a:pt x="174" y="231"/>
                    <a:pt x="170" y="225"/>
                    <a:pt x="171" y="219"/>
                  </a:cubicBezTo>
                  <a:cubicBezTo>
                    <a:pt x="172" y="213"/>
                    <a:pt x="178" y="209"/>
                    <a:pt x="184" y="210"/>
                  </a:cubicBezTo>
                  <a:cubicBezTo>
                    <a:pt x="214" y="215"/>
                    <a:pt x="250" y="226"/>
                    <a:pt x="250" y="250"/>
                  </a:cubicBezTo>
                  <a:close/>
                  <a:moveTo>
                    <a:pt x="80" y="182"/>
                  </a:moveTo>
                  <a:cubicBezTo>
                    <a:pt x="91" y="182"/>
                    <a:pt x="91" y="182"/>
                    <a:pt x="91" y="182"/>
                  </a:cubicBezTo>
                  <a:cubicBezTo>
                    <a:pt x="91" y="250"/>
                    <a:pt x="91" y="250"/>
                    <a:pt x="91" y="250"/>
                  </a:cubicBezTo>
                  <a:cubicBezTo>
                    <a:pt x="91" y="257"/>
                    <a:pt x="96" y="262"/>
                    <a:pt x="102" y="262"/>
                  </a:cubicBezTo>
                  <a:cubicBezTo>
                    <a:pt x="148" y="262"/>
                    <a:pt x="148" y="262"/>
                    <a:pt x="148" y="262"/>
                  </a:cubicBezTo>
                  <a:cubicBezTo>
                    <a:pt x="154" y="262"/>
                    <a:pt x="159" y="257"/>
                    <a:pt x="159" y="250"/>
                  </a:cubicBezTo>
                  <a:cubicBezTo>
                    <a:pt x="159" y="182"/>
                    <a:pt x="159" y="182"/>
                    <a:pt x="159" y="182"/>
                  </a:cubicBezTo>
                  <a:cubicBezTo>
                    <a:pt x="171" y="182"/>
                    <a:pt x="171" y="182"/>
                    <a:pt x="171" y="182"/>
                  </a:cubicBezTo>
                  <a:cubicBezTo>
                    <a:pt x="177" y="182"/>
                    <a:pt x="182" y="177"/>
                    <a:pt x="182" y="171"/>
                  </a:cubicBezTo>
                  <a:cubicBezTo>
                    <a:pt x="182" y="102"/>
                    <a:pt x="182" y="102"/>
                    <a:pt x="182" y="102"/>
                  </a:cubicBezTo>
                  <a:cubicBezTo>
                    <a:pt x="182" y="97"/>
                    <a:pt x="173" y="84"/>
                    <a:pt x="157" y="82"/>
                  </a:cubicBezTo>
                  <a:cubicBezTo>
                    <a:pt x="150" y="81"/>
                    <a:pt x="138" y="80"/>
                    <a:pt x="125" y="80"/>
                  </a:cubicBezTo>
                  <a:cubicBezTo>
                    <a:pt x="112" y="80"/>
                    <a:pt x="100" y="81"/>
                    <a:pt x="93" y="82"/>
                  </a:cubicBezTo>
                  <a:cubicBezTo>
                    <a:pt x="77" y="84"/>
                    <a:pt x="68" y="97"/>
                    <a:pt x="68" y="102"/>
                  </a:cubicBezTo>
                  <a:cubicBezTo>
                    <a:pt x="68" y="171"/>
                    <a:pt x="68" y="171"/>
                    <a:pt x="68" y="171"/>
                  </a:cubicBezTo>
                  <a:cubicBezTo>
                    <a:pt x="68" y="177"/>
                    <a:pt x="73" y="182"/>
                    <a:pt x="80" y="182"/>
                  </a:cubicBezTo>
                  <a:close/>
                  <a:moveTo>
                    <a:pt x="125" y="68"/>
                  </a:moveTo>
                  <a:cubicBezTo>
                    <a:pt x="144" y="68"/>
                    <a:pt x="159" y="53"/>
                    <a:pt x="159" y="34"/>
                  </a:cubicBezTo>
                  <a:cubicBezTo>
                    <a:pt x="159" y="15"/>
                    <a:pt x="144" y="0"/>
                    <a:pt x="125" y="0"/>
                  </a:cubicBezTo>
                  <a:cubicBezTo>
                    <a:pt x="106" y="0"/>
                    <a:pt x="91" y="15"/>
                    <a:pt x="91" y="34"/>
                  </a:cubicBezTo>
                  <a:cubicBezTo>
                    <a:pt x="91" y="53"/>
                    <a:pt x="106" y="68"/>
                    <a:pt x="125" y="68"/>
                  </a:cubicBezTo>
                  <a:close/>
                  <a:moveTo>
                    <a:pt x="125" y="68"/>
                  </a:moveTo>
                  <a:cubicBezTo>
                    <a:pt x="125" y="68"/>
                    <a:pt x="125" y="68"/>
                    <a:pt x="125" y="6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4" name="iṥľíḑé">
              <a:extLst>
                <a:ext uri="{FF2B5EF4-FFF2-40B4-BE49-F238E27FC236}">
                  <a16:creationId xmlns:a16="http://schemas.microsoft.com/office/drawing/2014/main" id="{0DC57933-6147-451D-B449-626F94D1B089}"/>
                </a:ext>
              </a:extLst>
            </p:cNvPr>
            <p:cNvSpPr txBox="1"/>
            <p:nvPr/>
          </p:nvSpPr>
          <p:spPr bwMode="auto">
            <a:xfrm>
              <a:off x="1173713" y="3145806"/>
              <a:ext cx="2252494" cy="462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 fontScale="92500"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  <p:sp>
          <p:nvSpPr>
            <p:cNvPr id="35" name="íŝļíḋé">
              <a:extLst>
                <a:ext uri="{FF2B5EF4-FFF2-40B4-BE49-F238E27FC236}">
                  <a16:creationId xmlns:a16="http://schemas.microsoft.com/office/drawing/2014/main" id="{90218D4E-F634-49F0-AAC2-31B9364B8E6D}"/>
                </a:ext>
              </a:extLst>
            </p:cNvPr>
            <p:cNvSpPr txBox="1"/>
            <p:nvPr/>
          </p:nvSpPr>
          <p:spPr bwMode="auto">
            <a:xfrm>
              <a:off x="1173713" y="3515211"/>
              <a:ext cx="2252494" cy="51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400" spc="300" dirty="0">
                  <a:solidFill>
                    <a:schemeClr val="bg1"/>
                  </a:solidFill>
                  <a:cs typeface="+mn-ea"/>
                  <a:sym typeface="+mn-lt"/>
                </a:rPr>
                <a:t>PART 01</a:t>
              </a:r>
            </a:p>
          </p:txBody>
        </p:sp>
      </p:grpSp>
      <p:grpSp>
        <p:nvGrpSpPr>
          <p:cNvPr id="90" name="组合 89">
            <a:extLst>
              <a:ext uri="{FF2B5EF4-FFF2-40B4-BE49-F238E27FC236}">
                <a16:creationId xmlns:a16="http://schemas.microsoft.com/office/drawing/2014/main" id="{A6C3C46D-98A1-4DC9-B84C-09385905E826}"/>
              </a:ext>
            </a:extLst>
          </p:cNvPr>
          <p:cNvGrpSpPr/>
          <p:nvPr/>
        </p:nvGrpSpPr>
        <p:grpSpPr>
          <a:xfrm>
            <a:off x="3467341" y="3282377"/>
            <a:ext cx="2252494" cy="2075846"/>
            <a:chOff x="3467341" y="3282377"/>
            <a:chExt cx="2252494" cy="2075846"/>
          </a:xfrm>
        </p:grpSpPr>
        <p:sp>
          <p:nvSpPr>
            <p:cNvPr id="28" name="íś1îďé">
              <a:extLst>
                <a:ext uri="{FF2B5EF4-FFF2-40B4-BE49-F238E27FC236}">
                  <a16:creationId xmlns:a16="http://schemas.microsoft.com/office/drawing/2014/main" id="{92B7FC1F-5C2A-4E1F-AA67-2854464BE707}"/>
                </a:ext>
              </a:extLst>
            </p:cNvPr>
            <p:cNvSpPr/>
            <p:nvPr/>
          </p:nvSpPr>
          <p:spPr bwMode="auto">
            <a:xfrm>
              <a:off x="4007659" y="3282377"/>
              <a:ext cx="1171857" cy="117185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ïṡļiḍe">
              <a:extLst>
                <a:ext uri="{FF2B5EF4-FFF2-40B4-BE49-F238E27FC236}">
                  <a16:creationId xmlns:a16="http://schemas.microsoft.com/office/drawing/2014/main" id="{356EA0E2-36AF-4064-AE9C-F687471BF0BE}"/>
                </a:ext>
              </a:extLst>
            </p:cNvPr>
            <p:cNvSpPr/>
            <p:nvPr/>
          </p:nvSpPr>
          <p:spPr bwMode="auto">
            <a:xfrm>
              <a:off x="4081659" y="3356377"/>
              <a:ext cx="1023857" cy="102385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0" name="ï$ḻiḑê">
              <a:extLst>
                <a:ext uri="{FF2B5EF4-FFF2-40B4-BE49-F238E27FC236}">
                  <a16:creationId xmlns:a16="http://schemas.microsoft.com/office/drawing/2014/main" id="{354A4014-5F74-4F31-858C-F37C39ACF566}"/>
                </a:ext>
              </a:extLst>
            </p:cNvPr>
            <p:cNvSpPr/>
            <p:nvPr/>
          </p:nvSpPr>
          <p:spPr bwMode="auto">
            <a:xfrm>
              <a:off x="4302399" y="3643722"/>
              <a:ext cx="582377" cy="449168"/>
            </a:xfrm>
            <a:custGeom>
              <a:avLst/>
              <a:gdLst/>
              <a:ahLst/>
              <a:cxnLst>
                <a:cxn ang="0">
                  <a:pos x="191" y="0"/>
                </a:cxn>
                <a:cxn ang="0">
                  <a:pos x="160" y="30"/>
                </a:cxn>
                <a:cxn ang="0">
                  <a:pos x="177" y="57"/>
                </a:cxn>
                <a:cxn ang="0">
                  <a:pos x="161" y="103"/>
                </a:cxn>
                <a:cxn ang="0">
                  <a:pos x="155" y="102"/>
                </a:cxn>
                <a:cxn ang="0">
                  <a:pos x="142" y="105"/>
                </a:cxn>
                <a:cxn ang="0">
                  <a:pos x="107" y="68"/>
                </a:cxn>
                <a:cxn ang="0">
                  <a:pos x="109" y="56"/>
                </a:cxn>
                <a:cxn ang="0">
                  <a:pos x="79" y="26"/>
                </a:cxn>
                <a:cxn ang="0">
                  <a:pos x="48" y="56"/>
                </a:cxn>
                <a:cxn ang="0">
                  <a:pos x="59" y="79"/>
                </a:cxn>
                <a:cxn ang="0">
                  <a:pos x="44" y="112"/>
                </a:cxn>
                <a:cxn ang="0">
                  <a:pos x="30" y="109"/>
                </a:cxn>
                <a:cxn ang="0">
                  <a:pos x="0" y="139"/>
                </a:cxn>
                <a:cxn ang="0">
                  <a:pos x="30" y="170"/>
                </a:cxn>
                <a:cxn ang="0">
                  <a:pos x="61" y="139"/>
                </a:cxn>
                <a:cxn ang="0">
                  <a:pos x="54" y="120"/>
                </a:cxn>
                <a:cxn ang="0">
                  <a:pos x="70" y="85"/>
                </a:cxn>
                <a:cxn ang="0">
                  <a:pos x="78" y="86"/>
                </a:cxn>
                <a:cxn ang="0">
                  <a:pos x="99" y="78"/>
                </a:cxn>
                <a:cxn ang="0">
                  <a:pos x="132" y="113"/>
                </a:cxn>
                <a:cxn ang="0">
                  <a:pos x="125" y="132"/>
                </a:cxn>
                <a:cxn ang="0">
                  <a:pos x="156" y="163"/>
                </a:cxn>
                <a:cxn ang="0">
                  <a:pos x="186" y="132"/>
                </a:cxn>
                <a:cxn ang="0">
                  <a:pos x="173" y="108"/>
                </a:cxn>
                <a:cxn ang="0">
                  <a:pos x="189" y="60"/>
                </a:cxn>
                <a:cxn ang="0">
                  <a:pos x="191" y="60"/>
                </a:cxn>
                <a:cxn ang="0">
                  <a:pos x="221" y="30"/>
                </a:cxn>
                <a:cxn ang="0">
                  <a:pos x="191" y="0"/>
                </a:cxn>
                <a:cxn ang="0">
                  <a:pos x="31" y="157"/>
                </a:cxn>
                <a:cxn ang="0">
                  <a:pos x="13" y="139"/>
                </a:cxn>
                <a:cxn ang="0">
                  <a:pos x="31" y="122"/>
                </a:cxn>
                <a:cxn ang="0">
                  <a:pos x="48" y="139"/>
                </a:cxn>
                <a:cxn ang="0">
                  <a:pos x="31" y="157"/>
                </a:cxn>
                <a:cxn ang="0">
                  <a:pos x="79" y="74"/>
                </a:cxn>
                <a:cxn ang="0">
                  <a:pos x="61" y="56"/>
                </a:cxn>
                <a:cxn ang="0">
                  <a:pos x="79" y="38"/>
                </a:cxn>
                <a:cxn ang="0">
                  <a:pos x="96" y="56"/>
                </a:cxn>
                <a:cxn ang="0">
                  <a:pos x="79" y="74"/>
                </a:cxn>
                <a:cxn ang="0">
                  <a:pos x="156" y="150"/>
                </a:cxn>
                <a:cxn ang="0">
                  <a:pos x="138" y="133"/>
                </a:cxn>
                <a:cxn ang="0">
                  <a:pos x="156" y="115"/>
                </a:cxn>
                <a:cxn ang="0">
                  <a:pos x="173" y="133"/>
                </a:cxn>
                <a:cxn ang="0">
                  <a:pos x="156" y="150"/>
                </a:cxn>
                <a:cxn ang="0">
                  <a:pos x="191" y="48"/>
                </a:cxn>
                <a:cxn ang="0">
                  <a:pos x="173" y="30"/>
                </a:cxn>
                <a:cxn ang="0">
                  <a:pos x="191" y="13"/>
                </a:cxn>
                <a:cxn ang="0">
                  <a:pos x="208" y="30"/>
                </a:cxn>
                <a:cxn ang="0">
                  <a:pos x="191" y="48"/>
                </a:cxn>
                <a:cxn ang="0">
                  <a:pos x="191" y="48"/>
                </a:cxn>
                <a:cxn ang="0">
                  <a:pos x="191" y="48"/>
                </a:cxn>
              </a:cxnLst>
              <a:rect l="0" t="0" r="r" b="b"/>
              <a:pathLst>
                <a:path w="221" h="170">
                  <a:moveTo>
                    <a:pt x="191" y="0"/>
                  </a:moveTo>
                  <a:cubicBezTo>
                    <a:pt x="174" y="0"/>
                    <a:pt x="160" y="14"/>
                    <a:pt x="160" y="30"/>
                  </a:cubicBezTo>
                  <a:cubicBezTo>
                    <a:pt x="160" y="42"/>
                    <a:pt x="167" y="52"/>
                    <a:pt x="177" y="57"/>
                  </a:cubicBezTo>
                  <a:cubicBezTo>
                    <a:pt x="161" y="103"/>
                    <a:pt x="161" y="103"/>
                    <a:pt x="161" y="103"/>
                  </a:cubicBezTo>
                  <a:cubicBezTo>
                    <a:pt x="159" y="103"/>
                    <a:pt x="157" y="102"/>
                    <a:pt x="155" y="102"/>
                  </a:cubicBezTo>
                  <a:cubicBezTo>
                    <a:pt x="150" y="102"/>
                    <a:pt x="146" y="103"/>
                    <a:pt x="142" y="105"/>
                  </a:cubicBezTo>
                  <a:cubicBezTo>
                    <a:pt x="107" y="68"/>
                    <a:pt x="107" y="68"/>
                    <a:pt x="107" y="68"/>
                  </a:cubicBezTo>
                  <a:cubicBezTo>
                    <a:pt x="108" y="64"/>
                    <a:pt x="109" y="60"/>
                    <a:pt x="109" y="56"/>
                  </a:cubicBezTo>
                  <a:cubicBezTo>
                    <a:pt x="109" y="39"/>
                    <a:pt x="95" y="26"/>
                    <a:pt x="79" y="26"/>
                  </a:cubicBezTo>
                  <a:cubicBezTo>
                    <a:pt x="62" y="26"/>
                    <a:pt x="48" y="39"/>
                    <a:pt x="48" y="56"/>
                  </a:cubicBezTo>
                  <a:cubicBezTo>
                    <a:pt x="48" y="65"/>
                    <a:pt x="52" y="74"/>
                    <a:pt x="59" y="79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0" y="110"/>
                    <a:pt x="35" y="109"/>
                    <a:pt x="30" y="109"/>
                  </a:cubicBezTo>
                  <a:cubicBezTo>
                    <a:pt x="14" y="109"/>
                    <a:pt x="0" y="123"/>
                    <a:pt x="0" y="139"/>
                  </a:cubicBezTo>
                  <a:cubicBezTo>
                    <a:pt x="0" y="156"/>
                    <a:pt x="14" y="170"/>
                    <a:pt x="30" y="170"/>
                  </a:cubicBezTo>
                  <a:cubicBezTo>
                    <a:pt x="47" y="170"/>
                    <a:pt x="61" y="156"/>
                    <a:pt x="61" y="139"/>
                  </a:cubicBezTo>
                  <a:cubicBezTo>
                    <a:pt x="61" y="132"/>
                    <a:pt x="58" y="125"/>
                    <a:pt x="54" y="120"/>
                  </a:cubicBezTo>
                  <a:cubicBezTo>
                    <a:pt x="70" y="85"/>
                    <a:pt x="70" y="85"/>
                    <a:pt x="70" y="85"/>
                  </a:cubicBezTo>
                  <a:cubicBezTo>
                    <a:pt x="73" y="86"/>
                    <a:pt x="76" y="86"/>
                    <a:pt x="78" y="86"/>
                  </a:cubicBezTo>
                  <a:cubicBezTo>
                    <a:pt x="86" y="86"/>
                    <a:pt x="93" y="83"/>
                    <a:pt x="99" y="78"/>
                  </a:cubicBezTo>
                  <a:cubicBezTo>
                    <a:pt x="132" y="113"/>
                    <a:pt x="132" y="113"/>
                    <a:pt x="132" y="113"/>
                  </a:cubicBezTo>
                  <a:cubicBezTo>
                    <a:pt x="128" y="118"/>
                    <a:pt x="125" y="125"/>
                    <a:pt x="125" y="132"/>
                  </a:cubicBezTo>
                  <a:cubicBezTo>
                    <a:pt x="125" y="149"/>
                    <a:pt x="139" y="163"/>
                    <a:pt x="156" y="163"/>
                  </a:cubicBezTo>
                  <a:cubicBezTo>
                    <a:pt x="172" y="163"/>
                    <a:pt x="186" y="149"/>
                    <a:pt x="186" y="132"/>
                  </a:cubicBezTo>
                  <a:cubicBezTo>
                    <a:pt x="186" y="122"/>
                    <a:pt x="181" y="113"/>
                    <a:pt x="173" y="108"/>
                  </a:cubicBezTo>
                  <a:cubicBezTo>
                    <a:pt x="189" y="60"/>
                    <a:pt x="189" y="60"/>
                    <a:pt x="189" y="60"/>
                  </a:cubicBezTo>
                  <a:cubicBezTo>
                    <a:pt x="191" y="60"/>
                    <a:pt x="191" y="60"/>
                    <a:pt x="191" y="60"/>
                  </a:cubicBezTo>
                  <a:cubicBezTo>
                    <a:pt x="207" y="60"/>
                    <a:pt x="221" y="47"/>
                    <a:pt x="221" y="30"/>
                  </a:cubicBezTo>
                  <a:cubicBezTo>
                    <a:pt x="221" y="14"/>
                    <a:pt x="207" y="0"/>
                    <a:pt x="191" y="0"/>
                  </a:cubicBezTo>
                  <a:close/>
                  <a:moveTo>
                    <a:pt x="31" y="157"/>
                  </a:moveTo>
                  <a:cubicBezTo>
                    <a:pt x="21" y="157"/>
                    <a:pt x="13" y="149"/>
                    <a:pt x="13" y="139"/>
                  </a:cubicBezTo>
                  <a:cubicBezTo>
                    <a:pt x="13" y="130"/>
                    <a:pt x="21" y="122"/>
                    <a:pt x="31" y="122"/>
                  </a:cubicBezTo>
                  <a:cubicBezTo>
                    <a:pt x="40" y="122"/>
                    <a:pt x="48" y="130"/>
                    <a:pt x="48" y="139"/>
                  </a:cubicBezTo>
                  <a:cubicBezTo>
                    <a:pt x="48" y="149"/>
                    <a:pt x="40" y="157"/>
                    <a:pt x="31" y="157"/>
                  </a:cubicBezTo>
                  <a:close/>
                  <a:moveTo>
                    <a:pt x="79" y="74"/>
                  </a:moveTo>
                  <a:cubicBezTo>
                    <a:pt x="69" y="74"/>
                    <a:pt x="61" y="66"/>
                    <a:pt x="61" y="56"/>
                  </a:cubicBezTo>
                  <a:cubicBezTo>
                    <a:pt x="61" y="46"/>
                    <a:pt x="69" y="38"/>
                    <a:pt x="79" y="38"/>
                  </a:cubicBezTo>
                  <a:cubicBezTo>
                    <a:pt x="88" y="38"/>
                    <a:pt x="96" y="46"/>
                    <a:pt x="96" y="56"/>
                  </a:cubicBezTo>
                  <a:cubicBezTo>
                    <a:pt x="96" y="66"/>
                    <a:pt x="88" y="74"/>
                    <a:pt x="79" y="74"/>
                  </a:cubicBezTo>
                  <a:close/>
                  <a:moveTo>
                    <a:pt x="156" y="150"/>
                  </a:moveTo>
                  <a:cubicBezTo>
                    <a:pt x="146" y="150"/>
                    <a:pt x="138" y="142"/>
                    <a:pt x="138" y="133"/>
                  </a:cubicBezTo>
                  <a:cubicBezTo>
                    <a:pt x="138" y="123"/>
                    <a:pt x="146" y="115"/>
                    <a:pt x="156" y="115"/>
                  </a:cubicBezTo>
                  <a:cubicBezTo>
                    <a:pt x="165" y="115"/>
                    <a:pt x="173" y="123"/>
                    <a:pt x="173" y="133"/>
                  </a:cubicBezTo>
                  <a:cubicBezTo>
                    <a:pt x="173" y="142"/>
                    <a:pt x="165" y="150"/>
                    <a:pt x="156" y="150"/>
                  </a:cubicBezTo>
                  <a:close/>
                  <a:moveTo>
                    <a:pt x="191" y="48"/>
                  </a:moveTo>
                  <a:cubicBezTo>
                    <a:pt x="181" y="48"/>
                    <a:pt x="173" y="40"/>
                    <a:pt x="173" y="30"/>
                  </a:cubicBezTo>
                  <a:cubicBezTo>
                    <a:pt x="173" y="21"/>
                    <a:pt x="181" y="13"/>
                    <a:pt x="191" y="13"/>
                  </a:cubicBezTo>
                  <a:cubicBezTo>
                    <a:pt x="200" y="13"/>
                    <a:pt x="208" y="21"/>
                    <a:pt x="208" y="30"/>
                  </a:cubicBezTo>
                  <a:cubicBezTo>
                    <a:pt x="208" y="40"/>
                    <a:pt x="200" y="48"/>
                    <a:pt x="191" y="48"/>
                  </a:cubicBezTo>
                  <a:close/>
                  <a:moveTo>
                    <a:pt x="191" y="48"/>
                  </a:moveTo>
                  <a:cubicBezTo>
                    <a:pt x="191" y="48"/>
                    <a:pt x="191" y="48"/>
                    <a:pt x="191" y="48"/>
                  </a:cubicBezTo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6" name="íşḷíďe">
              <a:extLst>
                <a:ext uri="{FF2B5EF4-FFF2-40B4-BE49-F238E27FC236}">
                  <a16:creationId xmlns:a16="http://schemas.microsoft.com/office/drawing/2014/main" id="{D2477567-AE5D-461B-9AF3-DEEC6A4B77CD}"/>
                </a:ext>
              </a:extLst>
            </p:cNvPr>
            <p:cNvSpPr txBox="1"/>
            <p:nvPr/>
          </p:nvSpPr>
          <p:spPr bwMode="auto">
            <a:xfrm>
              <a:off x="3467341" y="4478519"/>
              <a:ext cx="2252494" cy="462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Main business</a:t>
              </a:r>
            </a:p>
          </p:txBody>
        </p:sp>
        <p:sp>
          <p:nvSpPr>
            <p:cNvPr id="37" name="îṩľïḍè">
              <a:extLst>
                <a:ext uri="{FF2B5EF4-FFF2-40B4-BE49-F238E27FC236}">
                  <a16:creationId xmlns:a16="http://schemas.microsoft.com/office/drawing/2014/main" id="{5709E0F2-A41D-474C-AB97-58914177E60F}"/>
                </a:ext>
              </a:extLst>
            </p:cNvPr>
            <p:cNvSpPr txBox="1"/>
            <p:nvPr/>
          </p:nvSpPr>
          <p:spPr bwMode="auto">
            <a:xfrm>
              <a:off x="3467341" y="4847924"/>
              <a:ext cx="2252494" cy="51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400" spc="300" dirty="0">
                  <a:solidFill>
                    <a:schemeClr val="bg1"/>
                  </a:solidFill>
                  <a:cs typeface="+mn-ea"/>
                  <a:sym typeface="+mn-lt"/>
                </a:rPr>
                <a:t>PART 02</a:t>
              </a:r>
            </a:p>
          </p:txBody>
        </p:sp>
      </p:grpSp>
      <p:grpSp>
        <p:nvGrpSpPr>
          <p:cNvPr id="92" name="组合 91">
            <a:extLst>
              <a:ext uri="{FF2B5EF4-FFF2-40B4-BE49-F238E27FC236}">
                <a16:creationId xmlns:a16="http://schemas.microsoft.com/office/drawing/2014/main" id="{357A4F27-D4EB-4031-A6B7-91F821A978B8}"/>
              </a:ext>
            </a:extLst>
          </p:cNvPr>
          <p:cNvGrpSpPr/>
          <p:nvPr/>
        </p:nvGrpSpPr>
        <p:grpSpPr>
          <a:xfrm>
            <a:off x="6474921" y="3282377"/>
            <a:ext cx="2252494" cy="2075846"/>
            <a:chOff x="6474921" y="3282377"/>
            <a:chExt cx="2252494" cy="2075846"/>
          </a:xfrm>
        </p:grpSpPr>
        <p:sp>
          <p:nvSpPr>
            <p:cNvPr id="22" name="ï$líḍê">
              <a:extLst>
                <a:ext uri="{FF2B5EF4-FFF2-40B4-BE49-F238E27FC236}">
                  <a16:creationId xmlns:a16="http://schemas.microsoft.com/office/drawing/2014/main" id="{8E83E6B1-9A10-48CC-AA43-EA67BB8DBA7E}"/>
                </a:ext>
              </a:extLst>
            </p:cNvPr>
            <p:cNvSpPr/>
            <p:nvPr/>
          </p:nvSpPr>
          <p:spPr bwMode="auto">
            <a:xfrm>
              <a:off x="7015239" y="3282377"/>
              <a:ext cx="1171857" cy="117185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3" name="isľïḑé">
              <a:extLst>
                <a:ext uri="{FF2B5EF4-FFF2-40B4-BE49-F238E27FC236}">
                  <a16:creationId xmlns:a16="http://schemas.microsoft.com/office/drawing/2014/main" id="{7FAF83FE-D34D-4571-8FA2-75A4BC36E22D}"/>
                </a:ext>
              </a:extLst>
            </p:cNvPr>
            <p:cNvSpPr/>
            <p:nvPr/>
          </p:nvSpPr>
          <p:spPr bwMode="auto">
            <a:xfrm>
              <a:off x="7089239" y="3356377"/>
              <a:ext cx="1023857" cy="102385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4" name="íSlîdê">
              <a:extLst>
                <a:ext uri="{FF2B5EF4-FFF2-40B4-BE49-F238E27FC236}">
                  <a16:creationId xmlns:a16="http://schemas.microsoft.com/office/drawing/2014/main" id="{5878409C-CD20-4963-9729-9837BC09B296}"/>
                </a:ext>
              </a:extLst>
            </p:cNvPr>
            <p:cNvGrpSpPr/>
            <p:nvPr/>
          </p:nvGrpSpPr>
          <p:grpSpPr>
            <a:xfrm>
              <a:off x="7377082" y="3671793"/>
              <a:ext cx="448172" cy="393009"/>
              <a:chOff x="6365875" y="1458913"/>
              <a:chExt cx="619125" cy="542925"/>
            </a:xfrm>
            <a:solidFill>
              <a:schemeClr val="bg1"/>
            </a:solidFill>
          </p:grpSpPr>
          <p:sp>
            <p:nvSpPr>
              <p:cNvPr id="67" name="ísļíde">
                <a:extLst>
                  <a:ext uri="{FF2B5EF4-FFF2-40B4-BE49-F238E27FC236}">
                    <a16:creationId xmlns:a16="http://schemas.microsoft.com/office/drawing/2014/main" id="{81C58684-E207-4A8C-8FAB-9EBDF4899673}"/>
                  </a:ext>
                </a:extLst>
              </p:cNvPr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8" name="işḻíďe">
                <a:extLst>
                  <a:ext uri="{FF2B5EF4-FFF2-40B4-BE49-F238E27FC236}">
                    <a16:creationId xmlns:a16="http://schemas.microsoft.com/office/drawing/2014/main" id="{C8F2A8EA-2C5C-40C0-AE1E-E1F8126791B2}"/>
                  </a:ext>
                </a:extLst>
              </p:cNvPr>
              <p:cNvSpPr/>
              <p:nvPr/>
            </p:nvSpPr>
            <p:spPr bwMode="auto">
              <a:xfrm>
                <a:off x="6365875" y="1846263"/>
                <a:ext cx="619125" cy="155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8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8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8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9" name="îṥ1iďé">
                <a:extLst>
                  <a:ext uri="{FF2B5EF4-FFF2-40B4-BE49-F238E27FC236}">
                    <a16:creationId xmlns:a16="http://schemas.microsoft.com/office/drawing/2014/main" id="{AD343B19-6940-47A4-99C3-DDB5BA864A3E}"/>
                  </a:ext>
                </a:extLst>
              </p:cNvPr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0" name="ïsḻîḋe">
                <a:extLst>
                  <a:ext uri="{FF2B5EF4-FFF2-40B4-BE49-F238E27FC236}">
                    <a16:creationId xmlns:a16="http://schemas.microsoft.com/office/drawing/2014/main" id="{460C390B-DD1F-4BFC-B62F-2481FAA295CF}"/>
                  </a:ext>
                </a:extLst>
              </p:cNvPr>
              <p:cNvSpPr/>
              <p:nvPr/>
            </p:nvSpPr>
            <p:spPr bwMode="auto">
              <a:xfrm>
                <a:off x="6365875" y="1692276"/>
                <a:ext cx="619125" cy="15398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95" y="48"/>
                  </a:cxn>
                  <a:cxn ang="0">
                    <a:pos x="390" y="0"/>
                  </a:cxn>
                  <a:cxn ang="0">
                    <a:pos x="390" y="48"/>
                  </a:cxn>
                  <a:cxn ang="0">
                    <a:pos x="195" y="97"/>
                  </a:cxn>
                  <a:cxn ang="0">
                    <a:pos x="0" y="48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90" h="97">
                    <a:moveTo>
                      <a:pt x="0" y="0"/>
                    </a:moveTo>
                    <a:lnTo>
                      <a:pt x="195" y="48"/>
                    </a:lnTo>
                    <a:lnTo>
                      <a:pt x="390" y="0"/>
                    </a:lnTo>
                    <a:lnTo>
                      <a:pt x="390" y="48"/>
                    </a:lnTo>
                    <a:lnTo>
                      <a:pt x="195" y="97"/>
                    </a:lnTo>
                    <a:lnTo>
                      <a:pt x="0" y="48"/>
                    </a:lnTo>
                    <a:lnTo>
                      <a:pt x="0" y="0"/>
                    </a:lnTo>
                    <a:moveTo>
                      <a:pt x="0" y="0"/>
                    </a:moveTo>
                    <a:lnTo>
                      <a:pt x="0" y="0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1" name="išļiḓé">
                <a:extLst>
                  <a:ext uri="{FF2B5EF4-FFF2-40B4-BE49-F238E27FC236}">
                    <a16:creationId xmlns:a16="http://schemas.microsoft.com/office/drawing/2014/main" id="{137C0907-F563-4DE8-8C6D-D108F8F73C16}"/>
                  </a:ext>
                </a:extLst>
              </p:cNvPr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2" name="îṣḻídé">
                <a:extLst>
                  <a:ext uri="{FF2B5EF4-FFF2-40B4-BE49-F238E27FC236}">
                    <a16:creationId xmlns:a16="http://schemas.microsoft.com/office/drawing/2014/main" id="{FCF35D0C-A8EA-4311-8EAC-55F87EBC59B4}"/>
                  </a:ext>
                </a:extLst>
              </p:cNvPr>
              <p:cNvSpPr/>
              <p:nvPr/>
            </p:nvSpPr>
            <p:spPr bwMode="auto">
              <a:xfrm>
                <a:off x="6365875" y="1458913"/>
                <a:ext cx="619125" cy="233363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195" y="0"/>
                  </a:cxn>
                  <a:cxn ang="0">
                    <a:pos x="390" y="48"/>
                  </a:cxn>
                  <a:cxn ang="0">
                    <a:pos x="390" y="96"/>
                  </a:cxn>
                  <a:cxn ang="0">
                    <a:pos x="195" y="147"/>
                  </a:cxn>
                  <a:cxn ang="0">
                    <a:pos x="0" y="9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</a:cxnLst>
                <a:rect l="0" t="0" r="r" b="b"/>
                <a:pathLst>
                  <a:path w="390" h="147">
                    <a:moveTo>
                      <a:pt x="0" y="48"/>
                    </a:moveTo>
                    <a:lnTo>
                      <a:pt x="195" y="0"/>
                    </a:lnTo>
                    <a:lnTo>
                      <a:pt x="390" y="48"/>
                    </a:lnTo>
                    <a:lnTo>
                      <a:pt x="390" y="96"/>
                    </a:lnTo>
                    <a:lnTo>
                      <a:pt x="195" y="147"/>
                    </a:lnTo>
                    <a:lnTo>
                      <a:pt x="0" y="96"/>
                    </a:lnTo>
                    <a:lnTo>
                      <a:pt x="0" y="48"/>
                    </a:lnTo>
                    <a:moveTo>
                      <a:pt x="0" y="48"/>
                    </a:moveTo>
                    <a:lnTo>
                      <a:pt x="0" y="48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8" name="ïsļíďè">
              <a:extLst>
                <a:ext uri="{FF2B5EF4-FFF2-40B4-BE49-F238E27FC236}">
                  <a16:creationId xmlns:a16="http://schemas.microsoft.com/office/drawing/2014/main" id="{B9C9008A-3E55-46D3-ABC2-BE41BB5F6D3D}"/>
                </a:ext>
              </a:extLst>
            </p:cNvPr>
            <p:cNvSpPr txBox="1"/>
            <p:nvPr/>
          </p:nvSpPr>
          <p:spPr bwMode="auto">
            <a:xfrm>
              <a:off x="6474921" y="4478519"/>
              <a:ext cx="2252494" cy="462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 fontScale="70000" lnSpcReduction="20000"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Product introduction</a:t>
              </a:r>
            </a:p>
          </p:txBody>
        </p:sp>
        <p:sp>
          <p:nvSpPr>
            <p:cNvPr id="39" name="i$ḻidê">
              <a:extLst>
                <a:ext uri="{FF2B5EF4-FFF2-40B4-BE49-F238E27FC236}">
                  <a16:creationId xmlns:a16="http://schemas.microsoft.com/office/drawing/2014/main" id="{0F82BCA6-5E03-419F-AF4C-6DD482C7C281}"/>
                </a:ext>
              </a:extLst>
            </p:cNvPr>
            <p:cNvSpPr txBox="1"/>
            <p:nvPr/>
          </p:nvSpPr>
          <p:spPr bwMode="auto">
            <a:xfrm>
              <a:off x="6474921" y="4847924"/>
              <a:ext cx="2252494" cy="51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400" spc="300" dirty="0">
                  <a:solidFill>
                    <a:schemeClr val="bg1"/>
                  </a:solidFill>
                  <a:cs typeface="+mn-ea"/>
                  <a:sym typeface="+mn-lt"/>
                </a:rPr>
                <a:t>PART 03</a:t>
              </a:r>
            </a:p>
          </p:txBody>
        </p:sp>
      </p:grpSp>
      <p:grpSp>
        <p:nvGrpSpPr>
          <p:cNvPr id="91" name="组合 90">
            <a:extLst>
              <a:ext uri="{FF2B5EF4-FFF2-40B4-BE49-F238E27FC236}">
                <a16:creationId xmlns:a16="http://schemas.microsoft.com/office/drawing/2014/main" id="{5FC8D37B-BFFE-4F98-A117-2C130A85C127}"/>
              </a:ext>
            </a:extLst>
          </p:cNvPr>
          <p:cNvGrpSpPr/>
          <p:nvPr/>
        </p:nvGrpSpPr>
        <p:grpSpPr>
          <a:xfrm>
            <a:off x="8767790" y="1949664"/>
            <a:ext cx="2252494" cy="2075846"/>
            <a:chOff x="8767790" y="1949664"/>
            <a:chExt cx="2252494" cy="2075846"/>
          </a:xfrm>
        </p:grpSpPr>
        <p:sp>
          <p:nvSpPr>
            <p:cNvPr id="25" name="ïŝḷïḍé">
              <a:extLst>
                <a:ext uri="{FF2B5EF4-FFF2-40B4-BE49-F238E27FC236}">
                  <a16:creationId xmlns:a16="http://schemas.microsoft.com/office/drawing/2014/main" id="{81FFEC7C-69FF-4DA3-B73A-6F9B1DC0C9AC}"/>
                </a:ext>
              </a:extLst>
            </p:cNvPr>
            <p:cNvSpPr/>
            <p:nvPr/>
          </p:nvSpPr>
          <p:spPr bwMode="auto">
            <a:xfrm>
              <a:off x="9285479" y="1949664"/>
              <a:ext cx="1171857" cy="117185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iṣliḓê">
              <a:extLst>
                <a:ext uri="{FF2B5EF4-FFF2-40B4-BE49-F238E27FC236}">
                  <a16:creationId xmlns:a16="http://schemas.microsoft.com/office/drawing/2014/main" id="{CC3E2BE1-7966-4BBC-A69C-04F097DC4708}"/>
                </a:ext>
              </a:extLst>
            </p:cNvPr>
            <p:cNvSpPr/>
            <p:nvPr/>
          </p:nvSpPr>
          <p:spPr bwMode="auto">
            <a:xfrm>
              <a:off x="9359479" y="2023664"/>
              <a:ext cx="1023857" cy="1023858"/>
            </a:xfrm>
            <a:prstGeom prst="ellipse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7" name="íślïḑè">
              <a:extLst>
                <a:ext uri="{FF2B5EF4-FFF2-40B4-BE49-F238E27FC236}">
                  <a16:creationId xmlns:a16="http://schemas.microsoft.com/office/drawing/2014/main" id="{DE3EE23C-949E-4D6A-8DF1-35ECD1187317}"/>
                </a:ext>
              </a:extLst>
            </p:cNvPr>
            <p:cNvGrpSpPr/>
            <p:nvPr/>
          </p:nvGrpSpPr>
          <p:grpSpPr>
            <a:xfrm>
              <a:off x="9623988" y="2288347"/>
              <a:ext cx="494518" cy="494543"/>
              <a:chOff x="6365875" y="2117725"/>
              <a:chExt cx="711201" cy="711201"/>
            </a:xfrm>
            <a:solidFill>
              <a:schemeClr val="bg1"/>
            </a:solidFill>
          </p:grpSpPr>
          <p:sp>
            <p:nvSpPr>
              <p:cNvPr id="42" name="îşlïdè">
                <a:extLst>
                  <a:ext uri="{FF2B5EF4-FFF2-40B4-BE49-F238E27FC236}">
                    <a16:creationId xmlns:a16="http://schemas.microsoft.com/office/drawing/2014/main" id="{6F0E6AC0-4046-441E-8381-9C70106DA354}"/>
                  </a:ext>
                </a:extLst>
              </p:cNvPr>
              <p:cNvSpPr/>
              <p:nvPr/>
            </p:nvSpPr>
            <p:spPr bwMode="auto">
              <a:xfrm>
                <a:off x="686117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3" name="ïŝḻíde">
                <a:extLst>
                  <a:ext uri="{FF2B5EF4-FFF2-40B4-BE49-F238E27FC236}">
                    <a16:creationId xmlns:a16="http://schemas.microsoft.com/office/drawing/2014/main" id="{DA59DC34-B577-4EAA-8289-2EA5B7E59B9F}"/>
                  </a:ext>
                </a:extLst>
              </p:cNvPr>
              <p:cNvSpPr/>
              <p:nvPr/>
            </p:nvSpPr>
            <p:spPr bwMode="auto">
              <a:xfrm>
                <a:off x="68040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2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2" y="22"/>
                  </a:cxn>
                  <a:cxn ang="0">
                    <a:pos x="2" y="22"/>
                  </a:cxn>
                  <a:cxn ang="0">
                    <a:pos x="2" y="22"/>
                  </a:cxn>
                </a:cxnLst>
                <a:rect l="0" t="0" r="r" b="b"/>
                <a:pathLst>
                  <a:path w="5" h="22">
                    <a:moveTo>
                      <a:pt x="2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2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2" y="22"/>
                    </a:cubicBezTo>
                    <a:close/>
                    <a:moveTo>
                      <a:pt x="2" y="22"/>
                    </a:moveTo>
                    <a:cubicBezTo>
                      <a:pt x="2" y="22"/>
                      <a:pt x="2" y="22"/>
                      <a:pt x="2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4" name="íšlíḓè">
                <a:extLst>
                  <a:ext uri="{FF2B5EF4-FFF2-40B4-BE49-F238E27FC236}">
                    <a16:creationId xmlns:a16="http://schemas.microsoft.com/office/drawing/2014/main" id="{4CD2A9EF-D848-47F1-BB42-10E785157402}"/>
                  </a:ext>
                </a:extLst>
              </p:cNvPr>
              <p:cNvSpPr/>
              <p:nvPr/>
            </p:nvSpPr>
            <p:spPr bwMode="auto">
              <a:xfrm>
                <a:off x="674211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5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5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5" name="íśļîḋè">
                <a:extLst>
                  <a:ext uri="{FF2B5EF4-FFF2-40B4-BE49-F238E27FC236}">
                    <a16:creationId xmlns:a16="http://schemas.microsoft.com/office/drawing/2014/main" id="{9DA58922-568A-45F1-B43B-94B17F1C6C0B}"/>
                  </a:ext>
                </a:extLst>
              </p:cNvPr>
              <p:cNvSpPr/>
              <p:nvPr/>
            </p:nvSpPr>
            <p:spPr bwMode="auto">
              <a:xfrm>
                <a:off x="6684963" y="2117725"/>
                <a:ext cx="23813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6" name="ïSḷiḍé">
                <a:extLst>
                  <a:ext uri="{FF2B5EF4-FFF2-40B4-BE49-F238E27FC236}">
                    <a16:creationId xmlns:a16="http://schemas.microsoft.com/office/drawing/2014/main" id="{94DF8F77-9369-4079-B286-B706D3EBBDB4}"/>
                  </a:ext>
                </a:extLst>
              </p:cNvPr>
              <p:cNvSpPr/>
              <p:nvPr/>
            </p:nvSpPr>
            <p:spPr bwMode="auto">
              <a:xfrm>
                <a:off x="6632575" y="2117725"/>
                <a:ext cx="22225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6" y="19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6" h="22">
                    <a:moveTo>
                      <a:pt x="3" y="22"/>
                    </a:moveTo>
                    <a:cubicBezTo>
                      <a:pt x="4" y="22"/>
                      <a:pt x="6" y="21"/>
                      <a:pt x="6" y="19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7" name="ïs1ïḑê">
                <a:extLst>
                  <a:ext uri="{FF2B5EF4-FFF2-40B4-BE49-F238E27FC236}">
                    <a16:creationId xmlns:a16="http://schemas.microsoft.com/office/drawing/2014/main" id="{452E8283-D452-4062-A053-23577DEAB3F6}"/>
                  </a:ext>
                </a:extLst>
              </p:cNvPr>
              <p:cNvSpPr/>
              <p:nvPr/>
            </p:nvSpPr>
            <p:spPr bwMode="auto">
              <a:xfrm>
                <a:off x="6575425" y="2117725"/>
                <a:ext cx="19050" cy="82550"/>
              </a:xfrm>
              <a:custGeom>
                <a:avLst/>
                <a:gdLst/>
                <a:ahLst/>
                <a:cxnLst>
                  <a:cxn ang="0">
                    <a:pos x="3" y="22"/>
                  </a:cxn>
                  <a:cxn ang="0">
                    <a:pos x="5" y="19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19"/>
                  </a:cxn>
                  <a:cxn ang="0">
                    <a:pos x="3" y="22"/>
                  </a:cxn>
                  <a:cxn ang="0">
                    <a:pos x="3" y="22"/>
                  </a:cxn>
                  <a:cxn ang="0">
                    <a:pos x="3" y="22"/>
                  </a:cxn>
                </a:cxnLst>
                <a:rect l="0" t="0" r="r" b="b"/>
                <a:pathLst>
                  <a:path w="5" h="22">
                    <a:moveTo>
                      <a:pt x="3" y="22"/>
                    </a:moveTo>
                    <a:cubicBezTo>
                      <a:pt x="4" y="22"/>
                      <a:pt x="5" y="21"/>
                      <a:pt x="5" y="19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1"/>
                      <a:pt x="4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1"/>
                      <a:pt x="1" y="22"/>
                      <a:pt x="3" y="22"/>
                    </a:cubicBezTo>
                    <a:close/>
                    <a:moveTo>
                      <a:pt x="3" y="22"/>
                    </a:moveTo>
                    <a:cubicBezTo>
                      <a:pt x="3" y="22"/>
                      <a:pt x="3" y="22"/>
                      <a:pt x="3" y="2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8" name="íŝļíḑè">
                <a:extLst>
                  <a:ext uri="{FF2B5EF4-FFF2-40B4-BE49-F238E27FC236}">
                    <a16:creationId xmlns:a16="http://schemas.microsoft.com/office/drawing/2014/main" id="{B8EC8E1D-B62D-41CD-B62B-41B8BE438590}"/>
                  </a:ext>
                </a:extLst>
              </p:cNvPr>
              <p:cNvSpPr/>
              <p:nvPr/>
            </p:nvSpPr>
            <p:spPr bwMode="auto">
              <a:xfrm>
                <a:off x="6365875" y="23114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9" name="îṡļíḑé">
                <a:extLst>
                  <a:ext uri="{FF2B5EF4-FFF2-40B4-BE49-F238E27FC236}">
                    <a16:creationId xmlns:a16="http://schemas.microsoft.com/office/drawing/2014/main" id="{D43374C7-CE4A-4ED1-8095-DAFAE207C83D}"/>
                  </a:ext>
                </a:extLst>
              </p:cNvPr>
              <p:cNvSpPr/>
              <p:nvPr/>
            </p:nvSpPr>
            <p:spPr bwMode="auto">
              <a:xfrm>
                <a:off x="6365875" y="2368550"/>
                <a:ext cx="84138" cy="22225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19" y="6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6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6"/>
                      <a:pt x="3" y="6"/>
                    </a:cubicBezTo>
                    <a:cubicBezTo>
                      <a:pt x="19" y="6"/>
                      <a:pt x="19" y="6"/>
                      <a:pt x="19" y="6"/>
                    </a:cubicBezTo>
                    <a:cubicBezTo>
                      <a:pt x="21" y="6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0" name="íṧḻïḓè">
                <a:extLst>
                  <a:ext uri="{FF2B5EF4-FFF2-40B4-BE49-F238E27FC236}">
                    <a16:creationId xmlns:a16="http://schemas.microsoft.com/office/drawing/2014/main" id="{4AD812FA-A960-4DAE-8126-4E841AE9D3F1}"/>
                  </a:ext>
                </a:extLst>
              </p:cNvPr>
              <p:cNvSpPr/>
              <p:nvPr/>
            </p:nvSpPr>
            <p:spPr bwMode="auto">
              <a:xfrm>
                <a:off x="6365875" y="242887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1" name="ísḷïďê">
                <a:extLst>
                  <a:ext uri="{FF2B5EF4-FFF2-40B4-BE49-F238E27FC236}">
                    <a16:creationId xmlns:a16="http://schemas.microsoft.com/office/drawing/2014/main" id="{42B11920-1146-4CB1-A324-83746923663B}"/>
                  </a:ext>
                </a:extLst>
              </p:cNvPr>
              <p:cNvSpPr/>
              <p:nvPr/>
            </p:nvSpPr>
            <p:spPr bwMode="auto">
              <a:xfrm>
                <a:off x="6365875" y="2486025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2" name="îṥľiḓe">
                <a:extLst>
                  <a:ext uri="{FF2B5EF4-FFF2-40B4-BE49-F238E27FC236}">
                    <a16:creationId xmlns:a16="http://schemas.microsoft.com/office/drawing/2014/main" id="{4A033A34-253D-47FE-9FB4-888B554C8B5C}"/>
                  </a:ext>
                </a:extLst>
              </p:cNvPr>
              <p:cNvSpPr/>
              <p:nvPr/>
            </p:nvSpPr>
            <p:spPr bwMode="auto">
              <a:xfrm>
                <a:off x="6365875" y="254000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2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2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3" name="iṥlíde">
                <a:extLst>
                  <a:ext uri="{FF2B5EF4-FFF2-40B4-BE49-F238E27FC236}">
                    <a16:creationId xmlns:a16="http://schemas.microsoft.com/office/drawing/2014/main" id="{ACA34AF1-DC47-4D3C-8923-DA268170DB75}"/>
                  </a:ext>
                </a:extLst>
              </p:cNvPr>
              <p:cNvSpPr/>
              <p:nvPr/>
            </p:nvSpPr>
            <p:spPr bwMode="auto">
              <a:xfrm>
                <a:off x="6365875" y="2597150"/>
                <a:ext cx="84138" cy="19050"/>
              </a:xfrm>
              <a:custGeom>
                <a:avLst/>
                <a:gdLst/>
                <a:ahLst/>
                <a:cxnLst>
                  <a:cxn ang="0">
                    <a:pos x="19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19" y="5"/>
                  </a:cxn>
                  <a:cxn ang="0">
                    <a:pos x="22" y="3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</a:cxnLst>
                <a:rect l="0" t="0" r="r" b="b"/>
                <a:pathLst>
                  <a:path w="22" h="5">
                    <a:moveTo>
                      <a:pt x="19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19" y="5"/>
                      <a:pt x="19" y="5"/>
                      <a:pt x="19" y="5"/>
                    </a:cubicBezTo>
                    <a:cubicBezTo>
                      <a:pt x="21" y="5"/>
                      <a:pt x="22" y="4"/>
                      <a:pt x="22" y="3"/>
                    </a:cubicBezTo>
                    <a:cubicBezTo>
                      <a:pt x="22" y="1"/>
                      <a:pt x="21" y="0"/>
                      <a:pt x="19" y="0"/>
                    </a:cubicBezTo>
                    <a:close/>
                    <a:moveTo>
                      <a:pt x="19" y="0"/>
                    </a:moveTo>
                    <a:cubicBezTo>
                      <a:pt x="19" y="0"/>
                      <a:pt x="19" y="0"/>
                      <a:pt x="19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4" name="îṧḷiḓê">
                <a:extLst>
                  <a:ext uri="{FF2B5EF4-FFF2-40B4-BE49-F238E27FC236}">
                    <a16:creationId xmlns:a16="http://schemas.microsoft.com/office/drawing/2014/main" id="{17A773FB-7649-410B-A799-0199D7BEB131}"/>
                  </a:ext>
                </a:extLst>
              </p:cNvPr>
              <p:cNvSpPr/>
              <p:nvPr/>
            </p:nvSpPr>
            <p:spPr bwMode="auto">
              <a:xfrm>
                <a:off x="686117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5" name="îṩļiḓé">
                <a:extLst>
                  <a:ext uri="{FF2B5EF4-FFF2-40B4-BE49-F238E27FC236}">
                    <a16:creationId xmlns:a16="http://schemas.microsoft.com/office/drawing/2014/main" id="{A2B17DAD-2920-4A69-84F0-B75FAEFB91A2}"/>
                  </a:ext>
                </a:extLst>
              </p:cNvPr>
              <p:cNvSpPr/>
              <p:nvPr/>
            </p:nvSpPr>
            <p:spPr bwMode="auto">
              <a:xfrm>
                <a:off x="68040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2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5" h="23">
                    <a:moveTo>
                      <a:pt x="2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2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2" y="0"/>
                    </a:cubicBezTo>
                    <a:close/>
                    <a:moveTo>
                      <a:pt x="2" y="0"/>
                    </a:move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6" name="ïṧlîḍè">
                <a:extLst>
                  <a:ext uri="{FF2B5EF4-FFF2-40B4-BE49-F238E27FC236}">
                    <a16:creationId xmlns:a16="http://schemas.microsoft.com/office/drawing/2014/main" id="{D24A974C-F9CF-4905-A1DA-5548AA694896}"/>
                  </a:ext>
                </a:extLst>
              </p:cNvPr>
              <p:cNvSpPr/>
              <p:nvPr/>
            </p:nvSpPr>
            <p:spPr bwMode="auto">
              <a:xfrm>
                <a:off x="674211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5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5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7" name="iṩḷîḓe">
                <a:extLst>
                  <a:ext uri="{FF2B5EF4-FFF2-40B4-BE49-F238E27FC236}">
                    <a16:creationId xmlns:a16="http://schemas.microsoft.com/office/drawing/2014/main" id="{E49A515E-CE61-4C0F-AB00-62312A685EAA}"/>
                  </a:ext>
                </a:extLst>
              </p:cNvPr>
              <p:cNvSpPr/>
              <p:nvPr/>
            </p:nvSpPr>
            <p:spPr bwMode="auto">
              <a:xfrm>
                <a:off x="6684963" y="2741613"/>
                <a:ext cx="23813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8" name="ïṥļîḋe">
                <a:extLst>
                  <a:ext uri="{FF2B5EF4-FFF2-40B4-BE49-F238E27FC236}">
                    <a16:creationId xmlns:a16="http://schemas.microsoft.com/office/drawing/2014/main" id="{A86BAA89-A19B-43AA-B48D-91575A4A4CEC}"/>
                  </a:ext>
                </a:extLst>
              </p:cNvPr>
              <p:cNvSpPr/>
              <p:nvPr/>
            </p:nvSpPr>
            <p:spPr bwMode="auto">
              <a:xfrm>
                <a:off x="6632575" y="2741613"/>
                <a:ext cx="22225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6" y="20"/>
                  </a:cxn>
                  <a:cxn ang="0">
                    <a:pos x="6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6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6" y="21"/>
                      <a:pt x="6" y="20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9" name="işḷïḋe">
                <a:extLst>
                  <a:ext uri="{FF2B5EF4-FFF2-40B4-BE49-F238E27FC236}">
                    <a16:creationId xmlns:a16="http://schemas.microsoft.com/office/drawing/2014/main" id="{12640070-D73C-4156-A4CD-F229CD3E7FD2}"/>
                  </a:ext>
                </a:extLst>
              </p:cNvPr>
              <p:cNvSpPr/>
              <p:nvPr/>
            </p:nvSpPr>
            <p:spPr bwMode="auto">
              <a:xfrm>
                <a:off x="6575425" y="2741613"/>
                <a:ext cx="19050" cy="87313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3"/>
                  </a:cxn>
                  <a:cxn ang="0">
                    <a:pos x="0" y="20"/>
                  </a:cxn>
                  <a:cxn ang="0">
                    <a:pos x="3" y="23"/>
                  </a:cxn>
                  <a:cxn ang="0">
                    <a:pos x="5" y="20"/>
                  </a:cxn>
                  <a:cxn ang="0">
                    <a:pos x="5" y="3"/>
                  </a:cxn>
                  <a:cxn ang="0">
                    <a:pos x="3" y="0"/>
                  </a:cxn>
                  <a:cxn ang="0">
                    <a:pos x="3" y="0"/>
                  </a:cxn>
                  <a:cxn ang="0">
                    <a:pos x="3" y="0"/>
                  </a:cxn>
                </a:cxnLst>
                <a:rect l="0" t="0" r="r" b="b"/>
                <a:pathLst>
                  <a:path w="5" h="23">
                    <a:moveTo>
                      <a:pt x="3" y="0"/>
                    </a:moveTo>
                    <a:cubicBezTo>
                      <a:pt x="1" y="0"/>
                      <a:pt x="0" y="2"/>
                      <a:pt x="0" y="3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1"/>
                      <a:pt x="1" y="23"/>
                      <a:pt x="3" y="23"/>
                    </a:cubicBezTo>
                    <a:cubicBezTo>
                      <a:pt x="4" y="23"/>
                      <a:pt x="5" y="21"/>
                      <a:pt x="5" y="20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2"/>
                      <a:pt x="4" y="0"/>
                      <a:pt x="3" y="0"/>
                    </a:cubicBezTo>
                    <a:close/>
                    <a:moveTo>
                      <a:pt x="3" y="0"/>
                    </a:move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0" name="ï$ľïḋé">
                <a:extLst>
                  <a:ext uri="{FF2B5EF4-FFF2-40B4-BE49-F238E27FC236}">
                    <a16:creationId xmlns:a16="http://schemas.microsoft.com/office/drawing/2014/main" id="{98B4A9EE-A735-48AF-8B94-D71A542C0EA4}"/>
                  </a:ext>
                </a:extLst>
              </p:cNvPr>
              <p:cNvSpPr/>
              <p:nvPr/>
            </p:nvSpPr>
            <p:spPr bwMode="auto">
              <a:xfrm>
                <a:off x="6491288" y="2227263"/>
                <a:ext cx="476250" cy="476250"/>
              </a:xfrm>
              <a:custGeom>
                <a:avLst/>
                <a:gdLst/>
                <a:ahLst/>
                <a:cxnLst>
                  <a:cxn ang="0">
                    <a:pos x="107" y="0"/>
                  </a:cxn>
                  <a:cxn ang="0">
                    <a:pos x="17" y="0"/>
                  </a:cxn>
                  <a:cxn ang="0">
                    <a:pos x="0" y="18"/>
                  </a:cxn>
                  <a:cxn ang="0">
                    <a:pos x="0" y="108"/>
                  </a:cxn>
                  <a:cxn ang="0">
                    <a:pos x="17" y="125"/>
                  </a:cxn>
                  <a:cxn ang="0">
                    <a:pos x="107" y="125"/>
                  </a:cxn>
                  <a:cxn ang="0">
                    <a:pos x="125" y="108"/>
                  </a:cxn>
                  <a:cxn ang="0">
                    <a:pos x="125" y="18"/>
                  </a:cxn>
                  <a:cxn ang="0">
                    <a:pos x="107" y="0"/>
                  </a:cxn>
                  <a:cxn ang="0">
                    <a:pos x="26" y="28"/>
                  </a:cxn>
                  <a:cxn ang="0">
                    <a:pos x="20" y="22"/>
                  </a:cxn>
                  <a:cxn ang="0">
                    <a:pos x="26" y="17"/>
                  </a:cxn>
                  <a:cxn ang="0">
                    <a:pos x="31" y="22"/>
                  </a:cxn>
                  <a:cxn ang="0">
                    <a:pos x="26" y="28"/>
                  </a:cxn>
                  <a:cxn ang="0">
                    <a:pos x="91" y="90"/>
                  </a:cxn>
                  <a:cxn ang="0">
                    <a:pos x="34" y="90"/>
                  </a:cxn>
                  <a:cxn ang="0">
                    <a:pos x="34" y="32"/>
                  </a:cxn>
                  <a:cxn ang="0">
                    <a:pos x="91" y="32"/>
                  </a:cxn>
                  <a:cxn ang="0">
                    <a:pos x="91" y="90"/>
                  </a:cxn>
                  <a:cxn ang="0">
                    <a:pos x="91" y="90"/>
                  </a:cxn>
                  <a:cxn ang="0">
                    <a:pos x="91" y="90"/>
                  </a:cxn>
                </a:cxnLst>
                <a:rect l="0" t="0" r="r" b="b"/>
                <a:pathLst>
                  <a:path w="125" h="125">
                    <a:moveTo>
                      <a:pt x="10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0" y="18"/>
                    </a:cubicBezTo>
                    <a:cubicBezTo>
                      <a:pt x="0" y="108"/>
                      <a:pt x="0" y="108"/>
                      <a:pt x="0" y="108"/>
                    </a:cubicBezTo>
                    <a:cubicBezTo>
                      <a:pt x="0" y="118"/>
                      <a:pt x="7" y="125"/>
                      <a:pt x="17" y="125"/>
                    </a:cubicBezTo>
                    <a:cubicBezTo>
                      <a:pt x="107" y="125"/>
                      <a:pt x="107" y="125"/>
                      <a:pt x="107" y="125"/>
                    </a:cubicBezTo>
                    <a:cubicBezTo>
                      <a:pt x="117" y="125"/>
                      <a:pt x="125" y="118"/>
                      <a:pt x="125" y="108"/>
                    </a:cubicBezTo>
                    <a:cubicBezTo>
                      <a:pt x="125" y="18"/>
                      <a:pt x="125" y="18"/>
                      <a:pt x="125" y="18"/>
                    </a:cubicBezTo>
                    <a:cubicBezTo>
                      <a:pt x="125" y="8"/>
                      <a:pt x="117" y="0"/>
                      <a:pt x="107" y="0"/>
                    </a:cubicBezTo>
                    <a:close/>
                    <a:moveTo>
                      <a:pt x="26" y="28"/>
                    </a:moveTo>
                    <a:cubicBezTo>
                      <a:pt x="23" y="28"/>
                      <a:pt x="20" y="26"/>
                      <a:pt x="20" y="22"/>
                    </a:cubicBezTo>
                    <a:cubicBezTo>
                      <a:pt x="20" y="19"/>
                      <a:pt x="23" y="17"/>
                      <a:pt x="26" y="17"/>
                    </a:cubicBezTo>
                    <a:cubicBezTo>
                      <a:pt x="29" y="17"/>
                      <a:pt x="31" y="19"/>
                      <a:pt x="31" y="22"/>
                    </a:cubicBezTo>
                    <a:cubicBezTo>
                      <a:pt x="31" y="26"/>
                      <a:pt x="29" y="28"/>
                      <a:pt x="26" y="28"/>
                    </a:cubicBezTo>
                    <a:close/>
                    <a:moveTo>
                      <a:pt x="91" y="90"/>
                    </a:moveTo>
                    <a:cubicBezTo>
                      <a:pt x="34" y="90"/>
                      <a:pt x="34" y="90"/>
                      <a:pt x="34" y="90"/>
                    </a:cubicBezTo>
                    <a:cubicBezTo>
                      <a:pt x="34" y="32"/>
                      <a:pt x="34" y="32"/>
                      <a:pt x="34" y="32"/>
                    </a:cubicBezTo>
                    <a:cubicBezTo>
                      <a:pt x="91" y="32"/>
                      <a:pt x="91" y="32"/>
                      <a:pt x="91" y="32"/>
                    </a:cubicBezTo>
                    <a:lnTo>
                      <a:pt x="91" y="90"/>
                    </a:lnTo>
                    <a:close/>
                    <a:moveTo>
                      <a:pt x="91" y="90"/>
                    </a:moveTo>
                    <a:cubicBezTo>
                      <a:pt x="91" y="90"/>
                      <a:pt x="91" y="90"/>
                      <a:pt x="91" y="9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92500" lnSpcReduction="1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1" name="íṥḷîḍê">
                <a:extLst>
                  <a:ext uri="{FF2B5EF4-FFF2-40B4-BE49-F238E27FC236}">
                    <a16:creationId xmlns:a16="http://schemas.microsoft.com/office/drawing/2014/main" id="{AC2C5207-564B-41ED-9EFC-3338F35306F4}"/>
                  </a:ext>
                </a:extLst>
              </p:cNvPr>
              <p:cNvSpPr/>
              <p:nvPr/>
            </p:nvSpPr>
            <p:spPr bwMode="auto">
              <a:xfrm>
                <a:off x="6989763" y="2311400"/>
                <a:ext cx="87313" cy="19050"/>
              </a:xfrm>
              <a:custGeom>
                <a:avLst/>
                <a:gdLst/>
                <a:ahLst/>
                <a:cxnLst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3" y="5"/>
                  </a:cxn>
                  <a:cxn ang="0">
                    <a:pos x="3" y="5"/>
                  </a:cxn>
                </a:cxnLst>
                <a:rect l="0" t="0" r="r" b="b"/>
                <a:pathLst>
                  <a:path w="23" h="5">
                    <a:moveTo>
                      <a:pt x="3" y="5"/>
                    </a:move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lose/>
                    <a:moveTo>
                      <a:pt x="3" y="5"/>
                    </a:moveTo>
                    <a:cubicBezTo>
                      <a:pt x="3" y="5"/>
                      <a:pt x="3" y="5"/>
                      <a:pt x="3" y="5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2" name="îṥ1ïḍé">
                <a:extLst>
                  <a:ext uri="{FF2B5EF4-FFF2-40B4-BE49-F238E27FC236}">
                    <a16:creationId xmlns:a16="http://schemas.microsoft.com/office/drawing/2014/main" id="{3DDB2F77-E51D-462A-9163-7A3A1857B315}"/>
                  </a:ext>
                </a:extLst>
              </p:cNvPr>
              <p:cNvSpPr/>
              <p:nvPr/>
            </p:nvSpPr>
            <p:spPr bwMode="auto">
              <a:xfrm>
                <a:off x="6989763" y="2368550"/>
                <a:ext cx="87313" cy="22225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6"/>
                  </a:cxn>
                  <a:cxn ang="0">
                    <a:pos x="20" y="6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6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6"/>
                      <a:pt x="3" y="6"/>
                    </a:cubicBezTo>
                    <a:cubicBezTo>
                      <a:pt x="20" y="6"/>
                      <a:pt x="20" y="6"/>
                      <a:pt x="20" y="6"/>
                    </a:cubicBezTo>
                    <a:cubicBezTo>
                      <a:pt x="21" y="6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3" name="íS1îḋe">
                <a:extLst>
                  <a:ext uri="{FF2B5EF4-FFF2-40B4-BE49-F238E27FC236}">
                    <a16:creationId xmlns:a16="http://schemas.microsoft.com/office/drawing/2014/main" id="{9BDDF5E7-79D9-40C0-AA1A-355BEB90C4CF}"/>
                  </a:ext>
                </a:extLst>
              </p:cNvPr>
              <p:cNvSpPr/>
              <p:nvPr/>
            </p:nvSpPr>
            <p:spPr bwMode="auto">
              <a:xfrm>
                <a:off x="6989763" y="242887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4" name="í$lîďê">
                <a:extLst>
                  <a:ext uri="{FF2B5EF4-FFF2-40B4-BE49-F238E27FC236}">
                    <a16:creationId xmlns:a16="http://schemas.microsoft.com/office/drawing/2014/main" id="{6A077185-6BD7-4538-99F6-5A4C1536A9C3}"/>
                  </a:ext>
                </a:extLst>
              </p:cNvPr>
              <p:cNvSpPr/>
              <p:nvPr/>
            </p:nvSpPr>
            <p:spPr bwMode="auto">
              <a:xfrm>
                <a:off x="6989763" y="2486025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5" name="ïSļíḓè">
                <a:extLst>
                  <a:ext uri="{FF2B5EF4-FFF2-40B4-BE49-F238E27FC236}">
                    <a16:creationId xmlns:a16="http://schemas.microsoft.com/office/drawing/2014/main" id="{4F6D56FA-2C6F-4CEF-A23D-5CA588ECB780}"/>
                  </a:ext>
                </a:extLst>
              </p:cNvPr>
              <p:cNvSpPr/>
              <p:nvPr/>
            </p:nvSpPr>
            <p:spPr bwMode="auto">
              <a:xfrm>
                <a:off x="6989763" y="254000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2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6" name="iślide">
                <a:extLst>
                  <a:ext uri="{FF2B5EF4-FFF2-40B4-BE49-F238E27FC236}">
                    <a16:creationId xmlns:a16="http://schemas.microsoft.com/office/drawing/2014/main" id="{C115C745-BEB0-40D7-9269-A42197D50A15}"/>
                  </a:ext>
                </a:extLst>
              </p:cNvPr>
              <p:cNvSpPr/>
              <p:nvPr/>
            </p:nvSpPr>
            <p:spPr bwMode="auto">
              <a:xfrm>
                <a:off x="6989763" y="2597150"/>
                <a:ext cx="87313" cy="19050"/>
              </a:xfrm>
              <a:custGeom>
                <a:avLst/>
                <a:gdLst/>
                <a:ahLst/>
                <a:cxnLst>
                  <a:cxn ang="0">
                    <a:pos x="20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3" y="5"/>
                  </a:cxn>
                  <a:cxn ang="0">
                    <a:pos x="20" y="5"/>
                  </a:cxn>
                  <a:cxn ang="0">
                    <a:pos x="23" y="3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</a:cxnLst>
                <a:rect l="0" t="0" r="r" b="b"/>
                <a:pathLst>
                  <a:path w="23" h="5">
                    <a:moveTo>
                      <a:pt x="20" y="0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3" y="5"/>
                    </a:cubicBezTo>
                    <a:cubicBezTo>
                      <a:pt x="20" y="5"/>
                      <a:pt x="20" y="5"/>
                      <a:pt x="20" y="5"/>
                    </a:cubicBezTo>
                    <a:cubicBezTo>
                      <a:pt x="21" y="5"/>
                      <a:pt x="23" y="4"/>
                      <a:pt x="23" y="3"/>
                    </a:cubicBezTo>
                    <a:cubicBezTo>
                      <a:pt x="23" y="1"/>
                      <a:pt x="21" y="0"/>
                      <a:pt x="20" y="0"/>
                    </a:cubicBezTo>
                    <a:close/>
                    <a:moveTo>
                      <a:pt x="20" y="0"/>
                    </a:moveTo>
                    <a:cubicBezTo>
                      <a:pt x="20" y="0"/>
                      <a:pt x="20" y="0"/>
                      <a:pt x="20" y="0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40" name="îšľïḑe">
              <a:extLst>
                <a:ext uri="{FF2B5EF4-FFF2-40B4-BE49-F238E27FC236}">
                  <a16:creationId xmlns:a16="http://schemas.microsoft.com/office/drawing/2014/main" id="{F6920ADF-F380-4E79-B125-9AF27F4CBDD5}"/>
                </a:ext>
              </a:extLst>
            </p:cNvPr>
            <p:cNvSpPr txBox="1"/>
            <p:nvPr/>
          </p:nvSpPr>
          <p:spPr bwMode="auto">
            <a:xfrm>
              <a:off x="8767790" y="3145806"/>
              <a:ext cx="2252494" cy="4625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 fontScale="85000" lnSpcReduction="10000"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zh-CN" alt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Plan for the future</a:t>
              </a:r>
            </a:p>
          </p:txBody>
        </p:sp>
        <p:sp>
          <p:nvSpPr>
            <p:cNvPr id="41" name="îš1iḑê">
              <a:extLst>
                <a:ext uri="{FF2B5EF4-FFF2-40B4-BE49-F238E27FC236}">
                  <a16:creationId xmlns:a16="http://schemas.microsoft.com/office/drawing/2014/main" id="{6E2AB3F8-40AF-4D56-B578-76165F43F3AE}"/>
                </a:ext>
              </a:extLst>
            </p:cNvPr>
            <p:cNvSpPr txBox="1"/>
            <p:nvPr/>
          </p:nvSpPr>
          <p:spPr bwMode="auto">
            <a:xfrm>
              <a:off x="8767790" y="3515211"/>
              <a:ext cx="2252494" cy="510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r">
                <a:lnSpc>
                  <a:spcPct val="120000"/>
                </a:lnSpc>
              </a:pPr>
              <a:r>
                <a:rPr lang="en-US" altLang="zh-CN" sz="1400" spc="300" dirty="0">
                  <a:solidFill>
                    <a:schemeClr val="bg1"/>
                  </a:solidFill>
                  <a:cs typeface="+mn-ea"/>
                  <a:sym typeface="+mn-lt"/>
                </a:rPr>
                <a:t>PART 04</a:t>
              </a:r>
            </a:p>
          </p:txBody>
        </p:sp>
      </p:grpSp>
      <p:sp>
        <p:nvSpPr>
          <p:cNvPr id="78" name="iṧḻíḑe">
            <a:extLst>
              <a:ext uri="{FF2B5EF4-FFF2-40B4-BE49-F238E27FC236}">
                <a16:creationId xmlns:a16="http://schemas.microsoft.com/office/drawing/2014/main" id="{C14AD16C-5A32-4A95-B3D2-8123342253AB}"/>
              </a:ext>
            </a:extLst>
          </p:cNvPr>
          <p:cNvSpPr txBox="1"/>
          <p:nvPr/>
        </p:nvSpPr>
        <p:spPr>
          <a:xfrm>
            <a:off x="4535402" y="474198"/>
            <a:ext cx="3276600" cy="362179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 sz="3600" dirty="0">
                <a:solidFill>
                  <a:schemeClr val="bg1"/>
                </a:solidFill>
                <a:cs typeface="+mn-ea"/>
                <a:sym typeface="+mn-lt"/>
              </a:rPr>
              <a:t>CONTENTS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250"/>
                            </p:stCondLst>
                            <p:childTnLst>
                              <p:par>
                                <p:cTn id="23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Sḷide">
            <a:extLst>
              <a:ext uri="{FF2B5EF4-FFF2-40B4-BE49-F238E27FC236}">
                <a16:creationId xmlns:a16="http://schemas.microsoft.com/office/drawing/2014/main" id="{7CC342E6-4C32-4FFD-A835-D816829C4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pic>
        <p:nvPicPr>
          <p:cNvPr id="13" name="íṣľïḍê" descr="线条01">
            <a:extLst>
              <a:ext uri="{FF2B5EF4-FFF2-40B4-BE49-F238E27FC236}">
                <a16:creationId xmlns:a16="http://schemas.microsoft.com/office/drawing/2014/main" id="{EE83D4AD-F9E7-4254-A18A-738ADFA9F5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20981405" flipH="1">
            <a:off x="75420" y="3750315"/>
            <a:ext cx="12400280" cy="2290586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B94B5A03-1BF6-4C6C-BCBE-11A3D9AE0E8D}"/>
              </a:ext>
            </a:extLst>
          </p:cNvPr>
          <p:cNvSpPr/>
          <p:nvPr/>
        </p:nvSpPr>
        <p:spPr>
          <a:xfrm>
            <a:off x="660400" y="2559894"/>
            <a:ext cx="7584962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6600" dirty="0">
                <a:solidFill>
                  <a:schemeClr val="bg1"/>
                </a:solidFill>
                <a:cs typeface="+mn-ea"/>
                <a:sym typeface="+mn-lt"/>
              </a:rPr>
              <a:t>Plan for the future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95E5F1E-2DFE-4287-BE18-C20E598811C6}"/>
              </a:ext>
            </a:extLst>
          </p:cNvPr>
          <p:cNvGrpSpPr/>
          <p:nvPr/>
        </p:nvGrpSpPr>
        <p:grpSpPr>
          <a:xfrm>
            <a:off x="660400" y="1872802"/>
            <a:ext cx="2946009" cy="524319"/>
            <a:chOff x="8297840" y="1448997"/>
            <a:chExt cx="2946009" cy="524319"/>
          </a:xfrm>
        </p:grpSpPr>
        <p:grpSp>
          <p:nvGrpSpPr>
            <p:cNvPr id="7" name="îsḻîḋé">
              <a:extLst>
                <a:ext uri="{FF2B5EF4-FFF2-40B4-BE49-F238E27FC236}">
                  <a16:creationId xmlns:a16="http://schemas.microsoft.com/office/drawing/2014/main" id="{028279EA-1E72-496F-8332-7D1D1429339A}"/>
                </a:ext>
              </a:extLst>
            </p:cNvPr>
            <p:cNvGrpSpPr/>
            <p:nvPr/>
          </p:nvGrpSpPr>
          <p:grpSpPr>
            <a:xfrm>
              <a:off x="8420670" y="1448997"/>
              <a:ext cx="2727644" cy="524319"/>
              <a:chOff x="5623208" y="2201818"/>
              <a:chExt cx="5820229" cy="524319"/>
            </a:xfrm>
          </p:grpSpPr>
          <p:cxnSp>
            <p:nvCxnSpPr>
              <p:cNvPr id="9" name="í$lïdê">
                <a:extLst>
                  <a:ext uri="{FF2B5EF4-FFF2-40B4-BE49-F238E27FC236}">
                    <a16:creationId xmlns:a16="http://schemas.microsoft.com/office/drawing/2014/main" id="{47EB845A-59CD-49C4-9129-F683DDFA39A3}"/>
                  </a:ext>
                </a:extLst>
              </p:cNvPr>
              <p:cNvCxnSpPr/>
              <p:nvPr/>
            </p:nvCxnSpPr>
            <p:spPr>
              <a:xfrm>
                <a:off x="5623208" y="2201818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" name="iṩľïḑe">
                <a:extLst>
                  <a:ext uri="{FF2B5EF4-FFF2-40B4-BE49-F238E27FC236}">
                    <a16:creationId xmlns:a16="http://schemas.microsoft.com/office/drawing/2014/main" id="{F2805856-A9A3-4F88-80EB-B48364862826}"/>
                  </a:ext>
                </a:extLst>
              </p:cNvPr>
              <p:cNvCxnSpPr/>
              <p:nvPr/>
            </p:nvCxnSpPr>
            <p:spPr>
              <a:xfrm>
                <a:off x="5623208" y="2726137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B957F02-E25E-42FA-903E-E81B68845813}"/>
                </a:ext>
              </a:extLst>
            </p:cNvPr>
            <p:cNvSpPr/>
            <p:nvPr/>
          </p:nvSpPr>
          <p:spPr>
            <a:xfrm>
              <a:off x="8297840" y="1540138"/>
              <a:ext cx="29460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pc="300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</p:grpSp>
      <p:sp>
        <p:nvSpPr>
          <p:cNvPr id="14" name="副标题 4">
            <a:extLst>
              <a:ext uri="{FF2B5EF4-FFF2-40B4-BE49-F238E27FC236}">
                <a16:creationId xmlns:a16="http://schemas.microsoft.com/office/drawing/2014/main" id="{E70F7116-6290-441E-8A31-42ED65F0C9F2}"/>
              </a:ext>
            </a:extLst>
          </p:cNvPr>
          <p:cNvSpPr txBox="1">
            <a:spLocks/>
          </p:cNvSpPr>
          <p:nvPr/>
        </p:nvSpPr>
        <p:spPr>
          <a:xfrm>
            <a:off x="660400" y="3928165"/>
            <a:ext cx="7001491" cy="558799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Theme color makes PPT more convenient to </a:t>
            </a:r>
            <a:r>
              <a:rPr lang="en-US" altLang="zh-CN" sz="1200" dirty="0" err="1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change. Adjust</a:t>
            </a: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 the spacing to adapt to Chinese typesetting, use the reference line in PPT.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38C68A8-4ACD-45F3-BA2E-C6584BE86E98}"/>
              </a:ext>
            </a:extLst>
          </p:cNvPr>
          <p:cNvSpPr txBox="1"/>
          <p:nvPr/>
        </p:nvSpPr>
        <p:spPr>
          <a:xfrm>
            <a:off x="7949315" y="5426214"/>
            <a:ext cx="35695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PART 04</a:t>
            </a:r>
            <a:endParaRPr lang="zh-CN" altLang="en-US" sz="4000" dirty="0">
              <a:solidFill>
                <a:schemeClr val="accent1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2444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75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 build="p"/>
      <p:bldP spid="12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6981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lan for the futur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4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C6EAF70D-1483-41BA-8494-4A9AF13AD5C4}"/>
              </a:ext>
            </a:extLst>
          </p:cNvPr>
          <p:cNvCxnSpPr/>
          <p:nvPr/>
        </p:nvCxnSpPr>
        <p:spPr>
          <a:xfrm>
            <a:off x="5819140" y="1226554"/>
            <a:ext cx="0" cy="5016500"/>
          </a:xfrm>
          <a:prstGeom prst="line">
            <a:avLst/>
          </a:prstGeom>
          <a:ln w="349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DF10329A-6FF7-46A0-9D2A-369E7C646B69}"/>
              </a:ext>
            </a:extLst>
          </p:cNvPr>
          <p:cNvGrpSpPr/>
          <p:nvPr/>
        </p:nvGrpSpPr>
        <p:grpSpPr>
          <a:xfrm>
            <a:off x="5697220" y="2816213"/>
            <a:ext cx="2703906" cy="843686"/>
            <a:chOff x="5697220" y="2816213"/>
            <a:chExt cx="2703906" cy="843686"/>
          </a:xfrm>
        </p:grpSpPr>
        <p:sp>
          <p:nvSpPr>
            <p:cNvPr id="8" name="îṡlîḑè">
              <a:extLst>
                <a:ext uri="{FF2B5EF4-FFF2-40B4-BE49-F238E27FC236}">
                  <a16:creationId xmlns:a16="http://schemas.microsoft.com/office/drawing/2014/main" id="{4CE2D2CC-0F4D-4947-91DB-15EA6265F4B1}"/>
                </a:ext>
              </a:extLst>
            </p:cNvPr>
            <p:cNvSpPr/>
            <p:nvPr/>
          </p:nvSpPr>
          <p:spPr>
            <a:xfrm>
              <a:off x="5697220" y="3154831"/>
              <a:ext cx="243840" cy="243840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3" name="ïŝľiḑê">
              <a:extLst>
                <a:ext uri="{FF2B5EF4-FFF2-40B4-BE49-F238E27FC236}">
                  <a16:creationId xmlns:a16="http://schemas.microsoft.com/office/drawing/2014/main" id="{A50FE4A1-9C02-457E-82E5-C173E1778F42}"/>
                </a:ext>
              </a:extLst>
            </p:cNvPr>
            <p:cNvSpPr/>
            <p:nvPr/>
          </p:nvSpPr>
          <p:spPr>
            <a:xfrm rot="16200000">
              <a:off x="5916266" y="3066129"/>
              <a:ext cx="669860" cy="385168"/>
            </a:xfrm>
            <a:prstGeom prst="triangl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iṣlîďe">
              <a:extLst>
                <a:ext uri="{FF2B5EF4-FFF2-40B4-BE49-F238E27FC236}">
                  <a16:creationId xmlns:a16="http://schemas.microsoft.com/office/drawing/2014/main" id="{0543E15C-09CE-4055-A50E-1E53B9B93B05}"/>
                </a:ext>
              </a:extLst>
            </p:cNvPr>
            <p:cNvSpPr/>
            <p:nvPr/>
          </p:nvSpPr>
          <p:spPr>
            <a:xfrm>
              <a:off x="6251267" y="2816213"/>
              <a:ext cx="2149859" cy="84368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Sḷîḍè">
              <a:extLst>
                <a:ext uri="{FF2B5EF4-FFF2-40B4-BE49-F238E27FC236}">
                  <a16:creationId xmlns:a16="http://schemas.microsoft.com/office/drawing/2014/main" id="{0B25BDC2-BE37-455D-A5A5-0141CA454AFE}"/>
                </a:ext>
              </a:extLst>
            </p:cNvPr>
            <p:cNvSpPr/>
            <p:nvPr/>
          </p:nvSpPr>
          <p:spPr>
            <a:xfrm>
              <a:off x="6327000" y="2886574"/>
              <a:ext cx="1997926" cy="70296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iṩļiḋe">
              <a:extLst>
                <a:ext uri="{FF2B5EF4-FFF2-40B4-BE49-F238E27FC236}">
                  <a16:creationId xmlns:a16="http://schemas.microsoft.com/office/drawing/2014/main" id="{35DEE4FB-6657-4B16-A701-ADCEFF39CD03}"/>
                </a:ext>
              </a:extLst>
            </p:cNvPr>
            <p:cNvSpPr/>
            <p:nvPr/>
          </p:nvSpPr>
          <p:spPr>
            <a:xfrm rot="16200000">
              <a:off x="6119360" y="3182907"/>
              <a:ext cx="263668" cy="151610"/>
            </a:xfrm>
            <a:prstGeom prst="triangl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9DCC9146-9DE7-401B-BD87-7EA525777B2F}"/>
              </a:ext>
            </a:extLst>
          </p:cNvPr>
          <p:cNvGrpSpPr/>
          <p:nvPr/>
        </p:nvGrpSpPr>
        <p:grpSpPr>
          <a:xfrm>
            <a:off x="5697220" y="4869742"/>
            <a:ext cx="2703907" cy="843686"/>
            <a:chOff x="5697220" y="4869742"/>
            <a:chExt cx="2703907" cy="843686"/>
          </a:xfrm>
        </p:grpSpPr>
        <p:sp>
          <p:nvSpPr>
            <p:cNvPr id="10" name="ïSļíḑe">
              <a:extLst>
                <a:ext uri="{FF2B5EF4-FFF2-40B4-BE49-F238E27FC236}">
                  <a16:creationId xmlns:a16="http://schemas.microsoft.com/office/drawing/2014/main" id="{E80BF6DA-0FF0-4ABA-9300-8BD869B4B5E5}"/>
                </a:ext>
              </a:extLst>
            </p:cNvPr>
            <p:cNvSpPr/>
            <p:nvPr/>
          </p:nvSpPr>
          <p:spPr>
            <a:xfrm>
              <a:off x="5697220" y="5169665"/>
              <a:ext cx="243840" cy="243840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accent1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iṥľîḋê">
              <a:extLst>
                <a:ext uri="{FF2B5EF4-FFF2-40B4-BE49-F238E27FC236}">
                  <a16:creationId xmlns:a16="http://schemas.microsoft.com/office/drawing/2014/main" id="{5721B5A4-5698-4CBD-B841-104E0C93FC73}"/>
                </a:ext>
              </a:extLst>
            </p:cNvPr>
            <p:cNvSpPr/>
            <p:nvPr/>
          </p:nvSpPr>
          <p:spPr>
            <a:xfrm rot="16200000">
              <a:off x="5916264" y="5119658"/>
              <a:ext cx="669860" cy="385168"/>
            </a:xfrm>
            <a:prstGeom prst="triangle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0" name="ïšľiḋe">
              <a:extLst>
                <a:ext uri="{FF2B5EF4-FFF2-40B4-BE49-F238E27FC236}">
                  <a16:creationId xmlns:a16="http://schemas.microsoft.com/office/drawing/2014/main" id="{F33E97D9-49BF-43EE-A207-0183C2CBD56E}"/>
                </a:ext>
              </a:extLst>
            </p:cNvPr>
            <p:cNvSpPr/>
            <p:nvPr/>
          </p:nvSpPr>
          <p:spPr>
            <a:xfrm>
              <a:off x="6251267" y="4869742"/>
              <a:ext cx="2149860" cy="843686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îṣlîďê">
              <a:extLst>
                <a:ext uri="{FF2B5EF4-FFF2-40B4-BE49-F238E27FC236}">
                  <a16:creationId xmlns:a16="http://schemas.microsoft.com/office/drawing/2014/main" id="{88FA89F6-4232-4451-BCBD-F470D424CC15}"/>
                </a:ext>
              </a:extLst>
            </p:cNvPr>
            <p:cNvSpPr/>
            <p:nvPr/>
          </p:nvSpPr>
          <p:spPr>
            <a:xfrm>
              <a:off x="6326998" y="4940103"/>
              <a:ext cx="1997928" cy="702963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îšľidê">
              <a:extLst>
                <a:ext uri="{FF2B5EF4-FFF2-40B4-BE49-F238E27FC236}">
                  <a16:creationId xmlns:a16="http://schemas.microsoft.com/office/drawing/2014/main" id="{E9103415-F607-4206-A972-279E5BDB07C4}"/>
                </a:ext>
              </a:extLst>
            </p:cNvPr>
            <p:cNvSpPr/>
            <p:nvPr/>
          </p:nvSpPr>
          <p:spPr>
            <a:xfrm rot="16200000">
              <a:off x="6119358" y="5236436"/>
              <a:ext cx="263668" cy="151610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5" name="组合 34">
            <a:extLst>
              <a:ext uri="{FF2B5EF4-FFF2-40B4-BE49-F238E27FC236}">
                <a16:creationId xmlns:a16="http://schemas.microsoft.com/office/drawing/2014/main" id="{C859E964-DD2B-41E2-B3C9-79F0F31266FB}"/>
              </a:ext>
            </a:extLst>
          </p:cNvPr>
          <p:cNvGrpSpPr/>
          <p:nvPr/>
        </p:nvGrpSpPr>
        <p:grpSpPr>
          <a:xfrm>
            <a:off x="4629005" y="1858428"/>
            <a:ext cx="1312055" cy="821812"/>
            <a:chOff x="4629005" y="1858428"/>
            <a:chExt cx="1312055" cy="821812"/>
          </a:xfrm>
        </p:grpSpPr>
        <p:sp>
          <p:nvSpPr>
            <p:cNvPr id="11" name="îś1ïdè">
              <a:extLst>
                <a:ext uri="{FF2B5EF4-FFF2-40B4-BE49-F238E27FC236}">
                  <a16:creationId xmlns:a16="http://schemas.microsoft.com/office/drawing/2014/main" id="{5E8EB8B0-66C0-4DBE-B0AA-BF3EC91DF76A}"/>
                </a:ext>
              </a:extLst>
            </p:cNvPr>
            <p:cNvSpPr/>
            <p:nvPr/>
          </p:nvSpPr>
          <p:spPr>
            <a:xfrm rot="2700000">
              <a:off x="4629005" y="1858428"/>
              <a:ext cx="821812" cy="821812"/>
            </a:xfrm>
            <a:prstGeom prst="teardrop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9613A6F1-1F50-4797-9A1D-16C0E9BABAFA}"/>
                </a:ext>
              </a:extLst>
            </p:cNvPr>
            <p:cNvGrpSpPr/>
            <p:nvPr/>
          </p:nvGrpSpPr>
          <p:grpSpPr>
            <a:xfrm>
              <a:off x="4696357" y="1925780"/>
              <a:ext cx="1244703" cy="687108"/>
              <a:chOff x="4696357" y="1925780"/>
              <a:chExt cx="1244703" cy="687108"/>
            </a:xfrm>
          </p:grpSpPr>
          <p:sp>
            <p:nvSpPr>
              <p:cNvPr id="7" name="ïslïḑe">
                <a:extLst>
                  <a:ext uri="{FF2B5EF4-FFF2-40B4-BE49-F238E27FC236}">
                    <a16:creationId xmlns:a16="http://schemas.microsoft.com/office/drawing/2014/main" id="{8F0CDC70-A93A-4A27-B330-04622B3BD5EE}"/>
                  </a:ext>
                </a:extLst>
              </p:cNvPr>
              <p:cNvSpPr/>
              <p:nvPr/>
            </p:nvSpPr>
            <p:spPr>
              <a:xfrm>
                <a:off x="5697220" y="2147414"/>
                <a:ext cx="243840" cy="243840"/>
              </a:xfrm>
              <a:prstGeom prst="ellipse">
                <a:avLst/>
              </a:prstGeom>
              <a:solidFill>
                <a:schemeClr val="bg1"/>
              </a:solidFill>
              <a:ln w="34925">
                <a:solidFill>
                  <a:schemeClr val="accent1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2" name="iṥḻiḋe">
                <a:extLst>
                  <a:ext uri="{FF2B5EF4-FFF2-40B4-BE49-F238E27FC236}">
                    <a16:creationId xmlns:a16="http://schemas.microsoft.com/office/drawing/2014/main" id="{55D57112-85E0-4336-8CEC-65FEB337B181}"/>
                  </a:ext>
                </a:extLst>
              </p:cNvPr>
              <p:cNvSpPr/>
              <p:nvPr/>
            </p:nvSpPr>
            <p:spPr>
              <a:xfrm rot="2700000">
                <a:off x="4696357" y="1925780"/>
                <a:ext cx="687108" cy="687108"/>
              </a:xfrm>
              <a:prstGeom prst="teardrop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3" name="î$1íḋê">
                <a:extLst>
                  <a:ext uri="{FF2B5EF4-FFF2-40B4-BE49-F238E27FC236}">
                    <a16:creationId xmlns:a16="http://schemas.microsoft.com/office/drawing/2014/main" id="{603794E4-7B38-49E4-8C98-7BAE354713AB}"/>
                  </a:ext>
                </a:extLst>
              </p:cNvPr>
              <p:cNvSpPr/>
              <p:nvPr/>
            </p:nvSpPr>
            <p:spPr>
              <a:xfrm>
                <a:off x="4880523" y="2147415"/>
                <a:ext cx="318776" cy="243840"/>
              </a:xfrm>
              <a:custGeom>
                <a:avLst/>
                <a:gdLst>
                  <a:gd name="connsiteX0" fmla="*/ 361794 w 551492"/>
                  <a:gd name="connsiteY0" fmla="*/ 308363 h 421851"/>
                  <a:gd name="connsiteX1" fmla="*/ 530845 w 551492"/>
                  <a:gd name="connsiteY1" fmla="*/ 308363 h 421851"/>
                  <a:gd name="connsiteX2" fmla="*/ 551492 w 551492"/>
                  <a:gd name="connsiteY2" fmla="*/ 329044 h 421851"/>
                  <a:gd name="connsiteX3" fmla="*/ 551492 w 551492"/>
                  <a:gd name="connsiteY3" fmla="*/ 362650 h 421851"/>
                  <a:gd name="connsiteX4" fmla="*/ 530845 w 551492"/>
                  <a:gd name="connsiteY4" fmla="*/ 383331 h 421851"/>
                  <a:gd name="connsiteX5" fmla="*/ 378570 w 551492"/>
                  <a:gd name="connsiteY5" fmla="*/ 383331 h 421851"/>
                  <a:gd name="connsiteX6" fmla="*/ 378570 w 551492"/>
                  <a:gd name="connsiteY6" fmla="*/ 369113 h 421851"/>
                  <a:gd name="connsiteX7" fmla="*/ 361794 w 551492"/>
                  <a:gd name="connsiteY7" fmla="*/ 308363 h 421851"/>
                  <a:gd name="connsiteX8" fmla="*/ 313904 w 551492"/>
                  <a:gd name="connsiteY8" fmla="*/ 172924 h 421851"/>
                  <a:gd name="connsiteX9" fmla="*/ 530832 w 551492"/>
                  <a:gd name="connsiteY9" fmla="*/ 172924 h 421851"/>
                  <a:gd name="connsiteX10" fmla="*/ 551492 w 551492"/>
                  <a:gd name="connsiteY10" fmla="*/ 193548 h 421851"/>
                  <a:gd name="connsiteX11" fmla="*/ 551492 w 551492"/>
                  <a:gd name="connsiteY11" fmla="*/ 225772 h 421851"/>
                  <a:gd name="connsiteX12" fmla="*/ 530832 w 551492"/>
                  <a:gd name="connsiteY12" fmla="*/ 247685 h 421851"/>
                  <a:gd name="connsiteX13" fmla="*/ 271293 w 551492"/>
                  <a:gd name="connsiteY13" fmla="*/ 247685 h 421851"/>
                  <a:gd name="connsiteX14" fmla="*/ 271293 w 551492"/>
                  <a:gd name="connsiteY14" fmla="*/ 227061 h 421851"/>
                  <a:gd name="connsiteX15" fmla="*/ 272584 w 551492"/>
                  <a:gd name="connsiteY15" fmla="*/ 224483 h 421851"/>
                  <a:gd name="connsiteX16" fmla="*/ 313904 w 551492"/>
                  <a:gd name="connsiteY16" fmla="*/ 172924 h 421851"/>
                  <a:gd name="connsiteX17" fmla="*/ 281648 w 551492"/>
                  <a:gd name="connsiteY17" fmla="*/ 36241 h 421851"/>
                  <a:gd name="connsiteX18" fmla="*/ 530834 w 551492"/>
                  <a:gd name="connsiteY18" fmla="*/ 36241 h 421851"/>
                  <a:gd name="connsiteX19" fmla="*/ 551492 w 551492"/>
                  <a:gd name="connsiteY19" fmla="*/ 58154 h 421851"/>
                  <a:gd name="connsiteX20" fmla="*/ 551492 w 551492"/>
                  <a:gd name="connsiteY20" fmla="*/ 90378 h 421851"/>
                  <a:gd name="connsiteX21" fmla="*/ 530834 w 551492"/>
                  <a:gd name="connsiteY21" fmla="*/ 111002 h 421851"/>
                  <a:gd name="connsiteX22" fmla="*/ 308761 w 551492"/>
                  <a:gd name="connsiteY22" fmla="*/ 111002 h 421851"/>
                  <a:gd name="connsiteX23" fmla="*/ 295850 w 551492"/>
                  <a:gd name="connsiteY23" fmla="*/ 96823 h 421851"/>
                  <a:gd name="connsiteX24" fmla="*/ 281648 w 551492"/>
                  <a:gd name="connsiteY24" fmla="*/ 36241 h 421851"/>
                  <a:gd name="connsiteX25" fmla="*/ 176987 w 551492"/>
                  <a:gd name="connsiteY25" fmla="*/ 0 h 421851"/>
                  <a:gd name="connsiteX26" fmla="*/ 271294 w 551492"/>
                  <a:gd name="connsiteY26" fmla="*/ 117396 h 421851"/>
                  <a:gd name="connsiteX27" fmla="*/ 276461 w 551492"/>
                  <a:gd name="connsiteY27" fmla="*/ 117396 h 421851"/>
                  <a:gd name="connsiteX28" fmla="*/ 290672 w 551492"/>
                  <a:gd name="connsiteY28" fmla="*/ 152228 h 421851"/>
                  <a:gd name="connsiteX29" fmla="*/ 262251 w 551492"/>
                  <a:gd name="connsiteY29" fmla="*/ 199960 h 421851"/>
                  <a:gd name="connsiteX30" fmla="*/ 257083 w 551492"/>
                  <a:gd name="connsiteY30" fmla="*/ 197380 h 421851"/>
                  <a:gd name="connsiteX31" fmla="*/ 224786 w 551492"/>
                  <a:gd name="connsiteY31" fmla="*/ 247692 h 421851"/>
                  <a:gd name="connsiteX32" fmla="*/ 219619 w 551492"/>
                  <a:gd name="connsiteY32" fmla="*/ 259303 h 421851"/>
                  <a:gd name="connsiteX33" fmla="*/ 241581 w 551492"/>
                  <a:gd name="connsiteY33" fmla="*/ 279944 h 421851"/>
                  <a:gd name="connsiteX34" fmla="*/ 263543 w 551492"/>
                  <a:gd name="connsiteY34" fmla="*/ 279944 h 421851"/>
                  <a:gd name="connsiteX35" fmla="*/ 352682 w 551492"/>
                  <a:gd name="connsiteY35" fmla="*/ 368958 h 421851"/>
                  <a:gd name="connsiteX36" fmla="*/ 352682 w 551492"/>
                  <a:gd name="connsiteY36" fmla="*/ 393470 h 421851"/>
                  <a:gd name="connsiteX37" fmla="*/ 325553 w 551492"/>
                  <a:gd name="connsiteY37" fmla="*/ 421851 h 421851"/>
                  <a:gd name="connsiteX38" fmla="*/ 28421 w 551492"/>
                  <a:gd name="connsiteY38" fmla="*/ 421851 h 421851"/>
                  <a:gd name="connsiteX39" fmla="*/ 0 w 551492"/>
                  <a:gd name="connsiteY39" fmla="*/ 393470 h 421851"/>
                  <a:gd name="connsiteX40" fmla="*/ 0 w 551492"/>
                  <a:gd name="connsiteY40" fmla="*/ 368958 h 421851"/>
                  <a:gd name="connsiteX41" fmla="*/ 89139 w 551492"/>
                  <a:gd name="connsiteY41" fmla="*/ 279944 h 421851"/>
                  <a:gd name="connsiteX42" fmla="*/ 112393 w 551492"/>
                  <a:gd name="connsiteY42" fmla="*/ 279944 h 421851"/>
                  <a:gd name="connsiteX43" fmla="*/ 133063 w 551492"/>
                  <a:gd name="connsiteY43" fmla="*/ 259303 h 421851"/>
                  <a:gd name="connsiteX44" fmla="*/ 127896 w 551492"/>
                  <a:gd name="connsiteY44" fmla="*/ 247692 h 421851"/>
                  <a:gd name="connsiteX45" fmla="*/ 95599 w 551492"/>
                  <a:gd name="connsiteY45" fmla="*/ 198670 h 421851"/>
                  <a:gd name="connsiteX46" fmla="*/ 91723 w 551492"/>
                  <a:gd name="connsiteY46" fmla="*/ 199960 h 421851"/>
                  <a:gd name="connsiteX47" fmla="*/ 63302 w 551492"/>
                  <a:gd name="connsiteY47" fmla="*/ 152228 h 421851"/>
                  <a:gd name="connsiteX48" fmla="*/ 78804 w 551492"/>
                  <a:gd name="connsiteY48" fmla="*/ 117396 h 421851"/>
                  <a:gd name="connsiteX49" fmla="*/ 81388 w 551492"/>
                  <a:gd name="connsiteY49" fmla="*/ 117396 h 421851"/>
                  <a:gd name="connsiteX50" fmla="*/ 176987 w 551492"/>
                  <a:gd name="connsiteY50" fmla="*/ 0 h 4218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551492" h="421851">
                    <a:moveTo>
                      <a:pt x="361794" y="308363"/>
                    </a:moveTo>
                    <a:lnTo>
                      <a:pt x="530845" y="308363"/>
                    </a:lnTo>
                    <a:cubicBezTo>
                      <a:pt x="541168" y="308363"/>
                      <a:pt x="551492" y="317411"/>
                      <a:pt x="551492" y="329044"/>
                    </a:cubicBezTo>
                    <a:lnTo>
                      <a:pt x="551492" y="362650"/>
                    </a:lnTo>
                    <a:cubicBezTo>
                      <a:pt x="551492" y="374283"/>
                      <a:pt x="541168" y="383331"/>
                      <a:pt x="530845" y="383331"/>
                    </a:cubicBezTo>
                    <a:lnTo>
                      <a:pt x="378570" y="383331"/>
                    </a:lnTo>
                    <a:lnTo>
                      <a:pt x="378570" y="369113"/>
                    </a:lnTo>
                    <a:cubicBezTo>
                      <a:pt x="378570" y="347140"/>
                      <a:pt x="372118" y="326459"/>
                      <a:pt x="361794" y="308363"/>
                    </a:cubicBezTo>
                    <a:close/>
                    <a:moveTo>
                      <a:pt x="313904" y="172924"/>
                    </a:moveTo>
                    <a:lnTo>
                      <a:pt x="530832" y="172924"/>
                    </a:lnTo>
                    <a:cubicBezTo>
                      <a:pt x="541162" y="172924"/>
                      <a:pt x="551492" y="181947"/>
                      <a:pt x="551492" y="193548"/>
                    </a:cubicBezTo>
                    <a:lnTo>
                      <a:pt x="551492" y="225772"/>
                    </a:lnTo>
                    <a:cubicBezTo>
                      <a:pt x="551492" y="237373"/>
                      <a:pt x="541162" y="247685"/>
                      <a:pt x="530832" y="247685"/>
                    </a:cubicBezTo>
                    <a:lnTo>
                      <a:pt x="271293" y="247685"/>
                    </a:lnTo>
                    <a:lnTo>
                      <a:pt x="271293" y="227061"/>
                    </a:lnTo>
                    <a:cubicBezTo>
                      <a:pt x="271293" y="225772"/>
                      <a:pt x="272584" y="225772"/>
                      <a:pt x="272584" y="224483"/>
                    </a:cubicBezTo>
                    <a:cubicBezTo>
                      <a:pt x="293244" y="218038"/>
                      <a:pt x="307448" y="194837"/>
                      <a:pt x="313904" y="172924"/>
                    </a:cubicBezTo>
                    <a:close/>
                    <a:moveTo>
                      <a:pt x="281648" y="36241"/>
                    </a:moveTo>
                    <a:lnTo>
                      <a:pt x="530834" y="36241"/>
                    </a:lnTo>
                    <a:cubicBezTo>
                      <a:pt x="541163" y="36241"/>
                      <a:pt x="551492" y="46553"/>
                      <a:pt x="551492" y="58154"/>
                    </a:cubicBezTo>
                    <a:lnTo>
                      <a:pt x="551492" y="90378"/>
                    </a:lnTo>
                    <a:cubicBezTo>
                      <a:pt x="551492" y="101979"/>
                      <a:pt x="541163" y="111002"/>
                      <a:pt x="530834" y="111002"/>
                    </a:cubicBezTo>
                    <a:lnTo>
                      <a:pt x="308761" y="111002"/>
                    </a:lnTo>
                    <a:cubicBezTo>
                      <a:pt x="304888" y="104557"/>
                      <a:pt x="301015" y="99401"/>
                      <a:pt x="295850" y="96823"/>
                    </a:cubicBezTo>
                    <a:cubicBezTo>
                      <a:pt x="293268" y="72333"/>
                      <a:pt x="288104" y="52998"/>
                      <a:pt x="281648" y="36241"/>
                    </a:cubicBezTo>
                    <a:close/>
                    <a:moveTo>
                      <a:pt x="176987" y="0"/>
                    </a:moveTo>
                    <a:cubicBezTo>
                      <a:pt x="257083" y="0"/>
                      <a:pt x="270002" y="64503"/>
                      <a:pt x="271294" y="117396"/>
                    </a:cubicBezTo>
                    <a:cubicBezTo>
                      <a:pt x="272586" y="117396"/>
                      <a:pt x="273878" y="117396"/>
                      <a:pt x="276461" y="117396"/>
                    </a:cubicBezTo>
                    <a:cubicBezTo>
                      <a:pt x="289380" y="117396"/>
                      <a:pt x="290672" y="132877"/>
                      <a:pt x="290672" y="152228"/>
                    </a:cubicBezTo>
                    <a:cubicBezTo>
                      <a:pt x="290672" y="171579"/>
                      <a:pt x="275169" y="199960"/>
                      <a:pt x="262251" y="199960"/>
                    </a:cubicBezTo>
                    <a:cubicBezTo>
                      <a:pt x="260959" y="199960"/>
                      <a:pt x="258375" y="198670"/>
                      <a:pt x="257083" y="197380"/>
                    </a:cubicBezTo>
                    <a:cubicBezTo>
                      <a:pt x="249332" y="216731"/>
                      <a:pt x="237705" y="233502"/>
                      <a:pt x="224786" y="247692"/>
                    </a:cubicBezTo>
                    <a:cubicBezTo>
                      <a:pt x="220911" y="250272"/>
                      <a:pt x="219619" y="254143"/>
                      <a:pt x="219619" y="259303"/>
                    </a:cubicBezTo>
                    <a:cubicBezTo>
                      <a:pt x="219619" y="270913"/>
                      <a:pt x="228662" y="279944"/>
                      <a:pt x="241581" y="279944"/>
                    </a:cubicBezTo>
                    <a:lnTo>
                      <a:pt x="263543" y="279944"/>
                    </a:lnTo>
                    <a:cubicBezTo>
                      <a:pt x="312634" y="279944"/>
                      <a:pt x="352682" y="319936"/>
                      <a:pt x="352682" y="368958"/>
                    </a:cubicBezTo>
                    <a:lnTo>
                      <a:pt x="352682" y="393470"/>
                    </a:lnTo>
                    <a:cubicBezTo>
                      <a:pt x="352682" y="408950"/>
                      <a:pt x="341055" y="421851"/>
                      <a:pt x="325553" y="421851"/>
                    </a:cubicBezTo>
                    <a:lnTo>
                      <a:pt x="28421" y="421851"/>
                    </a:lnTo>
                    <a:cubicBezTo>
                      <a:pt x="12919" y="421851"/>
                      <a:pt x="0" y="408950"/>
                      <a:pt x="0" y="393470"/>
                    </a:cubicBezTo>
                    <a:lnTo>
                      <a:pt x="0" y="368958"/>
                    </a:lnTo>
                    <a:cubicBezTo>
                      <a:pt x="0" y="319936"/>
                      <a:pt x="40048" y="279944"/>
                      <a:pt x="89139" y="279944"/>
                    </a:cubicBezTo>
                    <a:lnTo>
                      <a:pt x="112393" y="279944"/>
                    </a:lnTo>
                    <a:cubicBezTo>
                      <a:pt x="124020" y="279944"/>
                      <a:pt x="133063" y="270913"/>
                      <a:pt x="133063" y="259303"/>
                    </a:cubicBezTo>
                    <a:cubicBezTo>
                      <a:pt x="133063" y="254143"/>
                      <a:pt x="131771" y="250272"/>
                      <a:pt x="127896" y="247692"/>
                    </a:cubicBezTo>
                    <a:cubicBezTo>
                      <a:pt x="114977" y="234792"/>
                      <a:pt x="104642" y="216731"/>
                      <a:pt x="95599" y="198670"/>
                    </a:cubicBezTo>
                    <a:cubicBezTo>
                      <a:pt x="94307" y="199960"/>
                      <a:pt x="93015" y="199960"/>
                      <a:pt x="91723" y="199960"/>
                    </a:cubicBezTo>
                    <a:cubicBezTo>
                      <a:pt x="78804" y="199960"/>
                      <a:pt x="63302" y="171579"/>
                      <a:pt x="63302" y="152228"/>
                    </a:cubicBezTo>
                    <a:cubicBezTo>
                      <a:pt x="63302" y="132877"/>
                      <a:pt x="65886" y="117396"/>
                      <a:pt x="78804" y="117396"/>
                    </a:cubicBezTo>
                    <a:cubicBezTo>
                      <a:pt x="80096" y="117396"/>
                      <a:pt x="80096" y="117396"/>
                      <a:pt x="81388" y="117396"/>
                    </a:cubicBezTo>
                    <a:cubicBezTo>
                      <a:pt x="82680" y="64503"/>
                      <a:pt x="93015" y="0"/>
                      <a:pt x="17698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104D013C-7436-4E2C-9C76-9ED0BE353B2A}"/>
              </a:ext>
            </a:extLst>
          </p:cNvPr>
          <p:cNvGrpSpPr/>
          <p:nvPr/>
        </p:nvGrpSpPr>
        <p:grpSpPr>
          <a:xfrm>
            <a:off x="4629005" y="3883750"/>
            <a:ext cx="1312055" cy="821812"/>
            <a:chOff x="4629005" y="3883750"/>
            <a:chExt cx="1312055" cy="821812"/>
          </a:xfrm>
        </p:grpSpPr>
        <p:sp>
          <p:nvSpPr>
            <p:cNvPr id="9" name="iśḻíďé">
              <a:extLst>
                <a:ext uri="{FF2B5EF4-FFF2-40B4-BE49-F238E27FC236}">
                  <a16:creationId xmlns:a16="http://schemas.microsoft.com/office/drawing/2014/main" id="{0BAB5CE5-EAD4-4009-A934-CF0C15FA9CEE}"/>
                </a:ext>
              </a:extLst>
            </p:cNvPr>
            <p:cNvSpPr/>
            <p:nvPr/>
          </p:nvSpPr>
          <p:spPr>
            <a:xfrm>
              <a:off x="5697220" y="4162248"/>
              <a:ext cx="243840" cy="243840"/>
            </a:xfrm>
            <a:prstGeom prst="ellipse">
              <a:avLst/>
            </a:prstGeom>
            <a:solidFill>
              <a:schemeClr val="bg1"/>
            </a:solidFill>
            <a:ln w="349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iŝlïḑe">
              <a:extLst>
                <a:ext uri="{FF2B5EF4-FFF2-40B4-BE49-F238E27FC236}">
                  <a16:creationId xmlns:a16="http://schemas.microsoft.com/office/drawing/2014/main" id="{EE79A397-73D6-47FF-B400-3D46220F23E1}"/>
                </a:ext>
              </a:extLst>
            </p:cNvPr>
            <p:cNvSpPr/>
            <p:nvPr/>
          </p:nvSpPr>
          <p:spPr>
            <a:xfrm rot="2700000">
              <a:off x="4629005" y="3883750"/>
              <a:ext cx="821812" cy="821812"/>
            </a:xfrm>
            <a:prstGeom prst="teardrop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íşḻîḍe">
              <a:extLst>
                <a:ext uri="{FF2B5EF4-FFF2-40B4-BE49-F238E27FC236}">
                  <a16:creationId xmlns:a16="http://schemas.microsoft.com/office/drawing/2014/main" id="{5FF7027F-F5C3-4C15-92C2-CE8526CC795D}"/>
                </a:ext>
              </a:extLst>
            </p:cNvPr>
            <p:cNvSpPr/>
            <p:nvPr/>
          </p:nvSpPr>
          <p:spPr>
            <a:xfrm rot="2700000">
              <a:off x="4696357" y="3951102"/>
              <a:ext cx="687108" cy="687108"/>
            </a:xfrm>
            <a:prstGeom prst="teardrop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işḷîḍê">
              <a:extLst>
                <a:ext uri="{FF2B5EF4-FFF2-40B4-BE49-F238E27FC236}">
                  <a16:creationId xmlns:a16="http://schemas.microsoft.com/office/drawing/2014/main" id="{81E223C2-45FA-40EB-B3A8-8813FCC0229E}"/>
                </a:ext>
              </a:extLst>
            </p:cNvPr>
            <p:cNvSpPr/>
            <p:nvPr/>
          </p:nvSpPr>
          <p:spPr>
            <a:xfrm>
              <a:off x="4880523" y="4172736"/>
              <a:ext cx="318776" cy="243840"/>
            </a:xfrm>
            <a:custGeom>
              <a:avLst/>
              <a:gdLst>
                <a:gd name="connsiteX0" fmla="*/ 361794 w 551492"/>
                <a:gd name="connsiteY0" fmla="*/ 308363 h 421851"/>
                <a:gd name="connsiteX1" fmla="*/ 530845 w 551492"/>
                <a:gd name="connsiteY1" fmla="*/ 308363 h 421851"/>
                <a:gd name="connsiteX2" fmla="*/ 551492 w 551492"/>
                <a:gd name="connsiteY2" fmla="*/ 329044 h 421851"/>
                <a:gd name="connsiteX3" fmla="*/ 551492 w 551492"/>
                <a:gd name="connsiteY3" fmla="*/ 362650 h 421851"/>
                <a:gd name="connsiteX4" fmla="*/ 530845 w 551492"/>
                <a:gd name="connsiteY4" fmla="*/ 383331 h 421851"/>
                <a:gd name="connsiteX5" fmla="*/ 378570 w 551492"/>
                <a:gd name="connsiteY5" fmla="*/ 383331 h 421851"/>
                <a:gd name="connsiteX6" fmla="*/ 378570 w 551492"/>
                <a:gd name="connsiteY6" fmla="*/ 369113 h 421851"/>
                <a:gd name="connsiteX7" fmla="*/ 361794 w 551492"/>
                <a:gd name="connsiteY7" fmla="*/ 308363 h 421851"/>
                <a:gd name="connsiteX8" fmla="*/ 313904 w 551492"/>
                <a:gd name="connsiteY8" fmla="*/ 172924 h 421851"/>
                <a:gd name="connsiteX9" fmla="*/ 530832 w 551492"/>
                <a:gd name="connsiteY9" fmla="*/ 172924 h 421851"/>
                <a:gd name="connsiteX10" fmla="*/ 551492 w 551492"/>
                <a:gd name="connsiteY10" fmla="*/ 193548 h 421851"/>
                <a:gd name="connsiteX11" fmla="*/ 551492 w 551492"/>
                <a:gd name="connsiteY11" fmla="*/ 225772 h 421851"/>
                <a:gd name="connsiteX12" fmla="*/ 530832 w 551492"/>
                <a:gd name="connsiteY12" fmla="*/ 247685 h 421851"/>
                <a:gd name="connsiteX13" fmla="*/ 271293 w 551492"/>
                <a:gd name="connsiteY13" fmla="*/ 247685 h 421851"/>
                <a:gd name="connsiteX14" fmla="*/ 271293 w 551492"/>
                <a:gd name="connsiteY14" fmla="*/ 227061 h 421851"/>
                <a:gd name="connsiteX15" fmla="*/ 272584 w 551492"/>
                <a:gd name="connsiteY15" fmla="*/ 224483 h 421851"/>
                <a:gd name="connsiteX16" fmla="*/ 313904 w 551492"/>
                <a:gd name="connsiteY16" fmla="*/ 172924 h 421851"/>
                <a:gd name="connsiteX17" fmla="*/ 281648 w 551492"/>
                <a:gd name="connsiteY17" fmla="*/ 36241 h 421851"/>
                <a:gd name="connsiteX18" fmla="*/ 530834 w 551492"/>
                <a:gd name="connsiteY18" fmla="*/ 36241 h 421851"/>
                <a:gd name="connsiteX19" fmla="*/ 551492 w 551492"/>
                <a:gd name="connsiteY19" fmla="*/ 58154 h 421851"/>
                <a:gd name="connsiteX20" fmla="*/ 551492 w 551492"/>
                <a:gd name="connsiteY20" fmla="*/ 90378 h 421851"/>
                <a:gd name="connsiteX21" fmla="*/ 530834 w 551492"/>
                <a:gd name="connsiteY21" fmla="*/ 111002 h 421851"/>
                <a:gd name="connsiteX22" fmla="*/ 308761 w 551492"/>
                <a:gd name="connsiteY22" fmla="*/ 111002 h 421851"/>
                <a:gd name="connsiteX23" fmla="*/ 295850 w 551492"/>
                <a:gd name="connsiteY23" fmla="*/ 96823 h 421851"/>
                <a:gd name="connsiteX24" fmla="*/ 281648 w 551492"/>
                <a:gd name="connsiteY24" fmla="*/ 36241 h 421851"/>
                <a:gd name="connsiteX25" fmla="*/ 176987 w 551492"/>
                <a:gd name="connsiteY25" fmla="*/ 0 h 421851"/>
                <a:gd name="connsiteX26" fmla="*/ 271294 w 551492"/>
                <a:gd name="connsiteY26" fmla="*/ 117396 h 421851"/>
                <a:gd name="connsiteX27" fmla="*/ 276461 w 551492"/>
                <a:gd name="connsiteY27" fmla="*/ 117396 h 421851"/>
                <a:gd name="connsiteX28" fmla="*/ 290672 w 551492"/>
                <a:gd name="connsiteY28" fmla="*/ 152228 h 421851"/>
                <a:gd name="connsiteX29" fmla="*/ 262251 w 551492"/>
                <a:gd name="connsiteY29" fmla="*/ 199960 h 421851"/>
                <a:gd name="connsiteX30" fmla="*/ 257083 w 551492"/>
                <a:gd name="connsiteY30" fmla="*/ 197380 h 421851"/>
                <a:gd name="connsiteX31" fmla="*/ 224786 w 551492"/>
                <a:gd name="connsiteY31" fmla="*/ 247692 h 421851"/>
                <a:gd name="connsiteX32" fmla="*/ 219619 w 551492"/>
                <a:gd name="connsiteY32" fmla="*/ 259303 h 421851"/>
                <a:gd name="connsiteX33" fmla="*/ 241581 w 551492"/>
                <a:gd name="connsiteY33" fmla="*/ 279944 h 421851"/>
                <a:gd name="connsiteX34" fmla="*/ 263543 w 551492"/>
                <a:gd name="connsiteY34" fmla="*/ 279944 h 421851"/>
                <a:gd name="connsiteX35" fmla="*/ 352682 w 551492"/>
                <a:gd name="connsiteY35" fmla="*/ 368958 h 421851"/>
                <a:gd name="connsiteX36" fmla="*/ 352682 w 551492"/>
                <a:gd name="connsiteY36" fmla="*/ 393470 h 421851"/>
                <a:gd name="connsiteX37" fmla="*/ 325553 w 551492"/>
                <a:gd name="connsiteY37" fmla="*/ 421851 h 421851"/>
                <a:gd name="connsiteX38" fmla="*/ 28421 w 551492"/>
                <a:gd name="connsiteY38" fmla="*/ 421851 h 421851"/>
                <a:gd name="connsiteX39" fmla="*/ 0 w 551492"/>
                <a:gd name="connsiteY39" fmla="*/ 393470 h 421851"/>
                <a:gd name="connsiteX40" fmla="*/ 0 w 551492"/>
                <a:gd name="connsiteY40" fmla="*/ 368958 h 421851"/>
                <a:gd name="connsiteX41" fmla="*/ 89139 w 551492"/>
                <a:gd name="connsiteY41" fmla="*/ 279944 h 421851"/>
                <a:gd name="connsiteX42" fmla="*/ 112393 w 551492"/>
                <a:gd name="connsiteY42" fmla="*/ 279944 h 421851"/>
                <a:gd name="connsiteX43" fmla="*/ 133063 w 551492"/>
                <a:gd name="connsiteY43" fmla="*/ 259303 h 421851"/>
                <a:gd name="connsiteX44" fmla="*/ 127896 w 551492"/>
                <a:gd name="connsiteY44" fmla="*/ 247692 h 421851"/>
                <a:gd name="connsiteX45" fmla="*/ 95599 w 551492"/>
                <a:gd name="connsiteY45" fmla="*/ 198670 h 421851"/>
                <a:gd name="connsiteX46" fmla="*/ 91723 w 551492"/>
                <a:gd name="connsiteY46" fmla="*/ 199960 h 421851"/>
                <a:gd name="connsiteX47" fmla="*/ 63302 w 551492"/>
                <a:gd name="connsiteY47" fmla="*/ 152228 h 421851"/>
                <a:gd name="connsiteX48" fmla="*/ 78804 w 551492"/>
                <a:gd name="connsiteY48" fmla="*/ 117396 h 421851"/>
                <a:gd name="connsiteX49" fmla="*/ 81388 w 551492"/>
                <a:gd name="connsiteY49" fmla="*/ 117396 h 421851"/>
                <a:gd name="connsiteX50" fmla="*/ 176987 w 551492"/>
                <a:gd name="connsiteY50" fmla="*/ 0 h 421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551492" h="421851">
                  <a:moveTo>
                    <a:pt x="361794" y="308363"/>
                  </a:moveTo>
                  <a:lnTo>
                    <a:pt x="530845" y="308363"/>
                  </a:lnTo>
                  <a:cubicBezTo>
                    <a:pt x="541168" y="308363"/>
                    <a:pt x="551492" y="317411"/>
                    <a:pt x="551492" y="329044"/>
                  </a:cubicBezTo>
                  <a:lnTo>
                    <a:pt x="551492" y="362650"/>
                  </a:lnTo>
                  <a:cubicBezTo>
                    <a:pt x="551492" y="374283"/>
                    <a:pt x="541168" y="383331"/>
                    <a:pt x="530845" y="383331"/>
                  </a:cubicBezTo>
                  <a:lnTo>
                    <a:pt x="378570" y="383331"/>
                  </a:lnTo>
                  <a:lnTo>
                    <a:pt x="378570" y="369113"/>
                  </a:lnTo>
                  <a:cubicBezTo>
                    <a:pt x="378570" y="347140"/>
                    <a:pt x="372118" y="326459"/>
                    <a:pt x="361794" y="308363"/>
                  </a:cubicBezTo>
                  <a:close/>
                  <a:moveTo>
                    <a:pt x="313904" y="172924"/>
                  </a:moveTo>
                  <a:lnTo>
                    <a:pt x="530832" y="172924"/>
                  </a:lnTo>
                  <a:cubicBezTo>
                    <a:pt x="541162" y="172924"/>
                    <a:pt x="551492" y="181947"/>
                    <a:pt x="551492" y="193548"/>
                  </a:cubicBezTo>
                  <a:lnTo>
                    <a:pt x="551492" y="225772"/>
                  </a:lnTo>
                  <a:cubicBezTo>
                    <a:pt x="551492" y="237373"/>
                    <a:pt x="541162" y="247685"/>
                    <a:pt x="530832" y="247685"/>
                  </a:cubicBezTo>
                  <a:lnTo>
                    <a:pt x="271293" y="247685"/>
                  </a:lnTo>
                  <a:lnTo>
                    <a:pt x="271293" y="227061"/>
                  </a:lnTo>
                  <a:cubicBezTo>
                    <a:pt x="271293" y="225772"/>
                    <a:pt x="272584" y="225772"/>
                    <a:pt x="272584" y="224483"/>
                  </a:cubicBezTo>
                  <a:cubicBezTo>
                    <a:pt x="293244" y="218038"/>
                    <a:pt x="307448" y="194837"/>
                    <a:pt x="313904" y="172924"/>
                  </a:cubicBezTo>
                  <a:close/>
                  <a:moveTo>
                    <a:pt x="281648" y="36241"/>
                  </a:moveTo>
                  <a:lnTo>
                    <a:pt x="530834" y="36241"/>
                  </a:lnTo>
                  <a:cubicBezTo>
                    <a:pt x="541163" y="36241"/>
                    <a:pt x="551492" y="46553"/>
                    <a:pt x="551492" y="58154"/>
                  </a:cubicBezTo>
                  <a:lnTo>
                    <a:pt x="551492" y="90378"/>
                  </a:lnTo>
                  <a:cubicBezTo>
                    <a:pt x="551492" y="101979"/>
                    <a:pt x="541163" y="111002"/>
                    <a:pt x="530834" y="111002"/>
                  </a:cubicBezTo>
                  <a:lnTo>
                    <a:pt x="308761" y="111002"/>
                  </a:lnTo>
                  <a:cubicBezTo>
                    <a:pt x="304888" y="104557"/>
                    <a:pt x="301015" y="99401"/>
                    <a:pt x="295850" y="96823"/>
                  </a:cubicBezTo>
                  <a:cubicBezTo>
                    <a:pt x="293268" y="72333"/>
                    <a:pt x="288104" y="52998"/>
                    <a:pt x="281648" y="36241"/>
                  </a:cubicBezTo>
                  <a:close/>
                  <a:moveTo>
                    <a:pt x="176987" y="0"/>
                  </a:moveTo>
                  <a:cubicBezTo>
                    <a:pt x="257083" y="0"/>
                    <a:pt x="270002" y="64503"/>
                    <a:pt x="271294" y="117396"/>
                  </a:cubicBezTo>
                  <a:cubicBezTo>
                    <a:pt x="272586" y="117396"/>
                    <a:pt x="273878" y="117396"/>
                    <a:pt x="276461" y="117396"/>
                  </a:cubicBezTo>
                  <a:cubicBezTo>
                    <a:pt x="289380" y="117396"/>
                    <a:pt x="290672" y="132877"/>
                    <a:pt x="290672" y="152228"/>
                  </a:cubicBezTo>
                  <a:cubicBezTo>
                    <a:pt x="290672" y="171579"/>
                    <a:pt x="275169" y="199960"/>
                    <a:pt x="262251" y="199960"/>
                  </a:cubicBezTo>
                  <a:cubicBezTo>
                    <a:pt x="260959" y="199960"/>
                    <a:pt x="258375" y="198670"/>
                    <a:pt x="257083" y="197380"/>
                  </a:cubicBezTo>
                  <a:cubicBezTo>
                    <a:pt x="249332" y="216731"/>
                    <a:pt x="237705" y="233502"/>
                    <a:pt x="224786" y="247692"/>
                  </a:cubicBezTo>
                  <a:cubicBezTo>
                    <a:pt x="220911" y="250272"/>
                    <a:pt x="219619" y="254143"/>
                    <a:pt x="219619" y="259303"/>
                  </a:cubicBezTo>
                  <a:cubicBezTo>
                    <a:pt x="219619" y="270913"/>
                    <a:pt x="228662" y="279944"/>
                    <a:pt x="241581" y="279944"/>
                  </a:cubicBezTo>
                  <a:lnTo>
                    <a:pt x="263543" y="279944"/>
                  </a:lnTo>
                  <a:cubicBezTo>
                    <a:pt x="312634" y="279944"/>
                    <a:pt x="352682" y="319936"/>
                    <a:pt x="352682" y="368958"/>
                  </a:cubicBezTo>
                  <a:lnTo>
                    <a:pt x="352682" y="393470"/>
                  </a:lnTo>
                  <a:cubicBezTo>
                    <a:pt x="352682" y="408950"/>
                    <a:pt x="341055" y="421851"/>
                    <a:pt x="325553" y="421851"/>
                  </a:cubicBezTo>
                  <a:lnTo>
                    <a:pt x="28421" y="421851"/>
                  </a:lnTo>
                  <a:cubicBezTo>
                    <a:pt x="12919" y="421851"/>
                    <a:pt x="0" y="408950"/>
                    <a:pt x="0" y="393470"/>
                  </a:cubicBezTo>
                  <a:lnTo>
                    <a:pt x="0" y="368958"/>
                  </a:lnTo>
                  <a:cubicBezTo>
                    <a:pt x="0" y="319936"/>
                    <a:pt x="40048" y="279944"/>
                    <a:pt x="89139" y="279944"/>
                  </a:cubicBezTo>
                  <a:lnTo>
                    <a:pt x="112393" y="279944"/>
                  </a:lnTo>
                  <a:cubicBezTo>
                    <a:pt x="124020" y="279944"/>
                    <a:pt x="133063" y="270913"/>
                    <a:pt x="133063" y="259303"/>
                  </a:cubicBezTo>
                  <a:cubicBezTo>
                    <a:pt x="133063" y="254143"/>
                    <a:pt x="131771" y="250272"/>
                    <a:pt x="127896" y="247692"/>
                  </a:cubicBezTo>
                  <a:cubicBezTo>
                    <a:pt x="114977" y="234792"/>
                    <a:pt x="104642" y="216731"/>
                    <a:pt x="95599" y="198670"/>
                  </a:cubicBezTo>
                  <a:cubicBezTo>
                    <a:pt x="94307" y="199960"/>
                    <a:pt x="93015" y="199960"/>
                    <a:pt x="91723" y="199960"/>
                  </a:cubicBezTo>
                  <a:cubicBezTo>
                    <a:pt x="78804" y="199960"/>
                    <a:pt x="63302" y="171579"/>
                    <a:pt x="63302" y="152228"/>
                  </a:cubicBezTo>
                  <a:cubicBezTo>
                    <a:pt x="63302" y="132877"/>
                    <a:pt x="65886" y="117396"/>
                    <a:pt x="78804" y="117396"/>
                  </a:cubicBezTo>
                  <a:cubicBezTo>
                    <a:pt x="80096" y="117396"/>
                    <a:pt x="80096" y="117396"/>
                    <a:pt x="81388" y="117396"/>
                  </a:cubicBezTo>
                  <a:cubicBezTo>
                    <a:pt x="82680" y="64503"/>
                    <a:pt x="93015" y="0"/>
                    <a:pt x="17698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5" name="iṣlîdè">
            <a:extLst>
              <a:ext uri="{FF2B5EF4-FFF2-40B4-BE49-F238E27FC236}">
                <a16:creationId xmlns:a16="http://schemas.microsoft.com/office/drawing/2014/main" id="{CA8D02B9-1581-4695-8204-D2B7525DFE1D}"/>
              </a:ext>
            </a:extLst>
          </p:cNvPr>
          <p:cNvSpPr txBox="1"/>
          <p:nvPr/>
        </p:nvSpPr>
        <p:spPr bwMode="auto">
          <a:xfrm>
            <a:off x="669925" y="3730931"/>
            <a:ext cx="388412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/>
          <a:p>
            <a:pPr algn="r" eaLnBrk="1" hangingPunct="1">
              <a:spcBef>
                <a:spcPct val="0"/>
              </a:spcBef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ïsľiḋê">
            <a:extLst>
              <a:ext uri="{FF2B5EF4-FFF2-40B4-BE49-F238E27FC236}">
                <a16:creationId xmlns:a16="http://schemas.microsoft.com/office/drawing/2014/main" id="{00960EC6-205F-4100-8C96-652C4AE62759}"/>
              </a:ext>
            </a:extLst>
          </p:cNvPr>
          <p:cNvSpPr/>
          <p:nvPr/>
        </p:nvSpPr>
        <p:spPr bwMode="auto">
          <a:xfrm>
            <a:off x="669925" y="4172737"/>
            <a:ext cx="3884127" cy="780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algn="r"/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7" name="ïš1iḋé">
            <a:extLst>
              <a:ext uri="{FF2B5EF4-FFF2-40B4-BE49-F238E27FC236}">
                <a16:creationId xmlns:a16="http://schemas.microsoft.com/office/drawing/2014/main" id="{629E1B09-63DA-458F-BFC6-BE2AA890A60E}"/>
              </a:ext>
            </a:extLst>
          </p:cNvPr>
          <p:cNvSpPr/>
          <p:nvPr/>
        </p:nvSpPr>
        <p:spPr bwMode="auto">
          <a:xfrm>
            <a:off x="8476858" y="2808361"/>
            <a:ext cx="3043629" cy="844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îşľíďê">
            <a:extLst>
              <a:ext uri="{FF2B5EF4-FFF2-40B4-BE49-F238E27FC236}">
                <a16:creationId xmlns:a16="http://schemas.microsoft.com/office/drawing/2014/main" id="{1EFB09D0-E247-44C2-9D2C-2D5CC2E5BE5E}"/>
              </a:ext>
            </a:extLst>
          </p:cNvPr>
          <p:cNvSpPr/>
          <p:nvPr/>
        </p:nvSpPr>
        <p:spPr bwMode="auto">
          <a:xfrm>
            <a:off x="8476858" y="4875224"/>
            <a:ext cx="3043629" cy="8449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ctr" anchorCtr="0">
            <a:normAutofit/>
          </a:bodyPr>
          <a:lstStyle/>
          <a:p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ïṣļíďè">
            <a:extLst>
              <a:ext uri="{FF2B5EF4-FFF2-40B4-BE49-F238E27FC236}">
                <a16:creationId xmlns:a16="http://schemas.microsoft.com/office/drawing/2014/main" id="{6BD6BAF5-E82C-479A-BFAC-C28116E5DF52}"/>
              </a:ext>
            </a:extLst>
          </p:cNvPr>
          <p:cNvSpPr txBox="1"/>
          <p:nvPr/>
        </p:nvSpPr>
        <p:spPr bwMode="auto">
          <a:xfrm>
            <a:off x="669925" y="1722993"/>
            <a:ext cx="388412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/>
          <a:p>
            <a:pPr algn="r" eaLnBrk="1" hangingPunct="1">
              <a:spcBef>
                <a:spcPct val="0"/>
              </a:spcBef>
            </a:pPr>
            <a:r>
              <a:rPr lang="zh-CN" altLang="en-US" sz="1600" b="1" dirty="0">
                <a:solidFill>
                  <a:schemeClr val="bg1"/>
                </a:solidFill>
                <a:cs typeface="+mn-ea"/>
                <a:sym typeface="+mn-lt"/>
              </a:rPr>
              <a:t>Enter the title</a:t>
            </a:r>
            <a:endParaRPr lang="en-US" altLang="zh-CN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íşlíḍè">
            <a:extLst>
              <a:ext uri="{FF2B5EF4-FFF2-40B4-BE49-F238E27FC236}">
                <a16:creationId xmlns:a16="http://schemas.microsoft.com/office/drawing/2014/main" id="{8474E275-EDFD-4E98-BBDE-21922831BF3A}"/>
              </a:ext>
            </a:extLst>
          </p:cNvPr>
          <p:cNvSpPr/>
          <p:nvPr/>
        </p:nvSpPr>
        <p:spPr bwMode="auto">
          <a:xfrm>
            <a:off x="669925" y="2164799"/>
            <a:ext cx="3884127" cy="780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/>
          <a:p>
            <a:pPr algn="r"/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4497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1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750"/>
                            </p:stCondLst>
                            <p:childTnLst>
                              <p:par>
                                <p:cTn id="2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0" dur="75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250"/>
                            </p:stCondLst>
                            <p:childTnLst>
                              <p:par>
                                <p:cTn id="3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8" dur="7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60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750"/>
                            </p:stCondLst>
                            <p:childTnLst>
                              <p:par>
                                <p:cTn id="44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75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825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7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9000"/>
                            </p:stCondLst>
                            <p:childTnLst>
                              <p:par>
                                <p:cTn id="5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25" grpId="0"/>
      <p:bldP spid="26" grpId="0"/>
      <p:bldP spid="27" grpId="0"/>
      <p:bldP spid="28" grpId="0"/>
      <p:bldP spid="29" grpId="0"/>
      <p:bldP spid="3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36186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lan for the futur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4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2821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7639DC-7020-4EC9-BAF1-26C148BD80BE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0" y="1407252"/>
            <a:ext cx="12192000" cy="4506539"/>
            <a:chOff x="0" y="1170362"/>
            <a:chExt cx="12192000" cy="4506539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2369ECA-5B92-4837-B131-CE958A0D34AA}"/>
                </a:ext>
              </a:extLst>
            </p:cNvPr>
            <p:cNvCxnSpPr>
              <a:cxnSpLocks/>
            </p:cNvCxnSpPr>
            <p:nvPr/>
          </p:nvCxnSpPr>
          <p:spPr>
            <a:xfrm>
              <a:off x="8052496" y="3543300"/>
              <a:ext cx="0" cy="16287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E391D327-90A4-4839-8D4D-E0361ED5FF3E}"/>
                </a:ext>
              </a:extLst>
            </p:cNvPr>
            <p:cNvCxnSpPr/>
            <p:nvPr/>
          </p:nvCxnSpPr>
          <p:spPr>
            <a:xfrm>
              <a:off x="0" y="5211558"/>
              <a:ext cx="12192000" cy="0"/>
            </a:xfrm>
            <a:prstGeom prst="line">
              <a:avLst/>
            </a:prstGeom>
            <a:ln w="38100" cap="flat" cmpd="sng" algn="ctr">
              <a:solidFill>
                <a:schemeClr val="bg1">
                  <a:lumMod val="9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íṥlïḋe">
              <a:extLst>
                <a:ext uri="{FF2B5EF4-FFF2-40B4-BE49-F238E27FC236}">
                  <a16:creationId xmlns:a16="http://schemas.microsoft.com/office/drawing/2014/main" id="{A35AB032-9B9B-423B-A6C3-3D9E09CC2821}"/>
                </a:ext>
              </a:extLst>
            </p:cNvPr>
            <p:cNvSpPr/>
            <p:nvPr/>
          </p:nvSpPr>
          <p:spPr>
            <a:xfrm>
              <a:off x="872331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iṧḷiḑe">
              <a:extLst>
                <a:ext uri="{FF2B5EF4-FFF2-40B4-BE49-F238E27FC236}">
                  <a16:creationId xmlns:a16="http://schemas.microsoft.com/office/drawing/2014/main" id="{6CE2B7A3-F42B-4A7F-95C1-68E6C3B89812}"/>
                </a:ext>
              </a:extLst>
            </p:cNvPr>
            <p:cNvSpPr txBox="1"/>
            <p:nvPr/>
          </p:nvSpPr>
          <p:spPr bwMode="auto">
            <a:xfrm>
              <a:off x="517525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effectLst/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effectLst/>
                <a:cs typeface="+mn-ea"/>
                <a:sym typeface="+mn-lt"/>
              </a:endParaRPr>
            </a:p>
          </p:txBody>
        </p:sp>
        <p:grpSp>
          <p:nvGrpSpPr>
            <p:cNvPr id="10" name="ïṡḷíḑe">
              <a:extLst>
                <a:ext uri="{FF2B5EF4-FFF2-40B4-BE49-F238E27FC236}">
                  <a16:creationId xmlns:a16="http://schemas.microsoft.com/office/drawing/2014/main" id="{549D7941-95F9-4F39-ACA1-5ACE92F4B794}"/>
                </a:ext>
              </a:extLst>
            </p:cNvPr>
            <p:cNvGrpSpPr/>
            <p:nvPr/>
          </p:nvGrpSpPr>
          <p:grpSpPr>
            <a:xfrm>
              <a:off x="895990" y="3193392"/>
              <a:ext cx="1914278" cy="1283056"/>
              <a:chOff x="886465" y="2421867"/>
              <a:chExt cx="1914278" cy="1283056"/>
            </a:xfrm>
          </p:grpSpPr>
          <p:sp>
            <p:nvSpPr>
              <p:cNvPr id="58" name="iśḻidè">
                <a:extLst>
                  <a:ext uri="{FF2B5EF4-FFF2-40B4-BE49-F238E27FC236}">
                    <a16:creationId xmlns:a16="http://schemas.microsoft.com/office/drawing/2014/main" id="{DB6BDB06-D69F-40FA-8A7D-2A42DE1402D2}"/>
                  </a:ext>
                </a:extLst>
              </p:cNvPr>
              <p:cNvSpPr/>
              <p:nvPr/>
            </p:nvSpPr>
            <p:spPr>
              <a:xfrm>
                <a:off x="963215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9" name="i$ḷiďè">
                <a:extLst>
                  <a:ext uri="{FF2B5EF4-FFF2-40B4-BE49-F238E27FC236}">
                    <a16:creationId xmlns:a16="http://schemas.microsoft.com/office/drawing/2014/main" id="{D9D531BC-055A-4C9E-BC39-C2BD5A8AC119}"/>
                  </a:ext>
                </a:extLst>
              </p:cNvPr>
              <p:cNvGrpSpPr/>
              <p:nvPr/>
            </p:nvGrpSpPr>
            <p:grpSpPr>
              <a:xfrm>
                <a:off x="886465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60" name="íṧḷïḋe">
                  <a:extLst>
                    <a:ext uri="{FF2B5EF4-FFF2-40B4-BE49-F238E27FC236}">
                      <a16:creationId xmlns:a16="http://schemas.microsoft.com/office/drawing/2014/main" id="{A7512112-EA9C-4A02-A204-97B5922ED720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solidFill>
                        <a:schemeClr val="bg1"/>
                      </a:solidFill>
                      <a:effectLst/>
                      <a:cs typeface="+mn-ea"/>
                      <a:sym typeface="+mn-lt"/>
                    </a:rPr>
                    <a:t>Enter the title</a:t>
                  </a:r>
                </a:p>
              </p:txBody>
            </p:sp>
            <p:sp>
              <p:nvSpPr>
                <p:cNvPr id="61" name="î$líḓê">
                  <a:extLst>
                    <a:ext uri="{FF2B5EF4-FFF2-40B4-BE49-F238E27FC236}">
                      <a16:creationId xmlns:a16="http://schemas.microsoft.com/office/drawing/2014/main" id="{466746EE-3FDF-4A7C-9680-907D3395C262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Enter your text information here</a:t>
                  </a:r>
                  <a:endPara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1" name="îṧľïḍé">
              <a:extLst>
                <a:ext uri="{FF2B5EF4-FFF2-40B4-BE49-F238E27FC236}">
                  <a16:creationId xmlns:a16="http://schemas.microsoft.com/office/drawing/2014/main" id="{C17CC38C-9A8E-415B-8708-32DE66EA365F}"/>
                </a:ext>
              </a:extLst>
            </p:cNvPr>
            <p:cNvSpPr/>
            <p:nvPr/>
          </p:nvSpPr>
          <p:spPr>
            <a:xfrm>
              <a:off x="3051870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2" name="ïš1ïḍé">
              <a:extLst>
                <a:ext uri="{FF2B5EF4-FFF2-40B4-BE49-F238E27FC236}">
                  <a16:creationId xmlns:a16="http://schemas.microsoft.com/office/drawing/2014/main" id="{14BF84E7-9FE7-49C9-B0DD-07A0A8389F65}"/>
                </a:ext>
              </a:extLst>
            </p:cNvPr>
            <p:cNvSpPr txBox="1"/>
            <p:nvPr/>
          </p:nvSpPr>
          <p:spPr bwMode="auto">
            <a:xfrm>
              <a:off x="2697064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3" name="i$lídè">
              <a:extLst>
                <a:ext uri="{FF2B5EF4-FFF2-40B4-BE49-F238E27FC236}">
                  <a16:creationId xmlns:a16="http://schemas.microsoft.com/office/drawing/2014/main" id="{9E089950-8C9E-4F11-BBC3-56EAD774709B}"/>
                </a:ext>
              </a:extLst>
            </p:cNvPr>
            <p:cNvGrpSpPr/>
            <p:nvPr/>
          </p:nvGrpSpPr>
          <p:grpSpPr>
            <a:xfrm>
              <a:off x="3073844" y="2687633"/>
              <a:ext cx="1914278" cy="1283056"/>
              <a:chOff x="3066004" y="2421867"/>
              <a:chExt cx="1914278" cy="1283056"/>
            </a:xfrm>
          </p:grpSpPr>
          <p:sp>
            <p:nvSpPr>
              <p:cNvPr id="54" name="ï$ļîḑe">
                <a:extLst>
                  <a:ext uri="{FF2B5EF4-FFF2-40B4-BE49-F238E27FC236}">
                    <a16:creationId xmlns:a16="http://schemas.microsoft.com/office/drawing/2014/main" id="{614C4B0D-6B62-4475-AD97-00CD843B8D11}"/>
                  </a:ext>
                </a:extLst>
              </p:cNvPr>
              <p:cNvSpPr/>
              <p:nvPr/>
            </p:nvSpPr>
            <p:spPr>
              <a:xfrm>
                <a:off x="3142754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5" name="íṩliḋe">
                <a:extLst>
                  <a:ext uri="{FF2B5EF4-FFF2-40B4-BE49-F238E27FC236}">
                    <a16:creationId xmlns:a16="http://schemas.microsoft.com/office/drawing/2014/main" id="{030DF3EE-6A42-4306-BC80-3992028FA467}"/>
                  </a:ext>
                </a:extLst>
              </p:cNvPr>
              <p:cNvGrpSpPr/>
              <p:nvPr/>
            </p:nvGrpSpPr>
            <p:grpSpPr>
              <a:xfrm>
                <a:off x="3066004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56" name="îṩḻíḍé">
                  <a:extLst>
                    <a:ext uri="{FF2B5EF4-FFF2-40B4-BE49-F238E27FC236}">
                      <a16:creationId xmlns:a16="http://schemas.microsoft.com/office/drawing/2014/main" id="{BE323526-6666-463B-86E2-24D9823A9310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solidFill>
                        <a:schemeClr val="bg1"/>
                      </a:solidFill>
                      <a:effectLst/>
                      <a:cs typeface="+mn-ea"/>
                      <a:sym typeface="+mn-lt"/>
                    </a:rPr>
                    <a:t>Enter the title</a:t>
                  </a:r>
                </a:p>
              </p:txBody>
            </p:sp>
            <p:sp>
              <p:nvSpPr>
                <p:cNvPr id="57" name="iśľiḋe">
                  <a:extLst>
                    <a:ext uri="{FF2B5EF4-FFF2-40B4-BE49-F238E27FC236}">
                      <a16:creationId xmlns:a16="http://schemas.microsoft.com/office/drawing/2014/main" id="{888A1E3B-6059-47DB-B915-64C36C228A2C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Enter your text information here</a:t>
                  </a:r>
                  <a:endPara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4" name="ïŝ1ïḑê">
              <a:extLst>
                <a:ext uri="{FF2B5EF4-FFF2-40B4-BE49-F238E27FC236}">
                  <a16:creationId xmlns:a16="http://schemas.microsoft.com/office/drawing/2014/main" id="{CB2B7906-42B3-41A8-8833-A3E0768A1A69}"/>
                </a:ext>
              </a:extLst>
            </p:cNvPr>
            <p:cNvSpPr/>
            <p:nvPr/>
          </p:nvSpPr>
          <p:spPr>
            <a:xfrm>
              <a:off x="5231409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î$ḻidè">
              <a:extLst>
                <a:ext uri="{FF2B5EF4-FFF2-40B4-BE49-F238E27FC236}">
                  <a16:creationId xmlns:a16="http://schemas.microsoft.com/office/drawing/2014/main" id="{6709ABBE-EADD-4229-89B8-EE5DA3AD4B22}"/>
                </a:ext>
              </a:extLst>
            </p:cNvPr>
            <p:cNvSpPr txBox="1"/>
            <p:nvPr/>
          </p:nvSpPr>
          <p:spPr bwMode="auto">
            <a:xfrm>
              <a:off x="4876603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6" name="ïśļiďè">
              <a:extLst>
                <a:ext uri="{FF2B5EF4-FFF2-40B4-BE49-F238E27FC236}">
                  <a16:creationId xmlns:a16="http://schemas.microsoft.com/office/drawing/2014/main" id="{CDE94077-FEF9-4378-8A8D-7E764840199B}"/>
                </a:ext>
              </a:extLst>
            </p:cNvPr>
            <p:cNvGrpSpPr/>
            <p:nvPr/>
          </p:nvGrpSpPr>
          <p:grpSpPr>
            <a:xfrm>
              <a:off x="5251698" y="2181876"/>
              <a:ext cx="1914278" cy="1283056"/>
              <a:chOff x="5245543" y="2421867"/>
              <a:chExt cx="1914278" cy="1283056"/>
            </a:xfrm>
          </p:grpSpPr>
          <p:sp>
            <p:nvSpPr>
              <p:cNvPr id="50" name="íṥľidê">
                <a:extLst>
                  <a:ext uri="{FF2B5EF4-FFF2-40B4-BE49-F238E27FC236}">
                    <a16:creationId xmlns:a16="http://schemas.microsoft.com/office/drawing/2014/main" id="{B9F926CA-F9F9-44B3-810D-E3091636E922}"/>
                  </a:ext>
                </a:extLst>
              </p:cNvPr>
              <p:cNvSpPr/>
              <p:nvPr/>
            </p:nvSpPr>
            <p:spPr>
              <a:xfrm>
                <a:off x="5322293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1" name="isļîḓé">
                <a:extLst>
                  <a:ext uri="{FF2B5EF4-FFF2-40B4-BE49-F238E27FC236}">
                    <a16:creationId xmlns:a16="http://schemas.microsoft.com/office/drawing/2014/main" id="{432EF1BE-8C26-4345-AA6B-D3788C670E12}"/>
                  </a:ext>
                </a:extLst>
              </p:cNvPr>
              <p:cNvGrpSpPr/>
              <p:nvPr/>
            </p:nvGrpSpPr>
            <p:grpSpPr>
              <a:xfrm>
                <a:off x="5245543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52" name="îşļiďe">
                  <a:extLst>
                    <a:ext uri="{FF2B5EF4-FFF2-40B4-BE49-F238E27FC236}">
                      <a16:creationId xmlns:a16="http://schemas.microsoft.com/office/drawing/2014/main" id="{823C0E67-7953-4780-960E-B12C841A3E97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solidFill>
                        <a:schemeClr val="bg1"/>
                      </a:solidFill>
                      <a:effectLst/>
                      <a:cs typeface="+mn-ea"/>
                      <a:sym typeface="+mn-lt"/>
                    </a:rPr>
                    <a:t>Enter the title</a:t>
                  </a:r>
                </a:p>
              </p:txBody>
            </p:sp>
            <p:sp>
              <p:nvSpPr>
                <p:cNvPr id="53" name="ïṡľïḓe">
                  <a:extLst>
                    <a:ext uri="{FF2B5EF4-FFF2-40B4-BE49-F238E27FC236}">
                      <a16:creationId xmlns:a16="http://schemas.microsoft.com/office/drawing/2014/main" id="{7017FD82-5CFA-44D3-BFE1-979EE89FA0D7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Enter your text information here</a:t>
                  </a:r>
                  <a:endPara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7" name="íṧļïďê">
              <a:extLst>
                <a:ext uri="{FF2B5EF4-FFF2-40B4-BE49-F238E27FC236}">
                  <a16:creationId xmlns:a16="http://schemas.microsoft.com/office/drawing/2014/main" id="{7CCEC079-E9EF-4EC6-91C6-06D7225CF0D5}"/>
                </a:ext>
              </a:extLst>
            </p:cNvPr>
            <p:cNvSpPr/>
            <p:nvPr/>
          </p:nvSpPr>
          <p:spPr>
            <a:xfrm>
              <a:off x="7410948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îSḷîďè">
              <a:extLst>
                <a:ext uri="{FF2B5EF4-FFF2-40B4-BE49-F238E27FC236}">
                  <a16:creationId xmlns:a16="http://schemas.microsoft.com/office/drawing/2014/main" id="{84F5EA2F-A7C3-4CF5-9A38-510FB0C82263}"/>
                </a:ext>
              </a:extLst>
            </p:cNvPr>
            <p:cNvSpPr txBox="1"/>
            <p:nvPr/>
          </p:nvSpPr>
          <p:spPr bwMode="auto">
            <a:xfrm>
              <a:off x="7056142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îšḻíḑè">
              <a:extLst>
                <a:ext uri="{FF2B5EF4-FFF2-40B4-BE49-F238E27FC236}">
                  <a16:creationId xmlns:a16="http://schemas.microsoft.com/office/drawing/2014/main" id="{2DE74387-C078-435C-A9AA-D71BBF15317C}"/>
                </a:ext>
              </a:extLst>
            </p:cNvPr>
            <p:cNvGrpSpPr/>
            <p:nvPr/>
          </p:nvGrpSpPr>
          <p:grpSpPr>
            <a:xfrm>
              <a:off x="7429552" y="1676119"/>
              <a:ext cx="1914278" cy="1283056"/>
              <a:chOff x="7425082" y="2421867"/>
              <a:chExt cx="1914278" cy="1283056"/>
            </a:xfrm>
          </p:grpSpPr>
          <p:sp>
            <p:nvSpPr>
              <p:cNvPr id="46" name="iṡľîdê">
                <a:extLst>
                  <a:ext uri="{FF2B5EF4-FFF2-40B4-BE49-F238E27FC236}">
                    <a16:creationId xmlns:a16="http://schemas.microsoft.com/office/drawing/2014/main" id="{A7BF9178-3F27-463A-A3DB-4E0E23CEE618}"/>
                  </a:ext>
                </a:extLst>
              </p:cNvPr>
              <p:cNvSpPr/>
              <p:nvPr/>
            </p:nvSpPr>
            <p:spPr>
              <a:xfrm>
                <a:off x="7501832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47" name="îṥľiḑê">
                <a:extLst>
                  <a:ext uri="{FF2B5EF4-FFF2-40B4-BE49-F238E27FC236}">
                    <a16:creationId xmlns:a16="http://schemas.microsoft.com/office/drawing/2014/main" id="{C48ECBEC-B111-4C7F-BFEB-17B05D773722}"/>
                  </a:ext>
                </a:extLst>
              </p:cNvPr>
              <p:cNvGrpSpPr/>
              <p:nvPr/>
            </p:nvGrpSpPr>
            <p:grpSpPr>
              <a:xfrm>
                <a:off x="7425082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48" name="išlíḑè">
                  <a:extLst>
                    <a:ext uri="{FF2B5EF4-FFF2-40B4-BE49-F238E27FC236}">
                      <a16:creationId xmlns:a16="http://schemas.microsoft.com/office/drawing/2014/main" id="{7BB54575-FE59-4CB5-88E3-25F872F68A64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solidFill>
                        <a:schemeClr val="bg1"/>
                      </a:solidFill>
                      <a:effectLst/>
                      <a:cs typeface="+mn-ea"/>
                      <a:sym typeface="+mn-lt"/>
                    </a:rPr>
                    <a:t>Enter the title</a:t>
                  </a:r>
                </a:p>
              </p:txBody>
            </p:sp>
            <p:sp>
              <p:nvSpPr>
                <p:cNvPr id="49" name="íṧḻïḋe">
                  <a:extLst>
                    <a:ext uri="{FF2B5EF4-FFF2-40B4-BE49-F238E27FC236}">
                      <a16:creationId xmlns:a16="http://schemas.microsoft.com/office/drawing/2014/main" id="{931FD06A-745F-481C-BE8D-86C3B52F5DF7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Enter your text information here</a:t>
                  </a:r>
                  <a:endPara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20" name="íšľïďè">
              <a:extLst>
                <a:ext uri="{FF2B5EF4-FFF2-40B4-BE49-F238E27FC236}">
                  <a16:creationId xmlns:a16="http://schemas.microsoft.com/office/drawing/2014/main" id="{93D6B256-54A8-4759-A50F-17C94EDEDE7B}"/>
                </a:ext>
              </a:extLst>
            </p:cNvPr>
            <p:cNvSpPr/>
            <p:nvPr/>
          </p:nvSpPr>
          <p:spPr>
            <a:xfrm>
              <a:off x="9590488" y="5114326"/>
              <a:ext cx="194470" cy="1944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îṡļîḑê">
              <a:extLst>
                <a:ext uri="{FF2B5EF4-FFF2-40B4-BE49-F238E27FC236}">
                  <a16:creationId xmlns:a16="http://schemas.microsoft.com/office/drawing/2014/main" id="{193BE28A-8175-4710-B18F-38801F31F4C0}"/>
                </a:ext>
              </a:extLst>
            </p:cNvPr>
            <p:cNvSpPr txBox="1"/>
            <p:nvPr/>
          </p:nvSpPr>
          <p:spPr bwMode="auto">
            <a:xfrm>
              <a:off x="9235682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2" name="íśḷîdé">
              <a:extLst>
                <a:ext uri="{FF2B5EF4-FFF2-40B4-BE49-F238E27FC236}">
                  <a16:creationId xmlns:a16="http://schemas.microsoft.com/office/drawing/2014/main" id="{5711EE61-223A-40D4-9E29-E7A6C4126DF3}"/>
                </a:ext>
              </a:extLst>
            </p:cNvPr>
            <p:cNvGrpSpPr/>
            <p:nvPr/>
          </p:nvGrpSpPr>
          <p:grpSpPr>
            <a:xfrm>
              <a:off x="9607405" y="1170362"/>
              <a:ext cx="1914278" cy="1283056"/>
              <a:chOff x="9604622" y="2421867"/>
              <a:chExt cx="1914278" cy="1283056"/>
            </a:xfrm>
          </p:grpSpPr>
          <p:sp>
            <p:nvSpPr>
              <p:cNvPr id="42" name="íš1íďè">
                <a:extLst>
                  <a:ext uri="{FF2B5EF4-FFF2-40B4-BE49-F238E27FC236}">
                    <a16:creationId xmlns:a16="http://schemas.microsoft.com/office/drawing/2014/main" id="{F8862F55-8F09-45A6-A07B-112BBF584243}"/>
                  </a:ext>
                </a:extLst>
              </p:cNvPr>
              <p:cNvSpPr/>
              <p:nvPr/>
            </p:nvSpPr>
            <p:spPr>
              <a:xfrm>
                <a:off x="9681372" y="2421867"/>
                <a:ext cx="298452" cy="298452"/>
              </a:xfrm>
              <a:custGeom>
                <a:avLst/>
                <a:gdLst>
                  <a:gd name="connsiteX0" fmla="*/ 149221 w 298452"/>
                  <a:gd name="connsiteY0" fmla="*/ 121246 h 298452"/>
                  <a:gd name="connsiteX1" fmla="*/ 121241 w 298452"/>
                  <a:gd name="connsiteY1" fmla="*/ 149226 h 298452"/>
                  <a:gd name="connsiteX2" fmla="*/ 149221 w 298452"/>
                  <a:gd name="connsiteY2" fmla="*/ 177206 h 298452"/>
                  <a:gd name="connsiteX3" fmla="*/ 177200 w 298452"/>
                  <a:gd name="connsiteY3" fmla="*/ 149226 h 298452"/>
                  <a:gd name="connsiteX4" fmla="*/ 149221 w 298452"/>
                  <a:gd name="connsiteY4" fmla="*/ 121246 h 298452"/>
                  <a:gd name="connsiteX5" fmla="*/ 149221 w 298452"/>
                  <a:gd name="connsiteY5" fmla="*/ 111919 h 298452"/>
                  <a:gd name="connsiteX6" fmla="*/ 186526 w 298452"/>
                  <a:gd name="connsiteY6" fmla="*/ 149226 h 298452"/>
                  <a:gd name="connsiteX7" fmla="*/ 149221 w 298452"/>
                  <a:gd name="connsiteY7" fmla="*/ 186533 h 298452"/>
                  <a:gd name="connsiteX8" fmla="*/ 111915 w 298452"/>
                  <a:gd name="connsiteY8" fmla="*/ 149226 h 298452"/>
                  <a:gd name="connsiteX9" fmla="*/ 149221 w 298452"/>
                  <a:gd name="connsiteY9" fmla="*/ 111919 h 298452"/>
                  <a:gd name="connsiteX10" fmla="*/ 149221 w 298452"/>
                  <a:gd name="connsiteY10" fmla="*/ 92100 h 298452"/>
                  <a:gd name="connsiteX11" fmla="*/ 92097 w 298452"/>
                  <a:gd name="connsiteY11" fmla="*/ 149226 h 298452"/>
                  <a:gd name="connsiteX12" fmla="*/ 149221 w 298452"/>
                  <a:gd name="connsiteY12" fmla="*/ 206351 h 298452"/>
                  <a:gd name="connsiteX13" fmla="*/ 206345 w 298452"/>
                  <a:gd name="connsiteY13" fmla="*/ 149226 h 298452"/>
                  <a:gd name="connsiteX14" fmla="*/ 149221 w 298452"/>
                  <a:gd name="connsiteY14" fmla="*/ 92100 h 298452"/>
                  <a:gd name="connsiteX15" fmla="*/ 149221 w 298452"/>
                  <a:gd name="connsiteY15" fmla="*/ 83939 h 298452"/>
                  <a:gd name="connsiteX16" fmla="*/ 214505 w 298452"/>
                  <a:gd name="connsiteY16" fmla="*/ 149226 h 298452"/>
                  <a:gd name="connsiteX17" fmla="*/ 149221 w 298452"/>
                  <a:gd name="connsiteY17" fmla="*/ 214512 h 298452"/>
                  <a:gd name="connsiteX18" fmla="*/ 83936 w 298452"/>
                  <a:gd name="connsiteY18" fmla="*/ 149226 h 298452"/>
                  <a:gd name="connsiteX19" fmla="*/ 149221 w 298452"/>
                  <a:gd name="connsiteY19" fmla="*/ 83939 h 298452"/>
                  <a:gd name="connsiteX20" fmla="*/ 161910 w 298452"/>
                  <a:gd name="connsiteY20" fmla="*/ 18653 h 298452"/>
                  <a:gd name="connsiteX21" fmla="*/ 136528 w 298452"/>
                  <a:gd name="connsiteY21" fmla="*/ 18667 h 298452"/>
                  <a:gd name="connsiteX22" fmla="*/ 130822 w 298452"/>
                  <a:gd name="connsiteY22" fmla="*/ 47255 h 298452"/>
                  <a:gd name="connsiteX23" fmla="*/ 118649 w 298452"/>
                  <a:gd name="connsiteY23" fmla="*/ 61210 h 298452"/>
                  <a:gd name="connsiteX24" fmla="*/ 108631 w 298452"/>
                  <a:gd name="connsiteY24" fmla="*/ 65397 h 298452"/>
                  <a:gd name="connsiteX25" fmla="*/ 100507 w 298452"/>
                  <a:gd name="connsiteY25" fmla="*/ 67249 h 298452"/>
                  <a:gd name="connsiteX26" fmla="*/ 90157 w 298452"/>
                  <a:gd name="connsiteY26" fmla="*/ 64112 h 298452"/>
                  <a:gd name="connsiteX27" fmla="*/ 65867 w 298452"/>
                  <a:gd name="connsiteY27" fmla="*/ 47932 h 298452"/>
                  <a:gd name="connsiteX28" fmla="*/ 47918 w 298452"/>
                  <a:gd name="connsiteY28" fmla="*/ 65881 h 298452"/>
                  <a:gd name="connsiteX29" fmla="*/ 64112 w 298452"/>
                  <a:gd name="connsiteY29" fmla="*/ 90158 h 298452"/>
                  <a:gd name="connsiteX30" fmla="*/ 65369 w 298452"/>
                  <a:gd name="connsiteY30" fmla="*/ 108631 h 298452"/>
                  <a:gd name="connsiteX31" fmla="*/ 61210 w 298452"/>
                  <a:gd name="connsiteY31" fmla="*/ 118662 h 298452"/>
                  <a:gd name="connsiteX32" fmla="*/ 47255 w 298452"/>
                  <a:gd name="connsiteY32" fmla="*/ 130822 h 298452"/>
                  <a:gd name="connsiteX33" fmla="*/ 18653 w 298452"/>
                  <a:gd name="connsiteY33" fmla="*/ 136542 h 298452"/>
                  <a:gd name="connsiteX34" fmla="*/ 18667 w 298452"/>
                  <a:gd name="connsiteY34" fmla="*/ 161924 h 298452"/>
                  <a:gd name="connsiteX35" fmla="*/ 47255 w 298452"/>
                  <a:gd name="connsiteY35" fmla="*/ 167644 h 298452"/>
                  <a:gd name="connsiteX36" fmla="*/ 61210 w 298452"/>
                  <a:gd name="connsiteY36" fmla="*/ 179817 h 298452"/>
                  <a:gd name="connsiteX37" fmla="*/ 65383 w 298452"/>
                  <a:gd name="connsiteY37" fmla="*/ 189835 h 298452"/>
                  <a:gd name="connsiteX38" fmla="*/ 64112 w 298452"/>
                  <a:gd name="connsiteY38" fmla="*/ 208295 h 298452"/>
                  <a:gd name="connsiteX39" fmla="*/ 47918 w 298452"/>
                  <a:gd name="connsiteY39" fmla="*/ 232585 h 298452"/>
                  <a:gd name="connsiteX40" fmla="*/ 65867 w 298452"/>
                  <a:gd name="connsiteY40" fmla="*/ 250534 h 298452"/>
                  <a:gd name="connsiteX41" fmla="*/ 90157 w 298452"/>
                  <a:gd name="connsiteY41" fmla="*/ 234340 h 298452"/>
                  <a:gd name="connsiteX42" fmla="*/ 100507 w 298452"/>
                  <a:gd name="connsiteY42" fmla="*/ 231204 h 298452"/>
                  <a:gd name="connsiteX43" fmla="*/ 108631 w 298452"/>
                  <a:gd name="connsiteY43" fmla="*/ 233083 h 298452"/>
                  <a:gd name="connsiteX44" fmla="*/ 118662 w 298452"/>
                  <a:gd name="connsiteY44" fmla="*/ 237256 h 298452"/>
                  <a:gd name="connsiteX45" fmla="*/ 130822 w 298452"/>
                  <a:gd name="connsiteY45" fmla="*/ 251211 h 298452"/>
                  <a:gd name="connsiteX46" fmla="*/ 136528 w 298452"/>
                  <a:gd name="connsiteY46" fmla="*/ 279799 h 298452"/>
                  <a:gd name="connsiteX47" fmla="*/ 161910 w 298452"/>
                  <a:gd name="connsiteY47" fmla="*/ 279799 h 298452"/>
                  <a:gd name="connsiteX48" fmla="*/ 167644 w 298452"/>
                  <a:gd name="connsiteY48" fmla="*/ 251211 h 298452"/>
                  <a:gd name="connsiteX49" fmla="*/ 179790 w 298452"/>
                  <a:gd name="connsiteY49" fmla="*/ 237256 h 298452"/>
                  <a:gd name="connsiteX50" fmla="*/ 189835 w 298452"/>
                  <a:gd name="connsiteY50" fmla="*/ 233069 h 298452"/>
                  <a:gd name="connsiteX51" fmla="*/ 197959 w 298452"/>
                  <a:gd name="connsiteY51" fmla="*/ 231204 h 298452"/>
                  <a:gd name="connsiteX52" fmla="*/ 208309 w 298452"/>
                  <a:gd name="connsiteY52" fmla="*/ 234340 h 298452"/>
                  <a:gd name="connsiteX53" fmla="*/ 232585 w 298452"/>
                  <a:gd name="connsiteY53" fmla="*/ 250534 h 298452"/>
                  <a:gd name="connsiteX54" fmla="*/ 250520 w 298452"/>
                  <a:gd name="connsiteY54" fmla="*/ 232585 h 298452"/>
                  <a:gd name="connsiteX55" fmla="*/ 234326 w 298452"/>
                  <a:gd name="connsiteY55" fmla="*/ 208295 h 298452"/>
                  <a:gd name="connsiteX56" fmla="*/ 233083 w 298452"/>
                  <a:gd name="connsiteY56" fmla="*/ 189821 h 298452"/>
                  <a:gd name="connsiteX57" fmla="*/ 237242 w 298452"/>
                  <a:gd name="connsiteY57" fmla="*/ 179804 h 298452"/>
                  <a:gd name="connsiteX58" fmla="*/ 251197 w 298452"/>
                  <a:gd name="connsiteY58" fmla="*/ 167644 h 298452"/>
                  <a:gd name="connsiteX59" fmla="*/ 279799 w 298452"/>
                  <a:gd name="connsiteY59" fmla="*/ 161924 h 298452"/>
                  <a:gd name="connsiteX60" fmla="*/ 279785 w 298452"/>
                  <a:gd name="connsiteY60" fmla="*/ 136542 h 298452"/>
                  <a:gd name="connsiteX61" fmla="*/ 251197 w 298452"/>
                  <a:gd name="connsiteY61" fmla="*/ 130808 h 298452"/>
                  <a:gd name="connsiteX62" fmla="*/ 237242 w 298452"/>
                  <a:gd name="connsiteY62" fmla="*/ 118649 h 298452"/>
                  <a:gd name="connsiteX63" fmla="*/ 233055 w 298452"/>
                  <a:gd name="connsiteY63" fmla="*/ 108631 h 298452"/>
                  <a:gd name="connsiteX64" fmla="*/ 234326 w 298452"/>
                  <a:gd name="connsiteY64" fmla="*/ 90158 h 298452"/>
                  <a:gd name="connsiteX65" fmla="*/ 250520 w 298452"/>
                  <a:gd name="connsiteY65" fmla="*/ 65881 h 298452"/>
                  <a:gd name="connsiteX66" fmla="*/ 232585 w 298452"/>
                  <a:gd name="connsiteY66" fmla="*/ 47932 h 298452"/>
                  <a:gd name="connsiteX67" fmla="*/ 208309 w 298452"/>
                  <a:gd name="connsiteY67" fmla="*/ 64112 h 298452"/>
                  <a:gd name="connsiteX68" fmla="*/ 197959 w 298452"/>
                  <a:gd name="connsiteY68" fmla="*/ 67249 h 298452"/>
                  <a:gd name="connsiteX69" fmla="*/ 189807 w 298452"/>
                  <a:gd name="connsiteY69" fmla="*/ 65383 h 298452"/>
                  <a:gd name="connsiteX70" fmla="*/ 179790 w 298452"/>
                  <a:gd name="connsiteY70" fmla="*/ 61210 h 298452"/>
                  <a:gd name="connsiteX71" fmla="*/ 167631 w 298452"/>
                  <a:gd name="connsiteY71" fmla="*/ 47255 h 298452"/>
                  <a:gd name="connsiteX72" fmla="*/ 136528 w 298452"/>
                  <a:gd name="connsiteY72" fmla="*/ 0 h 298452"/>
                  <a:gd name="connsiteX73" fmla="*/ 161910 w 298452"/>
                  <a:gd name="connsiteY73" fmla="*/ 0 h 298452"/>
                  <a:gd name="connsiteX74" fmla="*/ 180190 w 298452"/>
                  <a:gd name="connsiteY74" fmla="*/ 15006 h 298452"/>
                  <a:gd name="connsiteX75" fmla="*/ 185911 w 298452"/>
                  <a:gd name="connsiteY75" fmla="*/ 43593 h 298452"/>
                  <a:gd name="connsiteX76" fmla="*/ 197959 w 298452"/>
                  <a:gd name="connsiteY76" fmla="*/ 48595 h 298452"/>
                  <a:gd name="connsiteX77" fmla="*/ 222250 w 298452"/>
                  <a:gd name="connsiteY77" fmla="*/ 32415 h 298452"/>
                  <a:gd name="connsiteX78" fmla="*/ 232572 w 298452"/>
                  <a:gd name="connsiteY78" fmla="*/ 29279 h 298452"/>
                  <a:gd name="connsiteX79" fmla="*/ 245767 w 298452"/>
                  <a:gd name="connsiteY79" fmla="*/ 34737 h 298452"/>
                  <a:gd name="connsiteX80" fmla="*/ 263716 w 298452"/>
                  <a:gd name="connsiteY80" fmla="*/ 52685 h 298452"/>
                  <a:gd name="connsiteX81" fmla="*/ 266051 w 298452"/>
                  <a:gd name="connsiteY81" fmla="*/ 76216 h 298452"/>
                  <a:gd name="connsiteX82" fmla="*/ 249857 w 298452"/>
                  <a:gd name="connsiteY82" fmla="*/ 100507 h 298452"/>
                  <a:gd name="connsiteX83" fmla="*/ 254859 w 298452"/>
                  <a:gd name="connsiteY83" fmla="*/ 112528 h 298452"/>
                  <a:gd name="connsiteX84" fmla="*/ 283447 w 298452"/>
                  <a:gd name="connsiteY84" fmla="*/ 118248 h 298452"/>
                  <a:gd name="connsiteX85" fmla="*/ 298452 w 298452"/>
                  <a:gd name="connsiteY85" fmla="*/ 136542 h 298452"/>
                  <a:gd name="connsiteX86" fmla="*/ 298452 w 298452"/>
                  <a:gd name="connsiteY86" fmla="*/ 161924 h 298452"/>
                  <a:gd name="connsiteX87" fmla="*/ 283447 w 298452"/>
                  <a:gd name="connsiteY87" fmla="*/ 180218 h 298452"/>
                  <a:gd name="connsiteX88" fmla="*/ 254859 w 298452"/>
                  <a:gd name="connsiteY88" fmla="*/ 185925 h 298452"/>
                  <a:gd name="connsiteX89" fmla="*/ 249857 w 298452"/>
                  <a:gd name="connsiteY89" fmla="*/ 197959 h 298452"/>
                  <a:gd name="connsiteX90" fmla="*/ 266051 w 298452"/>
                  <a:gd name="connsiteY90" fmla="*/ 222236 h 298452"/>
                  <a:gd name="connsiteX91" fmla="*/ 263716 w 298452"/>
                  <a:gd name="connsiteY91" fmla="*/ 245781 h 298452"/>
                  <a:gd name="connsiteX92" fmla="*/ 245767 w 298452"/>
                  <a:gd name="connsiteY92" fmla="*/ 263716 h 298452"/>
                  <a:gd name="connsiteX93" fmla="*/ 232572 w 298452"/>
                  <a:gd name="connsiteY93" fmla="*/ 269187 h 298452"/>
                  <a:gd name="connsiteX94" fmla="*/ 222250 w 298452"/>
                  <a:gd name="connsiteY94" fmla="*/ 266051 h 298452"/>
                  <a:gd name="connsiteX95" fmla="*/ 197959 w 298452"/>
                  <a:gd name="connsiteY95" fmla="*/ 249857 h 298452"/>
                  <a:gd name="connsiteX96" fmla="*/ 185938 w 298452"/>
                  <a:gd name="connsiteY96" fmla="*/ 254873 h 298452"/>
                  <a:gd name="connsiteX97" fmla="*/ 180190 w 298452"/>
                  <a:gd name="connsiteY97" fmla="*/ 283460 h 298452"/>
                  <a:gd name="connsiteX98" fmla="*/ 161910 w 298452"/>
                  <a:gd name="connsiteY98" fmla="*/ 298452 h 298452"/>
                  <a:gd name="connsiteX99" fmla="*/ 136528 w 298452"/>
                  <a:gd name="connsiteY99" fmla="*/ 298452 h 298452"/>
                  <a:gd name="connsiteX100" fmla="*/ 118248 w 298452"/>
                  <a:gd name="connsiteY100" fmla="*/ 283460 h 298452"/>
                  <a:gd name="connsiteX101" fmla="*/ 112528 w 298452"/>
                  <a:gd name="connsiteY101" fmla="*/ 254873 h 298452"/>
                  <a:gd name="connsiteX102" fmla="*/ 100507 w 298452"/>
                  <a:gd name="connsiteY102" fmla="*/ 249857 h 298452"/>
                  <a:gd name="connsiteX103" fmla="*/ 76216 w 298452"/>
                  <a:gd name="connsiteY103" fmla="*/ 266051 h 298452"/>
                  <a:gd name="connsiteX104" fmla="*/ 65881 w 298452"/>
                  <a:gd name="connsiteY104" fmla="*/ 269187 h 298452"/>
                  <a:gd name="connsiteX105" fmla="*/ 52685 w 298452"/>
                  <a:gd name="connsiteY105" fmla="*/ 263716 h 298452"/>
                  <a:gd name="connsiteX106" fmla="*/ 34737 w 298452"/>
                  <a:gd name="connsiteY106" fmla="*/ 245781 h 298452"/>
                  <a:gd name="connsiteX107" fmla="*/ 32401 w 298452"/>
                  <a:gd name="connsiteY107" fmla="*/ 222236 h 298452"/>
                  <a:gd name="connsiteX108" fmla="*/ 48595 w 298452"/>
                  <a:gd name="connsiteY108" fmla="*/ 197959 h 298452"/>
                  <a:gd name="connsiteX109" fmla="*/ 43593 w 298452"/>
                  <a:gd name="connsiteY109" fmla="*/ 185938 h 298452"/>
                  <a:gd name="connsiteX110" fmla="*/ 15006 w 298452"/>
                  <a:gd name="connsiteY110" fmla="*/ 180218 h 298452"/>
                  <a:gd name="connsiteX111" fmla="*/ 0 w 298452"/>
                  <a:gd name="connsiteY111" fmla="*/ 161924 h 298452"/>
                  <a:gd name="connsiteX112" fmla="*/ 0 w 298452"/>
                  <a:gd name="connsiteY112" fmla="*/ 136542 h 298452"/>
                  <a:gd name="connsiteX113" fmla="*/ 15006 w 298452"/>
                  <a:gd name="connsiteY113" fmla="*/ 118248 h 298452"/>
                  <a:gd name="connsiteX114" fmla="*/ 43593 w 298452"/>
                  <a:gd name="connsiteY114" fmla="*/ 112528 h 298452"/>
                  <a:gd name="connsiteX115" fmla="*/ 48595 w 298452"/>
                  <a:gd name="connsiteY115" fmla="*/ 100507 h 298452"/>
                  <a:gd name="connsiteX116" fmla="*/ 32401 w 298452"/>
                  <a:gd name="connsiteY116" fmla="*/ 76216 h 298452"/>
                  <a:gd name="connsiteX117" fmla="*/ 34737 w 298452"/>
                  <a:gd name="connsiteY117" fmla="*/ 52685 h 298452"/>
                  <a:gd name="connsiteX118" fmla="*/ 52685 w 298452"/>
                  <a:gd name="connsiteY118" fmla="*/ 34737 h 298452"/>
                  <a:gd name="connsiteX119" fmla="*/ 65881 w 298452"/>
                  <a:gd name="connsiteY119" fmla="*/ 29279 h 298452"/>
                  <a:gd name="connsiteX120" fmla="*/ 76216 w 298452"/>
                  <a:gd name="connsiteY120" fmla="*/ 32415 h 298452"/>
                  <a:gd name="connsiteX121" fmla="*/ 100507 w 298452"/>
                  <a:gd name="connsiteY121" fmla="*/ 48595 h 298452"/>
                  <a:gd name="connsiteX122" fmla="*/ 112528 w 298452"/>
                  <a:gd name="connsiteY122" fmla="*/ 43593 h 298452"/>
                  <a:gd name="connsiteX123" fmla="*/ 118248 w 298452"/>
                  <a:gd name="connsiteY123" fmla="*/ 15006 h 298452"/>
                  <a:gd name="connsiteX124" fmla="*/ 136528 w 298452"/>
                  <a:gd name="connsiteY124" fmla="*/ 0 h 298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</a:cxnLst>
                <a:rect l="l" t="t" r="r" b="b"/>
                <a:pathLst>
                  <a:path w="298452" h="298452">
                    <a:moveTo>
                      <a:pt x="149221" y="121246"/>
                    </a:moveTo>
                    <a:cubicBezTo>
                      <a:pt x="133773" y="121246"/>
                      <a:pt x="121241" y="133782"/>
                      <a:pt x="121241" y="149226"/>
                    </a:cubicBezTo>
                    <a:cubicBezTo>
                      <a:pt x="121241" y="164674"/>
                      <a:pt x="133773" y="177206"/>
                      <a:pt x="149221" y="177206"/>
                    </a:cubicBezTo>
                    <a:cubicBezTo>
                      <a:pt x="164668" y="177206"/>
                      <a:pt x="177200" y="164674"/>
                      <a:pt x="177200" y="149226"/>
                    </a:cubicBezTo>
                    <a:cubicBezTo>
                      <a:pt x="177200" y="133782"/>
                      <a:pt x="164668" y="121246"/>
                      <a:pt x="149221" y="121246"/>
                    </a:cubicBezTo>
                    <a:close/>
                    <a:moveTo>
                      <a:pt x="149221" y="111919"/>
                    </a:moveTo>
                    <a:cubicBezTo>
                      <a:pt x="169821" y="111919"/>
                      <a:pt x="186526" y="128614"/>
                      <a:pt x="186526" y="149226"/>
                    </a:cubicBezTo>
                    <a:cubicBezTo>
                      <a:pt x="186526" y="169838"/>
                      <a:pt x="169821" y="186533"/>
                      <a:pt x="149221" y="186533"/>
                    </a:cubicBezTo>
                    <a:cubicBezTo>
                      <a:pt x="128599" y="186533"/>
                      <a:pt x="111915" y="169838"/>
                      <a:pt x="111915" y="149226"/>
                    </a:cubicBezTo>
                    <a:cubicBezTo>
                      <a:pt x="111915" y="128614"/>
                      <a:pt x="128599" y="111919"/>
                      <a:pt x="149221" y="111919"/>
                    </a:cubicBezTo>
                    <a:close/>
                    <a:moveTo>
                      <a:pt x="149221" y="92100"/>
                    </a:moveTo>
                    <a:cubicBezTo>
                      <a:pt x="117672" y="92100"/>
                      <a:pt x="92097" y="117683"/>
                      <a:pt x="92097" y="149226"/>
                    </a:cubicBezTo>
                    <a:cubicBezTo>
                      <a:pt x="92097" y="180769"/>
                      <a:pt x="117672" y="206351"/>
                      <a:pt x="149221" y="206351"/>
                    </a:cubicBezTo>
                    <a:cubicBezTo>
                      <a:pt x="180751" y="206351"/>
                      <a:pt x="206345" y="180769"/>
                      <a:pt x="206345" y="149226"/>
                    </a:cubicBezTo>
                    <a:cubicBezTo>
                      <a:pt x="206345" y="117683"/>
                      <a:pt x="180751" y="92100"/>
                      <a:pt x="149221" y="92100"/>
                    </a:cubicBezTo>
                    <a:close/>
                    <a:moveTo>
                      <a:pt x="149221" y="83939"/>
                    </a:moveTo>
                    <a:cubicBezTo>
                      <a:pt x="185266" y="83939"/>
                      <a:pt x="214505" y="113173"/>
                      <a:pt x="214505" y="149226"/>
                    </a:cubicBezTo>
                    <a:cubicBezTo>
                      <a:pt x="214505" y="185278"/>
                      <a:pt x="185266" y="214512"/>
                      <a:pt x="149221" y="214512"/>
                    </a:cubicBezTo>
                    <a:cubicBezTo>
                      <a:pt x="113169" y="214512"/>
                      <a:pt x="83936" y="185278"/>
                      <a:pt x="83936" y="149226"/>
                    </a:cubicBezTo>
                    <a:cubicBezTo>
                      <a:pt x="83936" y="113173"/>
                      <a:pt x="113169" y="83939"/>
                      <a:pt x="149221" y="83939"/>
                    </a:cubicBezTo>
                    <a:close/>
                    <a:moveTo>
                      <a:pt x="161910" y="18653"/>
                    </a:moveTo>
                    <a:lnTo>
                      <a:pt x="136528" y="18667"/>
                    </a:lnTo>
                    <a:lnTo>
                      <a:pt x="130822" y="47255"/>
                    </a:lnTo>
                    <a:cubicBezTo>
                      <a:pt x="129523" y="53735"/>
                      <a:pt x="124894" y="59041"/>
                      <a:pt x="118649" y="61210"/>
                    </a:cubicBezTo>
                    <a:cubicBezTo>
                      <a:pt x="115208" y="62413"/>
                      <a:pt x="111850" y="63822"/>
                      <a:pt x="108631" y="65397"/>
                    </a:cubicBezTo>
                    <a:cubicBezTo>
                      <a:pt x="106047" y="66627"/>
                      <a:pt x="103270" y="67249"/>
                      <a:pt x="100507" y="67249"/>
                    </a:cubicBezTo>
                    <a:cubicBezTo>
                      <a:pt x="96873" y="67249"/>
                      <a:pt x="93266" y="66198"/>
                      <a:pt x="90157" y="64112"/>
                    </a:cubicBezTo>
                    <a:lnTo>
                      <a:pt x="65867" y="47932"/>
                    </a:lnTo>
                    <a:lnTo>
                      <a:pt x="47918" y="65881"/>
                    </a:lnTo>
                    <a:lnTo>
                      <a:pt x="64112" y="90158"/>
                    </a:lnTo>
                    <a:cubicBezTo>
                      <a:pt x="67774" y="95657"/>
                      <a:pt x="68257" y="102690"/>
                      <a:pt x="65369" y="108631"/>
                    </a:cubicBezTo>
                    <a:cubicBezTo>
                      <a:pt x="63794" y="111878"/>
                      <a:pt x="62412" y="115222"/>
                      <a:pt x="61210" y="118662"/>
                    </a:cubicBezTo>
                    <a:cubicBezTo>
                      <a:pt x="59041" y="124908"/>
                      <a:pt x="53721" y="129537"/>
                      <a:pt x="47255" y="130822"/>
                    </a:cubicBezTo>
                    <a:lnTo>
                      <a:pt x="18653" y="136542"/>
                    </a:lnTo>
                    <a:lnTo>
                      <a:pt x="18667" y="161924"/>
                    </a:lnTo>
                    <a:lnTo>
                      <a:pt x="47255" y="167644"/>
                    </a:lnTo>
                    <a:cubicBezTo>
                      <a:pt x="53721" y="168943"/>
                      <a:pt x="59041" y="173572"/>
                      <a:pt x="61210" y="179817"/>
                    </a:cubicBezTo>
                    <a:cubicBezTo>
                      <a:pt x="62412" y="183258"/>
                      <a:pt x="63822" y="186602"/>
                      <a:pt x="65383" y="189835"/>
                    </a:cubicBezTo>
                    <a:cubicBezTo>
                      <a:pt x="68257" y="195790"/>
                      <a:pt x="67774" y="202809"/>
                      <a:pt x="64112" y="208295"/>
                    </a:cubicBezTo>
                    <a:lnTo>
                      <a:pt x="47918" y="232585"/>
                    </a:lnTo>
                    <a:lnTo>
                      <a:pt x="65867" y="250534"/>
                    </a:lnTo>
                    <a:lnTo>
                      <a:pt x="90157" y="234340"/>
                    </a:lnTo>
                    <a:cubicBezTo>
                      <a:pt x="93266" y="232268"/>
                      <a:pt x="96873" y="231204"/>
                      <a:pt x="100507" y="231204"/>
                    </a:cubicBezTo>
                    <a:cubicBezTo>
                      <a:pt x="103270" y="231204"/>
                      <a:pt x="106047" y="231825"/>
                      <a:pt x="108631" y="233083"/>
                    </a:cubicBezTo>
                    <a:cubicBezTo>
                      <a:pt x="111864" y="234658"/>
                      <a:pt x="115222" y="236054"/>
                      <a:pt x="118662" y="237256"/>
                    </a:cubicBezTo>
                    <a:cubicBezTo>
                      <a:pt x="124894" y="239411"/>
                      <a:pt x="129523" y="244731"/>
                      <a:pt x="130822" y="251211"/>
                    </a:cubicBezTo>
                    <a:lnTo>
                      <a:pt x="136528" y="279799"/>
                    </a:lnTo>
                    <a:lnTo>
                      <a:pt x="161910" y="279799"/>
                    </a:lnTo>
                    <a:lnTo>
                      <a:pt x="167644" y="251211"/>
                    </a:lnTo>
                    <a:cubicBezTo>
                      <a:pt x="168943" y="244731"/>
                      <a:pt x="173572" y="239411"/>
                      <a:pt x="179790" y="237256"/>
                    </a:cubicBezTo>
                    <a:cubicBezTo>
                      <a:pt x="183258" y="236054"/>
                      <a:pt x="186588" y="234644"/>
                      <a:pt x="189835" y="233069"/>
                    </a:cubicBezTo>
                    <a:cubicBezTo>
                      <a:pt x="192405" y="231825"/>
                      <a:pt x="195182" y="231204"/>
                      <a:pt x="197959" y="231204"/>
                    </a:cubicBezTo>
                    <a:cubicBezTo>
                      <a:pt x="201580" y="231204"/>
                      <a:pt x="205186" y="232268"/>
                      <a:pt x="208309" y="234340"/>
                    </a:cubicBezTo>
                    <a:lnTo>
                      <a:pt x="232585" y="250534"/>
                    </a:lnTo>
                    <a:lnTo>
                      <a:pt x="250520" y="232585"/>
                    </a:lnTo>
                    <a:lnTo>
                      <a:pt x="234326" y="208295"/>
                    </a:lnTo>
                    <a:cubicBezTo>
                      <a:pt x="230665" y="202809"/>
                      <a:pt x="230181" y="195776"/>
                      <a:pt x="233083" y="189821"/>
                    </a:cubicBezTo>
                    <a:cubicBezTo>
                      <a:pt x="234644" y="186574"/>
                      <a:pt x="236040" y="183244"/>
                      <a:pt x="237242" y="179804"/>
                    </a:cubicBezTo>
                    <a:cubicBezTo>
                      <a:pt x="239411" y="173558"/>
                      <a:pt x="244717" y="168929"/>
                      <a:pt x="251197" y="167644"/>
                    </a:cubicBezTo>
                    <a:cubicBezTo>
                      <a:pt x="251197" y="167644"/>
                      <a:pt x="279799" y="161924"/>
                      <a:pt x="279799" y="161924"/>
                    </a:cubicBezTo>
                    <a:lnTo>
                      <a:pt x="279785" y="136542"/>
                    </a:lnTo>
                    <a:lnTo>
                      <a:pt x="251197" y="130808"/>
                    </a:lnTo>
                    <a:cubicBezTo>
                      <a:pt x="244717" y="129523"/>
                      <a:pt x="239411" y="124894"/>
                      <a:pt x="237242" y="118649"/>
                    </a:cubicBezTo>
                    <a:cubicBezTo>
                      <a:pt x="236040" y="115208"/>
                      <a:pt x="234630" y="111864"/>
                      <a:pt x="233055" y="108631"/>
                    </a:cubicBezTo>
                    <a:cubicBezTo>
                      <a:pt x="230195" y="102676"/>
                      <a:pt x="230665" y="95657"/>
                      <a:pt x="234326" y="90158"/>
                    </a:cubicBezTo>
                    <a:lnTo>
                      <a:pt x="250520" y="65881"/>
                    </a:lnTo>
                    <a:lnTo>
                      <a:pt x="232585" y="47932"/>
                    </a:lnTo>
                    <a:lnTo>
                      <a:pt x="208309" y="64112"/>
                    </a:lnTo>
                    <a:cubicBezTo>
                      <a:pt x="205186" y="66198"/>
                      <a:pt x="201580" y="67249"/>
                      <a:pt x="197959" y="67249"/>
                    </a:cubicBezTo>
                    <a:cubicBezTo>
                      <a:pt x="195168" y="67249"/>
                      <a:pt x="192405" y="66627"/>
                      <a:pt x="189807" y="65383"/>
                    </a:cubicBezTo>
                    <a:cubicBezTo>
                      <a:pt x="186574" y="63808"/>
                      <a:pt x="183244" y="62413"/>
                      <a:pt x="179790" y="61210"/>
                    </a:cubicBezTo>
                    <a:cubicBezTo>
                      <a:pt x="173544" y="59041"/>
                      <a:pt x="168916" y="53735"/>
                      <a:pt x="167631" y="47255"/>
                    </a:cubicBezTo>
                    <a:close/>
                    <a:moveTo>
                      <a:pt x="136528" y="0"/>
                    </a:moveTo>
                    <a:lnTo>
                      <a:pt x="161910" y="0"/>
                    </a:lnTo>
                    <a:cubicBezTo>
                      <a:pt x="170795" y="0"/>
                      <a:pt x="178463" y="6287"/>
                      <a:pt x="180190" y="15006"/>
                    </a:cubicBezTo>
                    <a:lnTo>
                      <a:pt x="185911" y="43593"/>
                    </a:lnTo>
                    <a:cubicBezTo>
                      <a:pt x="190056" y="45030"/>
                      <a:pt x="194063" y="46716"/>
                      <a:pt x="197959" y="48595"/>
                    </a:cubicBezTo>
                    <a:lnTo>
                      <a:pt x="222250" y="32415"/>
                    </a:lnTo>
                    <a:cubicBezTo>
                      <a:pt x="225387" y="30301"/>
                      <a:pt x="228993" y="29279"/>
                      <a:pt x="232572" y="29279"/>
                    </a:cubicBezTo>
                    <a:cubicBezTo>
                      <a:pt x="237408" y="29279"/>
                      <a:pt x="242161" y="31130"/>
                      <a:pt x="245767" y="34737"/>
                    </a:cubicBezTo>
                    <a:lnTo>
                      <a:pt x="263716" y="52685"/>
                    </a:lnTo>
                    <a:cubicBezTo>
                      <a:pt x="270002" y="58972"/>
                      <a:pt x="270983" y="68824"/>
                      <a:pt x="266051" y="76216"/>
                    </a:cubicBezTo>
                    <a:lnTo>
                      <a:pt x="249857" y="100507"/>
                    </a:lnTo>
                    <a:cubicBezTo>
                      <a:pt x="251722" y="104389"/>
                      <a:pt x="253422" y="108382"/>
                      <a:pt x="254859" y="112528"/>
                    </a:cubicBezTo>
                    <a:lnTo>
                      <a:pt x="283447" y="118248"/>
                    </a:lnTo>
                    <a:cubicBezTo>
                      <a:pt x="292165" y="120003"/>
                      <a:pt x="298452" y="127657"/>
                      <a:pt x="298452" y="136542"/>
                    </a:cubicBezTo>
                    <a:lnTo>
                      <a:pt x="298452" y="161924"/>
                    </a:lnTo>
                    <a:cubicBezTo>
                      <a:pt x="298452" y="170809"/>
                      <a:pt x="292165" y="178463"/>
                      <a:pt x="283447" y="180218"/>
                    </a:cubicBezTo>
                    <a:lnTo>
                      <a:pt x="254859" y="185925"/>
                    </a:lnTo>
                    <a:cubicBezTo>
                      <a:pt x="253422" y="190056"/>
                      <a:pt x="251750" y="194063"/>
                      <a:pt x="249857" y="197959"/>
                    </a:cubicBezTo>
                    <a:lnTo>
                      <a:pt x="266051" y="222236"/>
                    </a:lnTo>
                    <a:cubicBezTo>
                      <a:pt x="270983" y="229629"/>
                      <a:pt x="270002" y="239494"/>
                      <a:pt x="263716" y="245781"/>
                    </a:cubicBezTo>
                    <a:lnTo>
                      <a:pt x="245767" y="263716"/>
                    </a:lnTo>
                    <a:cubicBezTo>
                      <a:pt x="242161" y="267322"/>
                      <a:pt x="237408" y="269187"/>
                      <a:pt x="232572" y="269187"/>
                    </a:cubicBezTo>
                    <a:cubicBezTo>
                      <a:pt x="228993" y="269187"/>
                      <a:pt x="225387" y="268151"/>
                      <a:pt x="222250" y="266051"/>
                    </a:cubicBezTo>
                    <a:lnTo>
                      <a:pt x="197959" y="249857"/>
                    </a:lnTo>
                    <a:cubicBezTo>
                      <a:pt x="194077" y="251750"/>
                      <a:pt x="190070" y="253422"/>
                      <a:pt x="185938" y="254873"/>
                    </a:cubicBezTo>
                    <a:lnTo>
                      <a:pt x="180190" y="283460"/>
                    </a:lnTo>
                    <a:cubicBezTo>
                      <a:pt x="178463" y="292193"/>
                      <a:pt x="170795" y="298452"/>
                      <a:pt x="161910" y="298452"/>
                    </a:cubicBezTo>
                    <a:lnTo>
                      <a:pt x="136528" y="298452"/>
                    </a:lnTo>
                    <a:cubicBezTo>
                      <a:pt x="127644" y="298452"/>
                      <a:pt x="119989" y="292193"/>
                      <a:pt x="118248" y="283460"/>
                    </a:cubicBezTo>
                    <a:lnTo>
                      <a:pt x="112528" y="254873"/>
                    </a:lnTo>
                    <a:cubicBezTo>
                      <a:pt x="108382" y="253422"/>
                      <a:pt x="104389" y="251750"/>
                      <a:pt x="100507" y="249857"/>
                    </a:cubicBezTo>
                    <a:lnTo>
                      <a:pt x="76216" y="266051"/>
                    </a:lnTo>
                    <a:cubicBezTo>
                      <a:pt x="73066" y="268151"/>
                      <a:pt x="69459" y="269187"/>
                      <a:pt x="65881" y="269187"/>
                    </a:cubicBezTo>
                    <a:cubicBezTo>
                      <a:pt x="61058" y="269187"/>
                      <a:pt x="56291" y="267322"/>
                      <a:pt x="52685" y="263716"/>
                    </a:cubicBezTo>
                    <a:lnTo>
                      <a:pt x="34737" y="245781"/>
                    </a:lnTo>
                    <a:cubicBezTo>
                      <a:pt x="28450" y="239494"/>
                      <a:pt x="27469" y="229629"/>
                      <a:pt x="32401" y="222236"/>
                    </a:cubicBezTo>
                    <a:lnTo>
                      <a:pt x="48595" y="197959"/>
                    </a:lnTo>
                    <a:cubicBezTo>
                      <a:pt x="46716" y="194077"/>
                      <a:pt x="45030" y="190070"/>
                      <a:pt x="43593" y="185938"/>
                    </a:cubicBezTo>
                    <a:lnTo>
                      <a:pt x="15006" y="180218"/>
                    </a:lnTo>
                    <a:cubicBezTo>
                      <a:pt x="6273" y="178463"/>
                      <a:pt x="0" y="170809"/>
                      <a:pt x="0" y="161924"/>
                    </a:cubicBezTo>
                    <a:lnTo>
                      <a:pt x="0" y="136542"/>
                    </a:lnTo>
                    <a:cubicBezTo>
                      <a:pt x="0" y="127657"/>
                      <a:pt x="6273" y="120003"/>
                      <a:pt x="15006" y="118248"/>
                    </a:cubicBezTo>
                    <a:lnTo>
                      <a:pt x="43593" y="112528"/>
                    </a:lnTo>
                    <a:cubicBezTo>
                      <a:pt x="45030" y="108396"/>
                      <a:pt x="46702" y="104389"/>
                      <a:pt x="48595" y="100507"/>
                    </a:cubicBezTo>
                    <a:lnTo>
                      <a:pt x="32401" y="76216"/>
                    </a:lnTo>
                    <a:cubicBezTo>
                      <a:pt x="27469" y="68824"/>
                      <a:pt x="28450" y="58972"/>
                      <a:pt x="34737" y="52685"/>
                    </a:cubicBezTo>
                    <a:lnTo>
                      <a:pt x="52685" y="34737"/>
                    </a:lnTo>
                    <a:cubicBezTo>
                      <a:pt x="56291" y="31130"/>
                      <a:pt x="61058" y="29279"/>
                      <a:pt x="65881" y="29279"/>
                    </a:cubicBezTo>
                    <a:cubicBezTo>
                      <a:pt x="69459" y="29279"/>
                      <a:pt x="73052" y="30301"/>
                      <a:pt x="76216" y="32415"/>
                    </a:cubicBezTo>
                    <a:lnTo>
                      <a:pt x="100507" y="48595"/>
                    </a:lnTo>
                    <a:cubicBezTo>
                      <a:pt x="104389" y="46716"/>
                      <a:pt x="108382" y="45030"/>
                      <a:pt x="112528" y="43593"/>
                    </a:cubicBezTo>
                    <a:lnTo>
                      <a:pt x="118248" y="15006"/>
                    </a:lnTo>
                    <a:cubicBezTo>
                      <a:pt x="119989" y="6287"/>
                      <a:pt x="127644" y="0"/>
                      <a:pt x="136528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43" name="iṧ1îḍè">
                <a:extLst>
                  <a:ext uri="{FF2B5EF4-FFF2-40B4-BE49-F238E27FC236}">
                    <a16:creationId xmlns:a16="http://schemas.microsoft.com/office/drawing/2014/main" id="{9960E57F-CEBB-4193-B0D6-235C35C2D917}"/>
                  </a:ext>
                </a:extLst>
              </p:cNvPr>
              <p:cNvGrpSpPr/>
              <p:nvPr/>
            </p:nvGrpSpPr>
            <p:grpSpPr>
              <a:xfrm>
                <a:off x="9604622" y="2731985"/>
                <a:ext cx="1914278" cy="972938"/>
                <a:chOff x="4601215" y="1415695"/>
                <a:chExt cx="1914278" cy="972938"/>
              </a:xfrm>
            </p:grpSpPr>
            <p:sp>
              <p:nvSpPr>
                <p:cNvPr id="44" name="ïSlîḑê">
                  <a:extLst>
                    <a:ext uri="{FF2B5EF4-FFF2-40B4-BE49-F238E27FC236}">
                      <a16:creationId xmlns:a16="http://schemas.microsoft.com/office/drawing/2014/main" id="{B2478859-09CF-472C-AF54-EC473382FC9C}"/>
                    </a:ext>
                  </a:extLst>
                </p:cNvPr>
                <p:cNvSpPr/>
                <p:nvPr/>
              </p:nvSpPr>
              <p:spPr>
                <a:xfrm>
                  <a:off x="4601215" y="1415695"/>
                  <a:ext cx="1914278" cy="391664"/>
                </a:xfrm>
                <a:prstGeom prst="rect">
                  <a:avLst/>
                </a:prstGeom>
              </p:spPr>
              <p:txBody>
                <a:bodyPr wrap="none" lIns="90000" tIns="46800" rIns="90000" bIns="46800" anchor="b" anchorCtr="0">
                  <a:normAutofit/>
                </a:bodyPr>
                <a:lstStyle/>
                <a:p>
                  <a:r>
                    <a:rPr lang="zh-CN" altLang="en-US" sz="1400" b="1" dirty="0">
                      <a:solidFill>
                        <a:schemeClr val="bg1"/>
                      </a:solidFill>
                      <a:effectLst/>
                      <a:cs typeface="+mn-ea"/>
                      <a:sym typeface="+mn-lt"/>
                    </a:rPr>
                    <a:t>Enter the title</a:t>
                  </a:r>
                </a:p>
              </p:txBody>
            </p:sp>
            <p:sp>
              <p:nvSpPr>
                <p:cNvPr id="45" name="ïşlíḑe">
                  <a:extLst>
                    <a:ext uri="{FF2B5EF4-FFF2-40B4-BE49-F238E27FC236}">
                      <a16:creationId xmlns:a16="http://schemas.microsoft.com/office/drawing/2014/main" id="{672666B1-4B32-4941-B515-B742ADFD127A}"/>
                    </a:ext>
                  </a:extLst>
                </p:cNvPr>
                <p:cNvSpPr/>
                <p:nvPr/>
              </p:nvSpPr>
              <p:spPr>
                <a:xfrm>
                  <a:off x="4601215" y="1807359"/>
                  <a:ext cx="1914278" cy="581274"/>
                </a:xfrm>
                <a:prstGeom prst="rect">
                  <a:avLst/>
                </a:prstGeom>
              </p:spPr>
              <p:txBody>
                <a:bodyPr wrap="square" lIns="90000" tIns="46800" rIns="90000" bIns="46800">
                  <a:normAutofit/>
                </a:bodyPr>
                <a:lstStyle/>
                <a:p>
                  <a:pPr>
                    <a:lnSpc>
                      <a:spcPct val="120000"/>
                    </a:lnSpc>
                  </a:pPr>
                  <a:r>
                    <a:rPr lang="zh-CN" altLang="en-US" sz="11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Enter your text information here</a:t>
                  </a:r>
                  <a:endParaRPr lang="en-US" altLang="zh-CN" sz="11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23" name="ïṣḻíḋe">
              <a:extLst>
                <a:ext uri="{FF2B5EF4-FFF2-40B4-BE49-F238E27FC236}">
                  <a16:creationId xmlns:a16="http://schemas.microsoft.com/office/drawing/2014/main" id="{81A69E75-40F8-4491-B81A-B631E77801A2}"/>
                </a:ext>
              </a:extLst>
            </p:cNvPr>
            <p:cNvSpPr/>
            <p:nvPr/>
          </p:nvSpPr>
          <p:spPr>
            <a:xfrm>
              <a:off x="972740" y="4594130"/>
              <a:ext cx="7092000" cy="4571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ïṡļidé">
              <a:extLst>
                <a:ext uri="{FF2B5EF4-FFF2-40B4-BE49-F238E27FC236}">
                  <a16:creationId xmlns:a16="http://schemas.microsoft.com/office/drawing/2014/main" id="{C1F2D8B5-B416-4380-9255-0D6E9E0B3259}"/>
                </a:ext>
              </a:extLst>
            </p:cNvPr>
            <p:cNvSpPr/>
            <p:nvPr/>
          </p:nvSpPr>
          <p:spPr>
            <a:xfrm>
              <a:off x="3143441" y="4066009"/>
              <a:ext cx="3348000" cy="457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íṣlídé">
              <a:extLst>
                <a:ext uri="{FF2B5EF4-FFF2-40B4-BE49-F238E27FC236}">
                  <a16:creationId xmlns:a16="http://schemas.microsoft.com/office/drawing/2014/main" id="{9AD5AC1A-C8D4-4AE3-A081-F77A17DD7C5E}"/>
                </a:ext>
              </a:extLst>
            </p:cNvPr>
            <p:cNvSpPr/>
            <p:nvPr/>
          </p:nvSpPr>
          <p:spPr>
            <a:xfrm>
              <a:off x="5317920" y="3537887"/>
              <a:ext cx="2736000" cy="4571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ísḻíďe">
              <a:extLst>
                <a:ext uri="{FF2B5EF4-FFF2-40B4-BE49-F238E27FC236}">
                  <a16:creationId xmlns:a16="http://schemas.microsoft.com/office/drawing/2014/main" id="{5FE9D183-8417-488E-B63F-71873B1DDD87}"/>
                </a:ext>
              </a:extLst>
            </p:cNvPr>
            <p:cNvSpPr/>
            <p:nvPr/>
          </p:nvSpPr>
          <p:spPr>
            <a:xfrm>
              <a:off x="7500750" y="3009765"/>
              <a:ext cx="3780000" cy="457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7" name="ïšlîďê">
              <a:extLst>
                <a:ext uri="{FF2B5EF4-FFF2-40B4-BE49-F238E27FC236}">
                  <a16:creationId xmlns:a16="http://schemas.microsoft.com/office/drawing/2014/main" id="{E5BE60B4-9E7D-49AF-9B62-6EEB7A4EF404}"/>
                </a:ext>
              </a:extLst>
            </p:cNvPr>
            <p:cNvSpPr/>
            <p:nvPr/>
          </p:nvSpPr>
          <p:spPr>
            <a:xfrm>
              <a:off x="9677003" y="2480329"/>
              <a:ext cx="1589494" cy="4703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5400">
              <a:noFill/>
              <a:miter lim="400000"/>
            </a:ln>
          </p:spPr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ïṡḻíḓê">
              <a:extLst>
                <a:ext uri="{FF2B5EF4-FFF2-40B4-BE49-F238E27FC236}">
                  <a16:creationId xmlns:a16="http://schemas.microsoft.com/office/drawing/2014/main" id="{A1130366-C5AF-4271-A9E0-E2F20F8AF320}"/>
                </a:ext>
              </a:extLst>
            </p:cNvPr>
            <p:cNvSpPr/>
            <p:nvPr/>
          </p:nvSpPr>
          <p:spPr>
            <a:xfrm>
              <a:off x="11170443" y="5114326"/>
              <a:ext cx="194470" cy="194464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iṧļïḍè">
              <a:extLst>
                <a:ext uri="{FF2B5EF4-FFF2-40B4-BE49-F238E27FC236}">
                  <a16:creationId xmlns:a16="http://schemas.microsoft.com/office/drawing/2014/main" id="{314E49E6-6A67-4794-9033-B537039AF82D}"/>
                </a:ext>
              </a:extLst>
            </p:cNvPr>
            <p:cNvSpPr txBox="1"/>
            <p:nvPr/>
          </p:nvSpPr>
          <p:spPr bwMode="auto">
            <a:xfrm>
              <a:off x="10815637" y="5308791"/>
              <a:ext cx="911225" cy="368110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/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cxnSp>
          <p:nvCxnSpPr>
            <p:cNvPr id="30" name="直接连接符 29">
              <a:extLst>
                <a:ext uri="{FF2B5EF4-FFF2-40B4-BE49-F238E27FC236}">
                  <a16:creationId xmlns:a16="http://schemas.microsoft.com/office/drawing/2014/main" id="{AB878CBA-830D-4A15-9985-A6AAAE0467EB}"/>
                </a:ext>
              </a:extLst>
            </p:cNvPr>
            <p:cNvCxnSpPr>
              <a:cxnSpLocks/>
              <a:endCxn id="28" idx="0"/>
            </p:cNvCxnSpPr>
            <p:nvPr/>
          </p:nvCxnSpPr>
          <p:spPr>
            <a:xfrm>
              <a:off x="11267678" y="2527362"/>
              <a:ext cx="0" cy="258696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E0613CF9-A262-4314-9CC7-F759984528E2}"/>
                </a:ext>
              </a:extLst>
            </p:cNvPr>
            <p:cNvCxnSpPr>
              <a:cxnSpLocks/>
            </p:cNvCxnSpPr>
            <p:nvPr/>
          </p:nvCxnSpPr>
          <p:spPr>
            <a:xfrm>
              <a:off x="9677003" y="2527362"/>
              <a:ext cx="0" cy="258696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85EA37A1-A567-432C-BD9D-58CA9851A1F1}"/>
                </a:ext>
              </a:extLst>
            </p:cNvPr>
            <p:cNvCxnSpPr>
              <a:cxnSpLocks/>
            </p:cNvCxnSpPr>
            <p:nvPr/>
          </p:nvCxnSpPr>
          <p:spPr>
            <a:xfrm>
              <a:off x="969566" y="4639849"/>
              <a:ext cx="0" cy="4744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F7FF85A2-BFE5-44C6-AA03-1F6525CC0322}"/>
                </a:ext>
              </a:extLst>
            </p:cNvPr>
            <p:cNvCxnSpPr>
              <a:cxnSpLocks/>
            </p:cNvCxnSpPr>
            <p:nvPr/>
          </p:nvCxnSpPr>
          <p:spPr>
            <a:xfrm>
              <a:off x="3147121" y="4111728"/>
              <a:ext cx="0" cy="100259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:a16="http://schemas.microsoft.com/office/drawing/2014/main" id="{54A5F01F-0CBF-4113-9A8E-253FD5802351}"/>
                </a:ext>
              </a:extLst>
            </p:cNvPr>
            <p:cNvCxnSpPr>
              <a:cxnSpLocks/>
            </p:cNvCxnSpPr>
            <p:nvPr/>
          </p:nvCxnSpPr>
          <p:spPr>
            <a:xfrm>
              <a:off x="5328448" y="3560746"/>
              <a:ext cx="0" cy="155358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连接符 34">
              <a:extLst>
                <a:ext uri="{FF2B5EF4-FFF2-40B4-BE49-F238E27FC236}">
                  <a16:creationId xmlns:a16="http://schemas.microsoft.com/office/drawing/2014/main" id="{1A511F06-4AB4-4F3A-AB3C-B3B913179631}"/>
                </a:ext>
              </a:extLst>
            </p:cNvPr>
            <p:cNvCxnSpPr>
              <a:cxnSpLocks/>
            </p:cNvCxnSpPr>
            <p:nvPr/>
          </p:nvCxnSpPr>
          <p:spPr>
            <a:xfrm>
              <a:off x="7500750" y="3055484"/>
              <a:ext cx="0" cy="2058842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直接连接符 35">
              <a:extLst>
                <a:ext uri="{FF2B5EF4-FFF2-40B4-BE49-F238E27FC236}">
                  <a16:creationId xmlns:a16="http://schemas.microsoft.com/office/drawing/2014/main" id="{828C1043-8DD4-479F-9104-3534984D7A72}"/>
                </a:ext>
              </a:extLst>
            </p:cNvPr>
            <p:cNvCxnSpPr>
              <a:cxnSpLocks/>
            </p:cNvCxnSpPr>
            <p:nvPr/>
          </p:nvCxnSpPr>
          <p:spPr>
            <a:xfrm>
              <a:off x="6490396" y="4111728"/>
              <a:ext cx="0" cy="111749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ïṧḻîḋe">
              <a:extLst>
                <a:ext uri="{FF2B5EF4-FFF2-40B4-BE49-F238E27FC236}">
                  <a16:creationId xmlns:a16="http://schemas.microsoft.com/office/drawing/2014/main" id="{8E1B598F-4888-4693-93A8-3590A0AD0C11}"/>
                </a:ext>
              </a:extLst>
            </p:cNvPr>
            <p:cNvSpPr/>
            <p:nvPr/>
          </p:nvSpPr>
          <p:spPr>
            <a:xfrm>
              <a:off x="6428483" y="4114800"/>
              <a:ext cx="123825" cy="106746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îṣḻîdè">
              <a:extLst>
                <a:ext uri="{FF2B5EF4-FFF2-40B4-BE49-F238E27FC236}">
                  <a16:creationId xmlns:a16="http://schemas.microsoft.com/office/drawing/2014/main" id="{672A39C8-1DDE-417B-8A9B-DCFB23D6B752}"/>
                </a:ext>
              </a:extLst>
            </p:cNvPr>
            <p:cNvSpPr/>
            <p:nvPr/>
          </p:nvSpPr>
          <p:spPr>
            <a:xfrm>
              <a:off x="7990583" y="3581400"/>
              <a:ext cx="123825" cy="106746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9" name="íṡļîḑè">
              <a:extLst>
                <a:ext uri="{FF2B5EF4-FFF2-40B4-BE49-F238E27FC236}">
                  <a16:creationId xmlns:a16="http://schemas.microsoft.com/office/drawing/2014/main" id="{1B58269B-E622-43ED-B770-4F31959B7707}"/>
                </a:ext>
              </a:extLst>
            </p:cNvPr>
            <p:cNvSpPr/>
            <p:nvPr/>
          </p:nvSpPr>
          <p:spPr>
            <a:xfrm>
              <a:off x="7990583" y="4648200"/>
              <a:ext cx="123825" cy="106746"/>
            </a:xfrm>
            <a:prstGeom prst="triangle">
              <a:avLst/>
            </a:prstGeom>
            <a:solidFill>
              <a:schemeClr val="tx1">
                <a:lumMod val="50000"/>
                <a:lumOff val="50000"/>
              </a:schemeClr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88681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34563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lan for the futur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4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AD594BC1-A69F-40DB-97E9-B5834D47749F}"/>
              </a:ext>
            </a:extLst>
          </p:cNvPr>
          <p:cNvGrpSpPr/>
          <p:nvPr/>
        </p:nvGrpSpPr>
        <p:grpSpPr>
          <a:xfrm>
            <a:off x="665998" y="2217839"/>
            <a:ext cx="10890586" cy="3135741"/>
            <a:chOff x="629902" y="2374250"/>
            <a:chExt cx="10890586" cy="3135741"/>
          </a:xfrm>
        </p:grpSpPr>
        <p:grpSp>
          <p:nvGrpSpPr>
            <p:cNvPr id="6" name="îslíďe">
              <a:extLst>
                <a:ext uri="{FF2B5EF4-FFF2-40B4-BE49-F238E27FC236}">
                  <a16:creationId xmlns:a16="http://schemas.microsoft.com/office/drawing/2014/main" id="{A4FB1D15-688B-4BE3-A57C-F5CDD4D6EF26}"/>
                </a:ext>
              </a:extLst>
            </p:cNvPr>
            <p:cNvGrpSpPr/>
            <p:nvPr/>
          </p:nvGrpSpPr>
          <p:grpSpPr>
            <a:xfrm>
              <a:off x="10170570" y="3026816"/>
              <a:ext cx="1349918" cy="1217786"/>
              <a:chOff x="10206449" y="2704534"/>
              <a:chExt cx="1349918" cy="1217786"/>
            </a:xfrm>
          </p:grpSpPr>
          <p:sp>
            <p:nvSpPr>
              <p:cNvPr id="14" name="ï$ḷídé">
                <a:extLst>
                  <a:ext uri="{FF2B5EF4-FFF2-40B4-BE49-F238E27FC236}">
                    <a16:creationId xmlns:a16="http://schemas.microsoft.com/office/drawing/2014/main" id="{CA76B2D5-A9D1-4102-AC72-A454BD7EA128}"/>
                  </a:ext>
                </a:extLst>
              </p:cNvPr>
              <p:cNvSpPr/>
              <p:nvPr/>
            </p:nvSpPr>
            <p:spPr bwMode="auto">
              <a:xfrm>
                <a:off x="10206449" y="2704534"/>
                <a:ext cx="1108075" cy="1111250"/>
              </a:xfrm>
              <a:custGeom>
                <a:avLst/>
                <a:gdLst>
                  <a:gd name="T0" fmla="*/ 11616 w 11616"/>
                  <a:gd name="T1" fmla="*/ 11648 h 11648"/>
                  <a:gd name="T2" fmla="*/ 3925 w 11616"/>
                  <a:gd name="T3" fmla="*/ 11648 h 11648"/>
                  <a:gd name="T4" fmla="*/ 1150 w 11616"/>
                  <a:gd name="T5" fmla="*/ 10499 h 11648"/>
                  <a:gd name="T6" fmla="*/ 0 w 11616"/>
                  <a:gd name="T7" fmla="*/ 7724 h 11648"/>
                  <a:gd name="T8" fmla="*/ 0 w 11616"/>
                  <a:gd name="T9" fmla="*/ 0 h 1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16" h="11648">
                    <a:moveTo>
                      <a:pt x="11616" y="11648"/>
                    </a:moveTo>
                    <a:lnTo>
                      <a:pt x="3925" y="11648"/>
                    </a:lnTo>
                    <a:cubicBezTo>
                      <a:pt x="2842" y="11648"/>
                      <a:pt x="1860" y="11209"/>
                      <a:pt x="1150" y="10499"/>
                    </a:cubicBezTo>
                    <a:cubicBezTo>
                      <a:pt x="439" y="9789"/>
                      <a:pt x="0" y="8808"/>
                      <a:pt x="0" y="7724"/>
                    </a:cubicBezTo>
                    <a:lnTo>
                      <a:pt x="0" y="0"/>
                    </a:lnTo>
                  </a:path>
                </a:pathLst>
              </a:custGeom>
              <a:noFill/>
              <a:ln w="381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5" name="îSḷíde">
                <a:extLst>
                  <a:ext uri="{FF2B5EF4-FFF2-40B4-BE49-F238E27FC236}">
                    <a16:creationId xmlns:a16="http://schemas.microsoft.com/office/drawing/2014/main" id="{56FD5411-76B9-4784-B65A-630BE5D851C1}"/>
                  </a:ext>
                </a:extLst>
              </p:cNvPr>
              <p:cNvSpPr/>
              <p:nvPr/>
            </p:nvSpPr>
            <p:spPr>
              <a:xfrm>
                <a:off x="11314524" y="3679611"/>
                <a:ext cx="241843" cy="242709"/>
              </a:xfrm>
              <a:prstGeom prst="donut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/>
              <a:p>
                <a:pPr algn="ctr" defTabSz="914354"/>
                <a:endParaRPr lang="zh-CN" altLang="en-US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ïṩlíďè">
              <a:extLst>
                <a:ext uri="{FF2B5EF4-FFF2-40B4-BE49-F238E27FC236}">
                  <a16:creationId xmlns:a16="http://schemas.microsoft.com/office/drawing/2014/main" id="{91A7D652-4774-4045-B3B9-ABF89F669F26}"/>
                </a:ext>
              </a:extLst>
            </p:cNvPr>
            <p:cNvGrpSpPr/>
            <p:nvPr/>
          </p:nvGrpSpPr>
          <p:grpSpPr>
            <a:xfrm>
              <a:off x="629902" y="2374250"/>
              <a:ext cx="1090488" cy="1219374"/>
              <a:chOff x="665781" y="2051968"/>
              <a:chExt cx="1090488" cy="1219374"/>
            </a:xfrm>
          </p:grpSpPr>
          <p:sp>
            <p:nvSpPr>
              <p:cNvPr id="12" name="í$ḷíďê">
                <a:extLst>
                  <a:ext uri="{FF2B5EF4-FFF2-40B4-BE49-F238E27FC236}">
                    <a16:creationId xmlns:a16="http://schemas.microsoft.com/office/drawing/2014/main" id="{A3B6A1F0-7233-4236-81BC-AF7C2332DB23}"/>
                  </a:ext>
                </a:extLst>
              </p:cNvPr>
              <p:cNvSpPr/>
              <p:nvPr/>
            </p:nvSpPr>
            <p:spPr>
              <a:xfrm>
                <a:off x="665781" y="2051968"/>
                <a:ext cx="241843" cy="242709"/>
              </a:xfrm>
              <a:prstGeom prst="donut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32500" lnSpcReduction="20000"/>
              </a:bodyPr>
              <a:lstStyle/>
              <a:p>
                <a:pPr algn="ctr" defTabSz="914354"/>
                <a:endParaRPr lang="zh-CN" altLang="en-US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3" name="îṡ1ïḓê">
                <a:extLst>
                  <a:ext uri="{FF2B5EF4-FFF2-40B4-BE49-F238E27FC236}">
                    <a16:creationId xmlns:a16="http://schemas.microsoft.com/office/drawing/2014/main" id="{6F3895B8-F9E3-4193-B937-CBC64A31CCDE}"/>
                  </a:ext>
                </a:extLst>
              </p:cNvPr>
              <p:cNvSpPr/>
              <p:nvPr/>
            </p:nvSpPr>
            <p:spPr bwMode="auto">
              <a:xfrm>
                <a:off x="919656" y="2158504"/>
                <a:ext cx="836613" cy="1112838"/>
              </a:xfrm>
              <a:custGeom>
                <a:avLst/>
                <a:gdLst>
                  <a:gd name="T0" fmla="*/ 0 w 8768"/>
                  <a:gd name="T1" fmla="*/ 0 h 11648"/>
                  <a:gd name="T2" fmla="*/ 4837 w 8768"/>
                  <a:gd name="T3" fmla="*/ 0 h 11648"/>
                  <a:gd name="T4" fmla="*/ 7617 w 8768"/>
                  <a:gd name="T5" fmla="*/ 1150 h 11648"/>
                  <a:gd name="T6" fmla="*/ 8768 w 8768"/>
                  <a:gd name="T7" fmla="*/ 3925 h 11648"/>
                  <a:gd name="T8" fmla="*/ 8768 w 8768"/>
                  <a:gd name="T9" fmla="*/ 11648 h 11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768" h="11648">
                    <a:moveTo>
                      <a:pt x="0" y="0"/>
                    </a:moveTo>
                    <a:lnTo>
                      <a:pt x="4837" y="0"/>
                    </a:lnTo>
                    <a:cubicBezTo>
                      <a:pt x="5923" y="0"/>
                      <a:pt x="6906" y="440"/>
                      <a:pt x="7617" y="1150"/>
                    </a:cubicBezTo>
                    <a:cubicBezTo>
                      <a:pt x="8329" y="1860"/>
                      <a:pt x="8768" y="2841"/>
                      <a:pt x="8768" y="3925"/>
                    </a:cubicBezTo>
                    <a:lnTo>
                      <a:pt x="8768" y="11648"/>
                    </a:lnTo>
                  </a:path>
                </a:pathLst>
              </a:custGeom>
              <a:noFill/>
              <a:ln w="38100" cap="flat">
                <a:solidFill>
                  <a:schemeClr val="bg1">
                    <a:lumMod val="95000"/>
                  </a:schemeClr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8" name="ï$1ïḍè">
              <a:extLst>
                <a:ext uri="{FF2B5EF4-FFF2-40B4-BE49-F238E27FC236}">
                  <a16:creationId xmlns:a16="http://schemas.microsoft.com/office/drawing/2014/main" id="{6C73AE10-25AA-4A44-AB63-A31C6C67183A}"/>
                </a:ext>
              </a:extLst>
            </p:cNvPr>
            <p:cNvSpPr/>
            <p:nvPr/>
          </p:nvSpPr>
          <p:spPr bwMode="auto">
            <a:xfrm>
              <a:off x="1708358" y="3455625"/>
              <a:ext cx="2114175" cy="2054366"/>
            </a:xfrm>
            <a:custGeom>
              <a:avLst/>
              <a:gdLst>
                <a:gd name="T0" fmla="*/ 5548 w 5548"/>
                <a:gd name="T1" fmla="*/ 1223 h 5392"/>
                <a:gd name="T2" fmla="*/ 5548 w 5548"/>
                <a:gd name="T3" fmla="*/ 4582 h 5392"/>
                <a:gd name="T4" fmla="*/ 5261 w 5548"/>
                <a:gd name="T5" fmla="*/ 5155 h 5392"/>
                <a:gd name="T6" fmla="*/ 4568 w 5548"/>
                <a:gd name="T7" fmla="*/ 5392 h 5392"/>
                <a:gd name="T8" fmla="*/ 981 w 5548"/>
                <a:gd name="T9" fmla="*/ 5392 h 5392"/>
                <a:gd name="T10" fmla="*/ 288 w 5548"/>
                <a:gd name="T11" fmla="*/ 5155 h 5392"/>
                <a:gd name="T12" fmla="*/ 0 w 5548"/>
                <a:gd name="T13" fmla="*/ 4582 h 5392"/>
                <a:gd name="T14" fmla="*/ 24 w 5548"/>
                <a:gd name="T15" fmla="*/ 0 h 5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48" h="5392">
                  <a:moveTo>
                    <a:pt x="5548" y="1223"/>
                  </a:moveTo>
                  <a:lnTo>
                    <a:pt x="5548" y="4582"/>
                  </a:lnTo>
                  <a:cubicBezTo>
                    <a:pt x="5548" y="4806"/>
                    <a:pt x="5439" y="5008"/>
                    <a:pt x="5261" y="5155"/>
                  </a:cubicBezTo>
                  <a:cubicBezTo>
                    <a:pt x="5084" y="5302"/>
                    <a:pt x="4839" y="5392"/>
                    <a:pt x="4568" y="5392"/>
                  </a:cubicBezTo>
                  <a:lnTo>
                    <a:pt x="981" y="5392"/>
                  </a:lnTo>
                  <a:cubicBezTo>
                    <a:pt x="710" y="5392"/>
                    <a:pt x="465" y="5302"/>
                    <a:pt x="288" y="5155"/>
                  </a:cubicBezTo>
                  <a:cubicBezTo>
                    <a:pt x="110" y="5008"/>
                    <a:pt x="0" y="4806"/>
                    <a:pt x="0" y="4582"/>
                  </a:cubicBezTo>
                  <a:lnTo>
                    <a:pt x="24" y="0"/>
                  </a:lnTo>
                </a:path>
              </a:pathLst>
            </a:custGeom>
            <a:noFill/>
            <a:ln w="3810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9" name="iṧlïḓè">
              <a:extLst>
                <a:ext uri="{FF2B5EF4-FFF2-40B4-BE49-F238E27FC236}">
                  <a16:creationId xmlns:a16="http://schemas.microsoft.com/office/drawing/2014/main" id="{097A6FB3-D100-4FF0-8F49-9D696E630E9C}"/>
                </a:ext>
              </a:extLst>
            </p:cNvPr>
            <p:cNvSpPr/>
            <p:nvPr/>
          </p:nvSpPr>
          <p:spPr bwMode="auto">
            <a:xfrm>
              <a:off x="3822533" y="2479438"/>
              <a:ext cx="2116137" cy="1449388"/>
            </a:xfrm>
            <a:custGeom>
              <a:avLst/>
              <a:gdLst>
                <a:gd name="T0" fmla="*/ 22192 w 22192"/>
                <a:gd name="T1" fmla="*/ 15183 h 15183"/>
                <a:gd name="T2" fmla="*/ 22192 w 22192"/>
                <a:gd name="T3" fmla="*/ 2952 h 15183"/>
                <a:gd name="T4" fmla="*/ 21043 w 22192"/>
                <a:gd name="T5" fmla="*/ 865 h 15183"/>
                <a:gd name="T6" fmla="*/ 18269 w 22192"/>
                <a:gd name="T7" fmla="*/ 0 h 15183"/>
                <a:gd name="T8" fmla="*/ 3923 w 22192"/>
                <a:gd name="T9" fmla="*/ 0 h 15183"/>
                <a:gd name="T10" fmla="*/ 1149 w 22192"/>
                <a:gd name="T11" fmla="*/ 865 h 15183"/>
                <a:gd name="T12" fmla="*/ 0 w 22192"/>
                <a:gd name="T13" fmla="*/ 2952 h 15183"/>
                <a:gd name="T14" fmla="*/ 0 w 22192"/>
                <a:gd name="T15" fmla="*/ 15183 h 15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92" h="15183">
                  <a:moveTo>
                    <a:pt x="22192" y="15183"/>
                  </a:moveTo>
                  <a:lnTo>
                    <a:pt x="22192" y="2952"/>
                  </a:lnTo>
                  <a:cubicBezTo>
                    <a:pt x="22192" y="2137"/>
                    <a:pt x="21753" y="1399"/>
                    <a:pt x="21043" y="865"/>
                  </a:cubicBezTo>
                  <a:cubicBezTo>
                    <a:pt x="20333" y="331"/>
                    <a:pt x="19353" y="0"/>
                    <a:pt x="18269" y="0"/>
                  </a:cubicBezTo>
                  <a:lnTo>
                    <a:pt x="3923" y="0"/>
                  </a:lnTo>
                  <a:cubicBezTo>
                    <a:pt x="2839" y="0"/>
                    <a:pt x="1859" y="331"/>
                    <a:pt x="1149" y="865"/>
                  </a:cubicBezTo>
                  <a:cubicBezTo>
                    <a:pt x="439" y="1399"/>
                    <a:pt x="0" y="2137"/>
                    <a:pt x="0" y="2952"/>
                  </a:cubicBezTo>
                  <a:lnTo>
                    <a:pt x="0" y="15183"/>
                  </a:lnTo>
                </a:path>
              </a:pathLst>
            </a:custGeom>
            <a:noFill/>
            <a:ln w="3810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ïŝ1ïḑê">
              <a:extLst>
                <a:ext uri="{FF2B5EF4-FFF2-40B4-BE49-F238E27FC236}">
                  <a16:creationId xmlns:a16="http://schemas.microsoft.com/office/drawing/2014/main" id="{12D74462-D562-48F3-B9C8-6EAFE5DD723B}"/>
                </a:ext>
              </a:extLst>
            </p:cNvPr>
            <p:cNvSpPr/>
            <p:nvPr/>
          </p:nvSpPr>
          <p:spPr bwMode="auto">
            <a:xfrm>
              <a:off x="5938670" y="3455625"/>
              <a:ext cx="2114175" cy="2054366"/>
            </a:xfrm>
            <a:custGeom>
              <a:avLst/>
              <a:gdLst>
                <a:gd name="T0" fmla="*/ 5548 w 5548"/>
                <a:gd name="T1" fmla="*/ 1223 h 5392"/>
                <a:gd name="T2" fmla="*/ 5548 w 5548"/>
                <a:gd name="T3" fmla="*/ 4582 h 5392"/>
                <a:gd name="T4" fmla="*/ 5261 w 5548"/>
                <a:gd name="T5" fmla="*/ 5155 h 5392"/>
                <a:gd name="T6" fmla="*/ 4568 w 5548"/>
                <a:gd name="T7" fmla="*/ 5392 h 5392"/>
                <a:gd name="T8" fmla="*/ 981 w 5548"/>
                <a:gd name="T9" fmla="*/ 5392 h 5392"/>
                <a:gd name="T10" fmla="*/ 288 w 5548"/>
                <a:gd name="T11" fmla="*/ 5155 h 5392"/>
                <a:gd name="T12" fmla="*/ 0 w 5548"/>
                <a:gd name="T13" fmla="*/ 4582 h 5392"/>
                <a:gd name="T14" fmla="*/ 24 w 5548"/>
                <a:gd name="T15" fmla="*/ 0 h 5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548" h="5392">
                  <a:moveTo>
                    <a:pt x="5548" y="1223"/>
                  </a:moveTo>
                  <a:lnTo>
                    <a:pt x="5548" y="4582"/>
                  </a:lnTo>
                  <a:cubicBezTo>
                    <a:pt x="5548" y="4806"/>
                    <a:pt x="5439" y="5008"/>
                    <a:pt x="5261" y="5155"/>
                  </a:cubicBezTo>
                  <a:cubicBezTo>
                    <a:pt x="5084" y="5302"/>
                    <a:pt x="4839" y="5392"/>
                    <a:pt x="4568" y="5392"/>
                  </a:cubicBezTo>
                  <a:lnTo>
                    <a:pt x="981" y="5392"/>
                  </a:lnTo>
                  <a:cubicBezTo>
                    <a:pt x="710" y="5392"/>
                    <a:pt x="465" y="5302"/>
                    <a:pt x="288" y="5155"/>
                  </a:cubicBezTo>
                  <a:cubicBezTo>
                    <a:pt x="110" y="5008"/>
                    <a:pt x="0" y="4806"/>
                    <a:pt x="0" y="4582"/>
                  </a:cubicBezTo>
                  <a:lnTo>
                    <a:pt x="24" y="0"/>
                  </a:lnTo>
                </a:path>
              </a:pathLst>
            </a:custGeom>
            <a:noFill/>
            <a:ln w="3810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1" name="íṣļíḍe">
              <a:extLst>
                <a:ext uri="{FF2B5EF4-FFF2-40B4-BE49-F238E27FC236}">
                  <a16:creationId xmlns:a16="http://schemas.microsoft.com/office/drawing/2014/main" id="{CDBD6BFB-67C3-4E9B-BF2E-4300336B90C2}"/>
                </a:ext>
              </a:extLst>
            </p:cNvPr>
            <p:cNvSpPr/>
            <p:nvPr/>
          </p:nvSpPr>
          <p:spPr bwMode="auto">
            <a:xfrm>
              <a:off x="8052845" y="2477851"/>
              <a:ext cx="2117725" cy="1450975"/>
            </a:xfrm>
            <a:custGeom>
              <a:avLst/>
              <a:gdLst>
                <a:gd name="T0" fmla="*/ 22208 w 22208"/>
                <a:gd name="T1" fmla="*/ 6022 h 15215"/>
                <a:gd name="T2" fmla="*/ 22208 w 22208"/>
                <a:gd name="T3" fmla="*/ 2958 h 15215"/>
                <a:gd name="T4" fmla="*/ 21058 w 22208"/>
                <a:gd name="T5" fmla="*/ 867 h 15215"/>
                <a:gd name="T6" fmla="*/ 18282 w 22208"/>
                <a:gd name="T7" fmla="*/ 0 h 15215"/>
                <a:gd name="T8" fmla="*/ 3926 w 22208"/>
                <a:gd name="T9" fmla="*/ 0 h 15215"/>
                <a:gd name="T10" fmla="*/ 1150 w 22208"/>
                <a:gd name="T11" fmla="*/ 867 h 15215"/>
                <a:gd name="T12" fmla="*/ 0 w 22208"/>
                <a:gd name="T13" fmla="*/ 2958 h 15215"/>
                <a:gd name="T14" fmla="*/ 0 w 22208"/>
                <a:gd name="T15" fmla="*/ 15215 h 15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208" h="15215">
                  <a:moveTo>
                    <a:pt x="22208" y="6022"/>
                  </a:moveTo>
                  <a:lnTo>
                    <a:pt x="22208" y="2958"/>
                  </a:lnTo>
                  <a:cubicBezTo>
                    <a:pt x="22208" y="2142"/>
                    <a:pt x="21768" y="1402"/>
                    <a:pt x="21058" y="867"/>
                  </a:cubicBezTo>
                  <a:cubicBezTo>
                    <a:pt x="20348" y="331"/>
                    <a:pt x="19367" y="0"/>
                    <a:pt x="18282" y="0"/>
                  </a:cubicBezTo>
                  <a:lnTo>
                    <a:pt x="3926" y="0"/>
                  </a:lnTo>
                  <a:cubicBezTo>
                    <a:pt x="2841" y="0"/>
                    <a:pt x="1860" y="331"/>
                    <a:pt x="1150" y="867"/>
                  </a:cubicBezTo>
                  <a:cubicBezTo>
                    <a:pt x="439" y="1402"/>
                    <a:pt x="0" y="2142"/>
                    <a:pt x="0" y="2958"/>
                  </a:cubicBezTo>
                  <a:lnTo>
                    <a:pt x="0" y="15215"/>
                  </a:lnTo>
                </a:path>
              </a:pathLst>
            </a:custGeom>
            <a:noFill/>
            <a:ln w="38100" cap="flat">
              <a:solidFill>
                <a:schemeClr val="bg1">
                  <a:lumMod val="95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ïşļíďé">
            <a:extLst>
              <a:ext uri="{FF2B5EF4-FFF2-40B4-BE49-F238E27FC236}">
                <a16:creationId xmlns:a16="http://schemas.microsoft.com/office/drawing/2014/main" id="{A73CA2F4-9C4D-4952-80C7-3D47E96D9D64}"/>
              </a:ext>
            </a:extLst>
          </p:cNvPr>
          <p:cNvSpPr/>
          <p:nvPr/>
        </p:nvSpPr>
        <p:spPr>
          <a:xfrm>
            <a:off x="2347573" y="4880726"/>
            <a:ext cx="907936" cy="907936"/>
          </a:xfrm>
          <a:prstGeom prst="ellipse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ï$ḷíďe">
            <a:extLst>
              <a:ext uri="{FF2B5EF4-FFF2-40B4-BE49-F238E27FC236}">
                <a16:creationId xmlns:a16="http://schemas.microsoft.com/office/drawing/2014/main" id="{AEDE0B3E-085B-48AF-BFAF-F03DB16648EF}"/>
              </a:ext>
            </a:extLst>
          </p:cNvPr>
          <p:cNvSpPr/>
          <p:nvPr/>
        </p:nvSpPr>
        <p:spPr>
          <a:xfrm>
            <a:off x="4462729" y="1860749"/>
            <a:ext cx="907936" cy="907936"/>
          </a:xfrm>
          <a:prstGeom prst="ellipse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ísļïḍê">
            <a:extLst>
              <a:ext uri="{FF2B5EF4-FFF2-40B4-BE49-F238E27FC236}">
                <a16:creationId xmlns:a16="http://schemas.microsoft.com/office/drawing/2014/main" id="{F7EDE201-12DC-41B4-9731-210615D2F844}"/>
              </a:ext>
            </a:extLst>
          </p:cNvPr>
          <p:cNvSpPr/>
          <p:nvPr/>
        </p:nvSpPr>
        <p:spPr>
          <a:xfrm>
            <a:off x="6577885" y="4880726"/>
            <a:ext cx="907936" cy="907936"/>
          </a:xfrm>
          <a:prstGeom prst="ellipse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" name="îsliḋe">
            <a:extLst>
              <a:ext uri="{FF2B5EF4-FFF2-40B4-BE49-F238E27FC236}">
                <a16:creationId xmlns:a16="http://schemas.microsoft.com/office/drawing/2014/main" id="{25F5623F-1D91-4211-93A4-F255E81A0CE6}"/>
              </a:ext>
            </a:extLst>
          </p:cNvPr>
          <p:cNvSpPr/>
          <p:nvPr/>
        </p:nvSpPr>
        <p:spPr>
          <a:xfrm>
            <a:off x="8693835" y="1860749"/>
            <a:ext cx="907936" cy="907936"/>
          </a:xfrm>
          <a:prstGeom prst="ellipse">
            <a:avLst/>
          </a:prstGeom>
          <a:blipFill>
            <a:blip r:embed="rId6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8575" cap="flat" cmpd="sng" algn="ctr">
            <a:solidFill>
              <a:schemeClr val="bg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0" name="ïṡļíḋè">
            <a:extLst>
              <a:ext uri="{FF2B5EF4-FFF2-40B4-BE49-F238E27FC236}">
                <a16:creationId xmlns:a16="http://schemas.microsoft.com/office/drawing/2014/main" id="{EAC0BB4C-377E-4694-832F-858479294FD0}"/>
              </a:ext>
            </a:extLst>
          </p:cNvPr>
          <p:cNvGrpSpPr/>
          <p:nvPr/>
        </p:nvGrpSpPr>
        <p:grpSpPr>
          <a:xfrm>
            <a:off x="1948156" y="2874044"/>
            <a:ext cx="1706771" cy="2006682"/>
            <a:chOff x="1986340" y="2002361"/>
            <a:chExt cx="1595541" cy="2006682"/>
          </a:xfrm>
        </p:grpSpPr>
        <p:sp>
          <p:nvSpPr>
            <p:cNvPr id="21" name="îŝļîďé">
              <a:extLst>
                <a:ext uri="{FF2B5EF4-FFF2-40B4-BE49-F238E27FC236}">
                  <a16:creationId xmlns:a16="http://schemas.microsoft.com/office/drawing/2014/main" id="{E79ADC5F-3CE4-4DCA-9455-34BFD55C3EB5}"/>
                </a:ext>
              </a:extLst>
            </p:cNvPr>
            <p:cNvSpPr/>
            <p:nvPr/>
          </p:nvSpPr>
          <p:spPr>
            <a:xfrm>
              <a:off x="1986340" y="2002361"/>
              <a:ext cx="1595541" cy="425170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01.</a:t>
              </a: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id-ID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iṡlidé">
              <a:extLst>
                <a:ext uri="{FF2B5EF4-FFF2-40B4-BE49-F238E27FC236}">
                  <a16:creationId xmlns:a16="http://schemas.microsoft.com/office/drawing/2014/main" id="{D8E8F06D-75BE-4EF4-AD6B-F81B1A0215F6}"/>
                </a:ext>
              </a:extLst>
            </p:cNvPr>
            <p:cNvSpPr/>
            <p:nvPr/>
          </p:nvSpPr>
          <p:spPr bwMode="auto">
            <a:xfrm>
              <a:off x="1986340" y="2427531"/>
              <a:ext cx="1595541" cy="1581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cs typeface="+mn-ea"/>
                  <a:sym typeface="+mn-lt"/>
                </a:rPr>
                <a:t>Enter your text information here</a:t>
              </a:r>
              <a:endParaRPr lang="en-US" altLang="zh-CN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3" name="íṩlîḋe">
            <a:extLst>
              <a:ext uri="{FF2B5EF4-FFF2-40B4-BE49-F238E27FC236}">
                <a16:creationId xmlns:a16="http://schemas.microsoft.com/office/drawing/2014/main" id="{4B318825-E06B-40E6-8DA9-9D9F04E016F5}"/>
              </a:ext>
            </a:extLst>
          </p:cNvPr>
          <p:cNvGrpSpPr/>
          <p:nvPr/>
        </p:nvGrpSpPr>
        <p:grpSpPr>
          <a:xfrm>
            <a:off x="4063312" y="2768685"/>
            <a:ext cx="1706771" cy="2006682"/>
            <a:chOff x="1986340" y="2002361"/>
            <a:chExt cx="1595541" cy="2006682"/>
          </a:xfrm>
        </p:grpSpPr>
        <p:sp>
          <p:nvSpPr>
            <p:cNvPr id="24" name="í$ľîďê">
              <a:extLst>
                <a:ext uri="{FF2B5EF4-FFF2-40B4-BE49-F238E27FC236}">
                  <a16:creationId xmlns:a16="http://schemas.microsoft.com/office/drawing/2014/main" id="{784CCA66-A3BD-4C00-8E98-9F19B5129E23}"/>
                </a:ext>
              </a:extLst>
            </p:cNvPr>
            <p:cNvSpPr/>
            <p:nvPr/>
          </p:nvSpPr>
          <p:spPr>
            <a:xfrm>
              <a:off x="1986340" y="2002361"/>
              <a:ext cx="1595541" cy="425170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02.</a:t>
              </a: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id-ID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i$ľíḍe">
              <a:extLst>
                <a:ext uri="{FF2B5EF4-FFF2-40B4-BE49-F238E27FC236}">
                  <a16:creationId xmlns:a16="http://schemas.microsoft.com/office/drawing/2014/main" id="{FD17362C-96A9-472B-B9F9-E6D05EBA9D54}"/>
                </a:ext>
              </a:extLst>
            </p:cNvPr>
            <p:cNvSpPr/>
            <p:nvPr/>
          </p:nvSpPr>
          <p:spPr bwMode="auto">
            <a:xfrm>
              <a:off x="1986340" y="2427531"/>
              <a:ext cx="1595541" cy="1581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cs typeface="+mn-ea"/>
                  <a:sym typeface="+mn-lt"/>
                </a:rPr>
                <a:t>Enter your text information here</a:t>
              </a:r>
              <a:endParaRPr lang="en-US" altLang="zh-CN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6" name="î$ľíḑe">
            <a:extLst>
              <a:ext uri="{FF2B5EF4-FFF2-40B4-BE49-F238E27FC236}">
                <a16:creationId xmlns:a16="http://schemas.microsoft.com/office/drawing/2014/main" id="{23B5AA9F-2233-4C4A-821E-5E31BF6AEFB3}"/>
              </a:ext>
            </a:extLst>
          </p:cNvPr>
          <p:cNvGrpSpPr/>
          <p:nvPr/>
        </p:nvGrpSpPr>
        <p:grpSpPr>
          <a:xfrm>
            <a:off x="6178468" y="2874044"/>
            <a:ext cx="1706771" cy="2006682"/>
            <a:chOff x="1986340" y="2002361"/>
            <a:chExt cx="1595541" cy="2006682"/>
          </a:xfrm>
        </p:grpSpPr>
        <p:sp>
          <p:nvSpPr>
            <p:cNvPr id="27" name="ïṥḷîḓê">
              <a:extLst>
                <a:ext uri="{FF2B5EF4-FFF2-40B4-BE49-F238E27FC236}">
                  <a16:creationId xmlns:a16="http://schemas.microsoft.com/office/drawing/2014/main" id="{118743A8-77D7-4968-8CED-24C10907D2DB}"/>
                </a:ext>
              </a:extLst>
            </p:cNvPr>
            <p:cNvSpPr/>
            <p:nvPr/>
          </p:nvSpPr>
          <p:spPr>
            <a:xfrm>
              <a:off x="1986340" y="2002361"/>
              <a:ext cx="1595541" cy="425170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03.</a:t>
              </a: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id-ID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ïṧľïdê">
              <a:extLst>
                <a:ext uri="{FF2B5EF4-FFF2-40B4-BE49-F238E27FC236}">
                  <a16:creationId xmlns:a16="http://schemas.microsoft.com/office/drawing/2014/main" id="{2BA42B1D-63ED-4D11-B9D7-8D73542829C9}"/>
                </a:ext>
              </a:extLst>
            </p:cNvPr>
            <p:cNvSpPr/>
            <p:nvPr/>
          </p:nvSpPr>
          <p:spPr bwMode="auto">
            <a:xfrm>
              <a:off x="1986340" y="2427531"/>
              <a:ext cx="1595541" cy="1581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cs typeface="+mn-ea"/>
                  <a:sym typeface="+mn-lt"/>
                </a:rPr>
                <a:t>Enter your text information here</a:t>
              </a:r>
              <a:endParaRPr lang="en-US" altLang="zh-CN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9" name="îšľíďé">
            <a:extLst>
              <a:ext uri="{FF2B5EF4-FFF2-40B4-BE49-F238E27FC236}">
                <a16:creationId xmlns:a16="http://schemas.microsoft.com/office/drawing/2014/main" id="{AD815994-5265-4F94-BFAA-220DD110F3B6}"/>
              </a:ext>
            </a:extLst>
          </p:cNvPr>
          <p:cNvGrpSpPr/>
          <p:nvPr/>
        </p:nvGrpSpPr>
        <p:grpSpPr>
          <a:xfrm>
            <a:off x="8294418" y="2768685"/>
            <a:ext cx="1706771" cy="2006682"/>
            <a:chOff x="1986340" y="2002361"/>
            <a:chExt cx="1595541" cy="2006682"/>
          </a:xfrm>
        </p:grpSpPr>
        <p:sp>
          <p:nvSpPr>
            <p:cNvPr id="30" name="íṧlïḓê">
              <a:extLst>
                <a:ext uri="{FF2B5EF4-FFF2-40B4-BE49-F238E27FC236}">
                  <a16:creationId xmlns:a16="http://schemas.microsoft.com/office/drawing/2014/main" id="{EA735C94-7E55-4DFE-8F63-98FBCAD0ADA6}"/>
                </a:ext>
              </a:extLst>
            </p:cNvPr>
            <p:cNvSpPr/>
            <p:nvPr/>
          </p:nvSpPr>
          <p:spPr>
            <a:xfrm>
              <a:off x="1986340" y="2002361"/>
              <a:ext cx="1595541" cy="425170"/>
            </a:xfrm>
            <a:prstGeom prst="rect">
              <a:avLst/>
            </a:prstGeom>
            <a:noFill/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r>
                <a:rPr lang="en-US" altLang="zh-CN" sz="1400" b="1" dirty="0">
                  <a:solidFill>
                    <a:schemeClr val="bg1"/>
                  </a:solidFill>
                  <a:cs typeface="+mn-ea"/>
                  <a:sym typeface="+mn-lt"/>
                </a:rPr>
                <a:t>04.</a:t>
              </a: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id-ID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îṩļïdè">
              <a:extLst>
                <a:ext uri="{FF2B5EF4-FFF2-40B4-BE49-F238E27FC236}">
                  <a16:creationId xmlns:a16="http://schemas.microsoft.com/office/drawing/2014/main" id="{9F9D00F7-907A-4EB6-A782-9B5C958065E5}"/>
                </a:ext>
              </a:extLst>
            </p:cNvPr>
            <p:cNvSpPr/>
            <p:nvPr/>
          </p:nvSpPr>
          <p:spPr bwMode="auto">
            <a:xfrm>
              <a:off x="1986340" y="2427531"/>
              <a:ext cx="1595541" cy="15815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zh-CN" altLang="en-US" sz="1200" dirty="0">
                  <a:solidFill>
                    <a:schemeClr val="bg1"/>
                  </a:solidFill>
                  <a:cs typeface="+mn-ea"/>
                  <a:sym typeface="+mn-lt"/>
                </a:rPr>
                <a:t>Enter your text information here</a:t>
              </a:r>
              <a:endParaRPr lang="en-US" altLang="zh-CN" sz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93815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250"/>
                            </p:stCondLst>
                            <p:childTnLst>
                              <p:par>
                                <p:cTn id="38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000"/>
                            </p:stCondLst>
                            <p:childTnLst>
                              <p:par>
                                <p:cTn id="4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750"/>
                            </p:stCondLst>
                            <p:childTnLst>
                              <p:par>
                                <p:cTn id="4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8250"/>
                            </p:stCondLst>
                            <p:childTnLst>
                              <p:par>
                                <p:cTn id="60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16" grpId="0" animBg="1"/>
      <p:bldP spid="17" grpId="0" animBg="1"/>
      <p:bldP spid="18" grpId="0" animBg="1"/>
      <p:bldP spid="1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5523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Plan for the futur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4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5" name="i$1iḓè">
            <a:extLst>
              <a:ext uri="{FF2B5EF4-FFF2-40B4-BE49-F238E27FC236}">
                <a16:creationId xmlns:a16="http://schemas.microsoft.com/office/drawing/2014/main" id="{054A8E6F-3C93-4EA9-A6D6-9B7BF8292E2B}"/>
              </a:ext>
            </a:extLst>
          </p:cNvPr>
          <p:cNvGrpSpPr/>
          <p:nvPr/>
        </p:nvGrpSpPr>
        <p:grpSpPr>
          <a:xfrm>
            <a:off x="0" y="4208272"/>
            <a:ext cx="12284242" cy="3515997"/>
            <a:chOff x="0" y="3342003"/>
            <a:chExt cx="12284242" cy="3515997"/>
          </a:xfrm>
        </p:grpSpPr>
        <p:sp>
          <p:nvSpPr>
            <p:cNvPr id="6" name="íṣḷíḑé">
              <a:extLst>
                <a:ext uri="{FF2B5EF4-FFF2-40B4-BE49-F238E27FC236}">
                  <a16:creationId xmlns:a16="http://schemas.microsoft.com/office/drawing/2014/main" id="{4B108172-50CD-434B-8870-711A8A194D8E}"/>
                </a:ext>
              </a:extLst>
            </p:cNvPr>
            <p:cNvSpPr/>
            <p:nvPr/>
          </p:nvSpPr>
          <p:spPr>
            <a:xfrm flipH="1">
              <a:off x="0" y="3342003"/>
              <a:ext cx="12284242" cy="2626997"/>
            </a:xfrm>
            <a:custGeom>
              <a:avLst/>
              <a:gdLst>
                <a:gd name="connsiteX0" fmla="*/ 8748491 w 12192000"/>
                <a:gd name="connsiteY0" fmla="*/ 1233 h 2626997"/>
                <a:gd name="connsiteX1" fmla="*/ 9144000 w 12192000"/>
                <a:gd name="connsiteY1" fmla="*/ 24961 h 2626997"/>
                <a:gd name="connsiteX2" fmla="*/ 12012914 w 12192000"/>
                <a:gd name="connsiteY2" fmla="*/ 498775 h 2626997"/>
                <a:gd name="connsiteX3" fmla="*/ 12192000 w 12192000"/>
                <a:gd name="connsiteY3" fmla="*/ 536959 h 2626997"/>
                <a:gd name="connsiteX4" fmla="*/ 12192000 w 12192000"/>
                <a:gd name="connsiteY4" fmla="*/ 1894026 h 2626997"/>
                <a:gd name="connsiteX5" fmla="*/ 12192000 w 12192000"/>
                <a:gd name="connsiteY5" fmla="*/ 2104484 h 2626997"/>
                <a:gd name="connsiteX6" fmla="*/ 12192000 w 12192000"/>
                <a:gd name="connsiteY6" fmla="*/ 2626997 h 2626997"/>
                <a:gd name="connsiteX7" fmla="*/ 0 w 12192000"/>
                <a:gd name="connsiteY7" fmla="*/ 2626997 h 2626997"/>
                <a:gd name="connsiteX8" fmla="*/ 0 w 12192000"/>
                <a:gd name="connsiteY8" fmla="*/ 2104484 h 2626997"/>
                <a:gd name="connsiteX9" fmla="*/ 0 w 12192000"/>
                <a:gd name="connsiteY9" fmla="*/ 1894026 h 2626997"/>
                <a:gd name="connsiteX10" fmla="*/ 0 w 12192000"/>
                <a:gd name="connsiteY10" fmla="*/ 222829 h 2626997"/>
                <a:gd name="connsiteX11" fmla="*/ 308035 w 12192000"/>
                <a:gd name="connsiteY11" fmla="*/ 272447 h 2626997"/>
                <a:gd name="connsiteX12" fmla="*/ 4306531 w 12192000"/>
                <a:gd name="connsiteY12" fmla="*/ 1057349 h 2626997"/>
                <a:gd name="connsiteX13" fmla="*/ 8748491 w 12192000"/>
                <a:gd name="connsiteY13" fmla="*/ 1233 h 2626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192000" h="2626997">
                  <a:moveTo>
                    <a:pt x="8748491" y="1233"/>
                  </a:moveTo>
                  <a:cubicBezTo>
                    <a:pt x="8875898" y="4049"/>
                    <a:pt x="9007578" y="11749"/>
                    <a:pt x="9144000" y="24961"/>
                  </a:cubicBezTo>
                  <a:cubicBezTo>
                    <a:pt x="9826113" y="91022"/>
                    <a:pt x="10881736" y="266063"/>
                    <a:pt x="12012914" y="498775"/>
                  </a:cubicBezTo>
                  <a:lnTo>
                    <a:pt x="12192000" y="536959"/>
                  </a:lnTo>
                  <a:lnTo>
                    <a:pt x="12192000" y="1894026"/>
                  </a:lnTo>
                  <a:lnTo>
                    <a:pt x="12192000" y="2104484"/>
                  </a:lnTo>
                  <a:lnTo>
                    <a:pt x="12192000" y="2626997"/>
                  </a:lnTo>
                  <a:lnTo>
                    <a:pt x="0" y="2626997"/>
                  </a:lnTo>
                  <a:lnTo>
                    <a:pt x="0" y="2104484"/>
                  </a:lnTo>
                  <a:lnTo>
                    <a:pt x="0" y="1894026"/>
                  </a:lnTo>
                  <a:lnTo>
                    <a:pt x="0" y="222829"/>
                  </a:lnTo>
                  <a:lnTo>
                    <a:pt x="308035" y="272447"/>
                  </a:lnTo>
                  <a:cubicBezTo>
                    <a:pt x="1509291" y="495451"/>
                    <a:pt x="3147245" y="1087768"/>
                    <a:pt x="4306531" y="1057349"/>
                  </a:cubicBezTo>
                  <a:cubicBezTo>
                    <a:pt x="5887373" y="1015870"/>
                    <a:pt x="6837377" y="-41003"/>
                    <a:pt x="8748491" y="1233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6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id-ID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7" name="ïṩḻíḑe">
              <a:extLst>
                <a:ext uri="{FF2B5EF4-FFF2-40B4-BE49-F238E27FC236}">
                  <a16:creationId xmlns:a16="http://schemas.microsoft.com/office/drawing/2014/main" id="{00884A1E-98B0-48F5-9FA6-FBA20368669E}"/>
                </a:ext>
              </a:extLst>
            </p:cNvPr>
            <p:cNvSpPr/>
            <p:nvPr/>
          </p:nvSpPr>
          <p:spPr>
            <a:xfrm>
              <a:off x="0" y="3342003"/>
              <a:ext cx="12284242" cy="3515997"/>
            </a:xfrm>
            <a:custGeom>
              <a:avLst/>
              <a:gdLst>
                <a:gd name="connsiteX0" fmla="*/ 8748491 w 12192000"/>
                <a:gd name="connsiteY0" fmla="*/ 1233 h 3515997"/>
                <a:gd name="connsiteX1" fmla="*/ 9144000 w 12192000"/>
                <a:gd name="connsiteY1" fmla="*/ 24961 h 3515997"/>
                <a:gd name="connsiteX2" fmla="*/ 12012914 w 12192000"/>
                <a:gd name="connsiteY2" fmla="*/ 498775 h 3515997"/>
                <a:gd name="connsiteX3" fmla="*/ 12192000 w 12192000"/>
                <a:gd name="connsiteY3" fmla="*/ 536959 h 3515997"/>
                <a:gd name="connsiteX4" fmla="*/ 12192000 w 12192000"/>
                <a:gd name="connsiteY4" fmla="*/ 1894026 h 3515997"/>
                <a:gd name="connsiteX5" fmla="*/ 12192000 w 12192000"/>
                <a:gd name="connsiteY5" fmla="*/ 2104484 h 3515997"/>
                <a:gd name="connsiteX6" fmla="*/ 12192000 w 12192000"/>
                <a:gd name="connsiteY6" fmla="*/ 2626997 h 3515997"/>
                <a:gd name="connsiteX7" fmla="*/ 12192000 w 12192000"/>
                <a:gd name="connsiteY7" fmla="*/ 3515997 h 3515997"/>
                <a:gd name="connsiteX8" fmla="*/ 0 w 12192000"/>
                <a:gd name="connsiteY8" fmla="*/ 3515997 h 3515997"/>
                <a:gd name="connsiteX9" fmla="*/ 0 w 12192000"/>
                <a:gd name="connsiteY9" fmla="*/ 2626997 h 3515997"/>
                <a:gd name="connsiteX10" fmla="*/ 0 w 12192000"/>
                <a:gd name="connsiteY10" fmla="*/ 2104484 h 3515997"/>
                <a:gd name="connsiteX11" fmla="*/ 0 w 12192000"/>
                <a:gd name="connsiteY11" fmla="*/ 1894026 h 3515997"/>
                <a:gd name="connsiteX12" fmla="*/ 0 w 12192000"/>
                <a:gd name="connsiteY12" fmla="*/ 222829 h 3515997"/>
                <a:gd name="connsiteX13" fmla="*/ 308035 w 12192000"/>
                <a:gd name="connsiteY13" fmla="*/ 272447 h 3515997"/>
                <a:gd name="connsiteX14" fmla="*/ 4306531 w 12192000"/>
                <a:gd name="connsiteY14" fmla="*/ 1057349 h 3515997"/>
                <a:gd name="connsiteX15" fmla="*/ 8748491 w 12192000"/>
                <a:gd name="connsiteY15" fmla="*/ 1233 h 3515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3515997">
                  <a:moveTo>
                    <a:pt x="8748491" y="1233"/>
                  </a:moveTo>
                  <a:cubicBezTo>
                    <a:pt x="8875898" y="4049"/>
                    <a:pt x="9007578" y="11749"/>
                    <a:pt x="9144000" y="24961"/>
                  </a:cubicBezTo>
                  <a:cubicBezTo>
                    <a:pt x="9826113" y="91022"/>
                    <a:pt x="10881736" y="266063"/>
                    <a:pt x="12012914" y="498775"/>
                  </a:cubicBezTo>
                  <a:lnTo>
                    <a:pt x="12192000" y="536959"/>
                  </a:lnTo>
                  <a:lnTo>
                    <a:pt x="12192000" y="1894026"/>
                  </a:lnTo>
                  <a:lnTo>
                    <a:pt x="12192000" y="2104484"/>
                  </a:lnTo>
                  <a:lnTo>
                    <a:pt x="12192000" y="2626997"/>
                  </a:lnTo>
                  <a:lnTo>
                    <a:pt x="12192000" y="3515997"/>
                  </a:lnTo>
                  <a:lnTo>
                    <a:pt x="0" y="3515997"/>
                  </a:lnTo>
                  <a:lnTo>
                    <a:pt x="0" y="2626997"/>
                  </a:lnTo>
                  <a:lnTo>
                    <a:pt x="0" y="2104484"/>
                  </a:lnTo>
                  <a:lnTo>
                    <a:pt x="0" y="1894026"/>
                  </a:lnTo>
                  <a:lnTo>
                    <a:pt x="0" y="222829"/>
                  </a:lnTo>
                  <a:lnTo>
                    <a:pt x="308035" y="272447"/>
                  </a:lnTo>
                  <a:cubicBezTo>
                    <a:pt x="1509291" y="495451"/>
                    <a:pt x="3147245" y="1087768"/>
                    <a:pt x="4306531" y="1057349"/>
                  </a:cubicBezTo>
                  <a:cubicBezTo>
                    <a:pt x="5887373" y="1015870"/>
                    <a:pt x="6837377" y="-41003"/>
                    <a:pt x="8748491" y="1233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noFill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id-ID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8" name="ïṣ1îḋè">
            <a:extLst>
              <a:ext uri="{FF2B5EF4-FFF2-40B4-BE49-F238E27FC236}">
                <a16:creationId xmlns:a16="http://schemas.microsoft.com/office/drawing/2014/main" id="{73E5BA01-9B29-4F0D-9F64-8E5ED7F5FB9C}"/>
              </a:ext>
            </a:extLst>
          </p:cNvPr>
          <p:cNvGrpSpPr/>
          <p:nvPr/>
        </p:nvGrpSpPr>
        <p:grpSpPr>
          <a:xfrm>
            <a:off x="1236210" y="4534410"/>
            <a:ext cx="550418" cy="550418"/>
            <a:chOff x="1428750" y="3524250"/>
            <a:chExt cx="800100" cy="800100"/>
          </a:xfrm>
        </p:grpSpPr>
        <p:sp>
          <p:nvSpPr>
            <p:cNvPr id="9" name="îŝlïďé">
              <a:extLst>
                <a:ext uri="{FF2B5EF4-FFF2-40B4-BE49-F238E27FC236}">
                  <a16:creationId xmlns:a16="http://schemas.microsoft.com/office/drawing/2014/main" id="{608AA322-3D91-4881-95DF-9F69DEA7B6C2}"/>
                </a:ext>
              </a:extLst>
            </p:cNvPr>
            <p:cNvSpPr/>
            <p:nvPr/>
          </p:nvSpPr>
          <p:spPr>
            <a:xfrm>
              <a:off x="1428750" y="3524250"/>
              <a:ext cx="800100" cy="800100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íṡļïdé">
              <a:extLst>
                <a:ext uri="{FF2B5EF4-FFF2-40B4-BE49-F238E27FC236}">
                  <a16:creationId xmlns:a16="http://schemas.microsoft.com/office/drawing/2014/main" id="{7B75E433-21D3-4B7E-93DA-4530861C441E}"/>
                </a:ext>
              </a:extLst>
            </p:cNvPr>
            <p:cNvSpPr/>
            <p:nvPr/>
          </p:nvSpPr>
          <p:spPr>
            <a:xfrm>
              <a:off x="1619250" y="3737557"/>
              <a:ext cx="419100" cy="37348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1" name="îṧ1íďê">
            <a:extLst>
              <a:ext uri="{FF2B5EF4-FFF2-40B4-BE49-F238E27FC236}">
                <a16:creationId xmlns:a16="http://schemas.microsoft.com/office/drawing/2014/main" id="{79B984D6-F84D-4B60-9437-56D06B61938C}"/>
              </a:ext>
            </a:extLst>
          </p:cNvPr>
          <p:cNvGrpSpPr/>
          <p:nvPr/>
        </p:nvGrpSpPr>
        <p:grpSpPr>
          <a:xfrm>
            <a:off x="660400" y="2640387"/>
            <a:ext cx="1702037" cy="985298"/>
            <a:chOff x="8661000" y="1781570"/>
            <a:chExt cx="2295000" cy="916837"/>
          </a:xfrm>
        </p:grpSpPr>
        <p:sp>
          <p:nvSpPr>
            <p:cNvPr id="12" name="ïŝļïḍê">
              <a:extLst>
                <a:ext uri="{FF2B5EF4-FFF2-40B4-BE49-F238E27FC236}">
                  <a16:creationId xmlns:a16="http://schemas.microsoft.com/office/drawing/2014/main" id="{1A9B4ACA-CB1E-4899-84DC-EDA7CB539BA7}"/>
                </a:ext>
              </a:extLst>
            </p:cNvPr>
            <p:cNvSpPr txBox="1"/>
            <p:nvPr/>
          </p:nvSpPr>
          <p:spPr>
            <a:xfrm>
              <a:off x="8661000" y="1781570"/>
              <a:ext cx="229500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01.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Enter the tit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3" name="îṡliḋe">
              <a:extLst>
                <a:ext uri="{FF2B5EF4-FFF2-40B4-BE49-F238E27FC236}">
                  <a16:creationId xmlns:a16="http://schemas.microsoft.com/office/drawing/2014/main" id="{E5555A71-3753-4DAF-B71D-035C7C11660F}"/>
                </a:ext>
              </a:extLst>
            </p:cNvPr>
            <p:cNvSpPr txBox="1"/>
            <p:nvPr/>
          </p:nvSpPr>
          <p:spPr>
            <a:xfrm>
              <a:off x="8661000" y="2174082"/>
              <a:ext cx="2295000" cy="5243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Please enter your text message here, please be concise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B564A624-BCC3-4810-8A88-E9A2BEDC8CD3}"/>
              </a:ext>
            </a:extLst>
          </p:cNvPr>
          <p:cNvCxnSpPr>
            <a:stCxn id="9" idx="0"/>
            <a:endCxn id="13" idx="2"/>
          </p:cNvCxnSpPr>
          <p:nvPr/>
        </p:nvCxnSpPr>
        <p:spPr>
          <a:xfrm flipV="1">
            <a:off x="1511419" y="3625685"/>
            <a:ext cx="0" cy="9087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iŝliḍè">
            <a:extLst>
              <a:ext uri="{FF2B5EF4-FFF2-40B4-BE49-F238E27FC236}">
                <a16:creationId xmlns:a16="http://schemas.microsoft.com/office/drawing/2014/main" id="{0CF81A6B-FCBF-4D5B-923D-2A34FFC7FA4C}"/>
              </a:ext>
            </a:extLst>
          </p:cNvPr>
          <p:cNvGrpSpPr/>
          <p:nvPr/>
        </p:nvGrpSpPr>
        <p:grpSpPr>
          <a:xfrm>
            <a:off x="5814442" y="4574730"/>
            <a:ext cx="550418" cy="550418"/>
            <a:chOff x="1428750" y="3524250"/>
            <a:chExt cx="800100" cy="800100"/>
          </a:xfrm>
        </p:grpSpPr>
        <p:sp>
          <p:nvSpPr>
            <p:cNvPr id="16" name="íṡ1îḓê">
              <a:extLst>
                <a:ext uri="{FF2B5EF4-FFF2-40B4-BE49-F238E27FC236}">
                  <a16:creationId xmlns:a16="http://schemas.microsoft.com/office/drawing/2014/main" id="{588C344F-1376-43F6-B96F-C506FDA49C66}"/>
                </a:ext>
              </a:extLst>
            </p:cNvPr>
            <p:cNvSpPr/>
            <p:nvPr/>
          </p:nvSpPr>
          <p:spPr>
            <a:xfrm>
              <a:off x="1428750" y="3524250"/>
              <a:ext cx="800100" cy="800100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íṡḷíde">
              <a:extLst>
                <a:ext uri="{FF2B5EF4-FFF2-40B4-BE49-F238E27FC236}">
                  <a16:creationId xmlns:a16="http://schemas.microsoft.com/office/drawing/2014/main" id="{1CB6F522-CC5C-45C3-8E69-771DD6A37A96}"/>
                </a:ext>
              </a:extLst>
            </p:cNvPr>
            <p:cNvSpPr/>
            <p:nvPr/>
          </p:nvSpPr>
          <p:spPr>
            <a:xfrm>
              <a:off x="1619250" y="3737557"/>
              <a:ext cx="419100" cy="37348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8" name="íSļïḍê">
            <a:extLst>
              <a:ext uri="{FF2B5EF4-FFF2-40B4-BE49-F238E27FC236}">
                <a16:creationId xmlns:a16="http://schemas.microsoft.com/office/drawing/2014/main" id="{0B5771BE-F087-4189-8D96-ECE112FDD92C}"/>
              </a:ext>
            </a:extLst>
          </p:cNvPr>
          <p:cNvGrpSpPr/>
          <p:nvPr/>
        </p:nvGrpSpPr>
        <p:grpSpPr>
          <a:xfrm>
            <a:off x="5238632" y="2680707"/>
            <a:ext cx="1702037" cy="985298"/>
            <a:chOff x="8661000" y="1781570"/>
            <a:chExt cx="2295000" cy="916837"/>
          </a:xfrm>
        </p:grpSpPr>
        <p:sp>
          <p:nvSpPr>
            <p:cNvPr id="19" name="íṩḻîḋè">
              <a:extLst>
                <a:ext uri="{FF2B5EF4-FFF2-40B4-BE49-F238E27FC236}">
                  <a16:creationId xmlns:a16="http://schemas.microsoft.com/office/drawing/2014/main" id="{5784DEDE-022C-4B95-AF13-4DE120E18AC9}"/>
                </a:ext>
              </a:extLst>
            </p:cNvPr>
            <p:cNvSpPr txBox="1"/>
            <p:nvPr/>
          </p:nvSpPr>
          <p:spPr>
            <a:xfrm>
              <a:off x="8661000" y="1781570"/>
              <a:ext cx="229500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03.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Enter the tit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0" name="îṩļiḓê">
              <a:extLst>
                <a:ext uri="{FF2B5EF4-FFF2-40B4-BE49-F238E27FC236}">
                  <a16:creationId xmlns:a16="http://schemas.microsoft.com/office/drawing/2014/main" id="{8268D900-F4FD-4A01-BD1B-CFC5BFB3984C}"/>
                </a:ext>
              </a:extLst>
            </p:cNvPr>
            <p:cNvSpPr txBox="1"/>
            <p:nvPr/>
          </p:nvSpPr>
          <p:spPr>
            <a:xfrm>
              <a:off x="8661000" y="2174082"/>
              <a:ext cx="2295000" cy="5243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Please enter your text message here, please be concise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5A485C65-2061-4F69-9950-D5B2BD80D3C8}"/>
              </a:ext>
            </a:extLst>
          </p:cNvPr>
          <p:cNvCxnSpPr>
            <a:stCxn id="16" idx="0"/>
            <a:endCxn id="20" idx="2"/>
          </p:cNvCxnSpPr>
          <p:nvPr/>
        </p:nvCxnSpPr>
        <p:spPr>
          <a:xfrm flipV="1">
            <a:off x="6089651" y="3666005"/>
            <a:ext cx="0" cy="9087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iṧľïḓe">
            <a:extLst>
              <a:ext uri="{FF2B5EF4-FFF2-40B4-BE49-F238E27FC236}">
                <a16:creationId xmlns:a16="http://schemas.microsoft.com/office/drawing/2014/main" id="{EDA9424D-76E9-46C5-855F-3CA2AD3A33EA}"/>
              </a:ext>
            </a:extLst>
          </p:cNvPr>
          <p:cNvGrpSpPr/>
          <p:nvPr/>
        </p:nvGrpSpPr>
        <p:grpSpPr>
          <a:xfrm>
            <a:off x="3525326" y="4971352"/>
            <a:ext cx="550418" cy="550418"/>
            <a:chOff x="1428750" y="3524250"/>
            <a:chExt cx="800100" cy="800100"/>
          </a:xfrm>
        </p:grpSpPr>
        <p:sp>
          <p:nvSpPr>
            <p:cNvPr id="23" name="iS1iḑe">
              <a:extLst>
                <a:ext uri="{FF2B5EF4-FFF2-40B4-BE49-F238E27FC236}">
                  <a16:creationId xmlns:a16="http://schemas.microsoft.com/office/drawing/2014/main" id="{89E933AA-413D-411F-8D94-91B6F7E821B8}"/>
                </a:ext>
              </a:extLst>
            </p:cNvPr>
            <p:cNvSpPr/>
            <p:nvPr/>
          </p:nvSpPr>
          <p:spPr>
            <a:xfrm>
              <a:off x="1428750" y="3524250"/>
              <a:ext cx="800100" cy="8001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4" name="ïṥľiḍé">
              <a:extLst>
                <a:ext uri="{FF2B5EF4-FFF2-40B4-BE49-F238E27FC236}">
                  <a16:creationId xmlns:a16="http://schemas.microsoft.com/office/drawing/2014/main" id="{90B18186-4CDA-460F-BE1D-F7EEDA7849C2}"/>
                </a:ext>
              </a:extLst>
            </p:cNvPr>
            <p:cNvSpPr/>
            <p:nvPr/>
          </p:nvSpPr>
          <p:spPr>
            <a:xfrm>
              <a:off x="1619250" y="3737557"/>
              <a:ext cx="419100" cy="37348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accent1"/>
            </a:solidFill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5" name="isḻiḋè">
            <a:extLst>
              <a:ext uri="{FF2B5EF4-FFF2-40B4-BE49-F238E27FC236}">
                <a16:creationId xmlns:a16="http://schemas.microsoft.com/office/drawing/2014/main" id="{98ECC575-704C-4F45-8FCB-FE02EA4A1FC6}"/>
              </a:ext>
            </a:extLst>
          </p:cNvPr>
          <p:cNvGrpSpPr/>
          <p:nvPr/>
        </p:nvGrpSpPr>
        <p:grpSpPr>
          <a:xfrm>
            <a:off x="2949516" y="3077329"/>
            <a:ext cx="1702037" cy="985298"/>
            <a:chOff x="8661000" y="1781570"/>
            <a:chExt cx="2295000" cy="916837"/>
          </a:xfrm>
        </p:grpSpPr>
        <p:sp>
          <p:nvSpPr>
            <p:cNvPr id="26" name="íṧļîḍê">
              <a:extLst>
                <a:ext uri="{FF2B5EF4-FFF2-40B4-BE49-F238E27FC236}">
                  <a16:creationId xmlns:a16="http://schemas.microsoft.com/office/drawing/2014/main" id="{86EF2ADC-09B0-409A-B23D-8C2098502F99}"/>
                </a:ext>
              </a:extLst>
            </p:cNvPr>
            <p:cNvSpPr txBox="1"/>
            <p:nvPr/>
          </p:nvSpPr>
          <p:spPr>
            <a:xfrm>
              <a:off x="8661000" y="1781570"/>
              <a:ext cx="229500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02.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Enter the tit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27" name="ïṩļíḑê">
              <a:extLst>
                <a:ext uri="{FF2B5EF4-FFF2-40B4-BE49-F238E27FC236}">
                  <a16:creationId xmlns:a16="http://schemas.microsoft.com/office/drawing/2014/main" id="{F97F7E7D-BEB4-4D50-941C-87C40758E64D}"/>
                </a:ext>
              </a:extLst>
            </p:cNvPr>
            <p:cNvSpPr txBox="1"/>
            <p:nvPr/>
          </p:nvSpPr>
          <p:spPr>
            <a:xfrm>
              <a:off x="8661000" y="2174082"/>
              <a:ext cx="2295000" cy="5243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Please enter your text message here, please be concise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28" name="直接连接符 27">
            <a:extLst>
              <a:ext uri="{FF2B5EF4-FFF2-40B4-BE49-F238E27FC236}">
                <a16:creationId xmlns:a16="http://schemas.microsoft.com/office/drawing/2014/main" id="{A3474611-4AF8-452C-85A9-48EC410BFBA5}"/>
              </a:ext>
            </a:extLst>
          </p:cNvPr>
          <p:cNvCxnSpPr>
            <a:stCxn id="23" idx="0"/>
            <a:endCxn id="27" idx="2"/>
          </p:cNvCxnSpPr>
          <p:nvPr/>
        </p:nvCxnSpPr>
        <p:spPr>
          <a:xfrm flipV="1">
            <a:off x="3800535" y="4062627"/>
            <a:ext cx="0" cy="9087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íṥḷïďê">
            <a:extLst>
              <a:ext uri="{FF2B5EF4-FFF2-40B4-BE49-F238E27FC236}">
                <a16:creationId xmlns:a16="http://schemas.microsoft.com/office/drawing/2014/main" id="{9D0B6D0E-9171-45B0-8FB9-B181608C553E}"/>
              </a:ext>
            </a:extLst>
          </p:cNvPr>
          <p:cNvGrpSpPr/>
          <p:nvPr/>
        </p:nvGrpSpPr>
        <p:grpSpPr>
          <a:xfrm>
            <a:off x="8103558" y="3890592"/>
            <a:ext cx="550418" cy="550418"/>
            <a:chOff x="1428750" y="3524250"/>
            <a:chExt cx="800100" cy="800100"/>
          </a:xfrm>
        </p:grpSpPr>
        <p:sp>
          <p:nvSpPr>
            <p:cNvPr id="30" name="ï$1ïḍê">
              <a:extLst>
                <a:ext uri="{FF2B5EF4-FFF2-40B4-BE49-F238E27FC236}">
                  <a16:creationId xmlns:a16="http://schemas.microsoft.com/office/drawing/2014/main" id="{E99284A6-ECB7-47A7-91AD-4E3D0958136F}"/>
                </a:ext>
              </a:extLst>
            </p:cNvPr>
            <p:cNvSpPr/>
            <p:nvPr/>
          </p:nvSpPr>
          <p:spPr>
            <a:xfrm>
              <a:off x="1428750" y="3524250"/>
              <a:ext cx="800100" cy="8001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îśḷiḑé">
              <a:extLst>
                <a:ext uri="{FF2B5EF4-FFF2-40B4-BE49-F238E27FC236}">
                  <a16:creationId xmlns:a16="http://schemas.microsoft.com/office/drawing/2014/main" id="{10487735-E1F9-4EEE-B5A9-09C64B1E9892}"/>
                </a:ext>
              </a:extLst>
            </p:cNvPr>
            <p:cNvSpPr/>
            <p:nvPr/>
          </p:nvSpPr>
          <p:spPr>
            <a:xfrm>
              <a:off x="1619250" y="3737557"/>
              <a:ext cx="419100" cy="37348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accent1"/>
            </a:solidFill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2" name="iṥľíḓê">
            <a:extLst>
              <a:ext uri="{FF2B5EF4-FFF2-40B4-BE49-F238E27FC236}">
                <a16:creationId xmlns:a16="http://schemas.microsoft.com/office/drawing/2014/main" id="{8910E277-66D1-4AD9-9D51-B415591E6C97}"/>
              </a:ext>
            </a:extLst>
          </p:cNvPr>
          <p:cNvGrpSpPr/>
          <p:nvPr/>
        </p:nvGrpSpPr>
        <p:grpSpPr>
          <a:xfrm>
            <a:off x="7527748" y="1996569"/>
            <a:ext cx="1702037" cy="985298"/>
            <a:chOff x="8661000" y="1781570"/>
            <a:chExt cx="2295000" cy="916837"/>
          </a:xfrm>
        </p:grpSpPr>
        <p:sp>
          <p:nvSpPr>
            <p:cNvPr id="33" name="ïśḷîḍè">
              <a:extLst>
                <a:ext uri="{FF2B5EF4-FFF2-40B4-BE49-F238E27FC236}">
                  <a16:creationId xmlns:a16="http://schemas.microsoft.com/office/drawing/2014/main" id="{4D6CD53A-BEC4-46A9-ADFB-760E3053B5C9}"/>
                </a:ext>
              </a:extLst>
            </p:cNvPr>
            <p:cNvSpPr txBox="1"/>
            <p:nvPr/>
          </p:nvSpPr>
          <p:spPr>
            <a:xfrm>
              <a:off x="8661000" y="1781570"/>
              <a:ext cx="229500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04.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Enter the tit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34" name="îs1ídè">
              <a:extLst>
                <a:ext uri="{FF2B5EF4-FFF2-40B4-BE49-F238E27FC236}">
                  <a16:creationId xmlns:a16="http://schemas.microsoft.com/office/drawing/2014/main" id="{9CD15296-9CFC-455B-8A3F-CDA2B415AB63}"/>
                </a:ext>
              </a:extLst>
            </p:cNvPr>
            <p:cNvSpPr txBox="1"/>
            <p:nvPr/>
          </p:nvSpPr>
          <p:spPr>
            <a:xfrm>
              <a:off x="8661000" y="2174082"/>
              <a:ext cx="2295000" cy="5243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Please enter your text message here, please be concise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02B6D978-3601-4488-BFC8-DF3B001DBAD7}"/>
              </a:ext>
            </a:extLst>
          </p:cNvPr>
          <p:cNvCxnSpPr>
            <a:stCxn id="30" idx="0"/>
            <a:endCxn id="34" idx="2"/>
          </p:cNvCxnSpPr>
          <p:nvPr/>
        </p:nvCxnSpPr>
        <p:spPr>
          <a:xfrm flipV="1">
            <a:off x="8378767" y="2981867"/>
            <a:ext cx="0" cy="9087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ïšḷîďé">
            <a:extLst>
              <a:ext uri="{FF2B5EF4-FFF2-40B4-BE49-F238E27FC236}">
                <a16:creationId xmlns:a16="http://schemas.microsoft.com/office/drawing/2014/main" id="{3C4EFA4A-42FD-4DA3-898C-9DAD91BFC64F}"/>
              </a:ext>
            </a:extLst>
          </p:cNvPr>
          <p:cNvGrpSpPr/>
          <p:nvPr/>
        </p:nvGrpSpPr>
        <p:grpSpPr>
          <a:xfrm>
            <a:off x="10392673" y="4130734"/>
            <a:ext cx="550418" cy="550418"/>
            <a:chOff x="1428750" y="3524250"/>
            <a:chExt cx="800100" cy="800100"/>
          </a:xfrm>
        </p:grpSpPr>
        <p:sp>
          <p:nvSpPr>
            <p:cNvPr id="37" name="îS1ïḋe">
              <a:extLst>
                <a:ext uri="{FF2B5EF4-FFF2-40B4-BE49-F238E27FC236}">
                  <a16:creationId xmlns:a16="http://schemas.microsoft.com/office/drawing/2014/main" id="{EE00511C-CF4E-4B46-ACE5-997BEE23319F}"/>
                </a:ext>
              </a:extLst>
            </p:cNvPr>
            <p:cNvSpPr/>
            <p:nvPr/>
          </p:nvSpPr>
          <p:spPr>
            <a:xfrm>
              <a:off x="1428750" y="3524250"/>
              <a:ext cx="800100" cy="800100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lnSpcReduction="10000"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íṣļidè">
              <a:extLst>
                <a:ext uri="{FF2B5EF4-FFF2-40B4-BE49-F238E27FC236}">
                  <a16:creationId xmlns:a16="http://schemas.microsoft.com/office/drawing/2014/main" id="{77987480-5DEB-4586-915B-6D96BF47535B}"/>
                </a:ext>
              </a:extLst>
            </p:cNvPr>
            <p:cNvSpPr/>
            <p:nvPr/>
          </p:nvSpPr>
          <p:spPr>
            <a:xfrm>
              <a:off x="1619250" y="3737557"/>
              <a:ext cx="419100" cy="373486"/>
            </a:xfrm>
            <a:custGeom>
              <a:avLst/>
              <a:gdLst>
                <a:gd name="connsiteX0" fmla="*/ 514822 w 607336"/>
                <a:gd name="connsiteY0" fmla="*/ 287718 h 541236"/>
                <a:gd name="connsiteX1" fmla="*/ 501327 w 607336"/>
                <a:gd name="connsiteY1" fmla="*/ 301190 h 541236"/>
                <a:gd name="connsiteX2" fmla="*/ 501327 w 607336"/>
                <a:gd name="connsiteY2" fmla="*/ 357185 h 541236"/>
                <a:gd name="connsiteX3" fmla="*/ 514822 w 607336"/>
                <a:gd name="connsiteY3" fmla="*/ 370656 h 541236"/>
                <a:gd name="connsiteX4" fmla="*/ 528317 w 607336"/>
                <a:gd name="connsiteY4" fmla="*/ 357185 h 541236"/>
                <a:gd name="connsiteX5" fmla="*/ 528317 w 607336"/>
                <a:gd name="connsiteY5" fmla="*/ 301190 h 541236"/>
                <a:gd name="connsiteX6" fmla="*/ 514822 w 607336"/>
                <a:gd name="connsiteY6" fmla="*/ 287718 h 541236"/>
                <a:gd name="connsiteX7" fmla="*/ 513884 w 607336"/>
                <a:gd name="connsiteY7" fmla="*/ 257846 h 541236"/>
                <a:gd name="connsiteX8" fmla="*/ 524093 w 607336"/>
                <a:gd name="connsiteY8" fmla="*/ 258315 h 541236"/>
                <a:gd name="connsiteX9" fmla="*/ 591098 w 607336"/>
                <a:gd name="connsiteY9" fmla="*/ 286664 h 541236"/>
                <a:gd name="connsiteX10" fmla="*/ 596496 w 607336"/>
                <a:gd name="connsiteY10" fmla="*/ 294630 h 541236"/>
                <a:gd name="connsiteX11" fmla="*/ 605297 w 607336"/>
                <a:gd name="connsiteY11" fmla="*/ 403457 h 541236"/>
                <a:gd name="connsiteX12" fmla="*/ 581123 w 607336"/>
                <a:gd name="connsiteY12" fmla="*/ 508770 h 541236"/>
                <a:gd name="connsiteX13" fmla="*/ 575725 w 607336"/>
                <a:gd name="connsiteY13" fmla="*/ 516736 h 541236"/>
                <a:gd name="connsiteX14" fmla="*/ 514822 w 607336"/>
                <a:gd name="connsiteY14" fmla="*/ 536650 h 541236"/>
                <a:gd name="connsiteX15" fmla="*/ 453919 w 607336"/>
                <a:gd name="connsiteY15" fmla="*/ 516736 h 541236"/>
                <a:gd name="connsiteX16" fmla="*/ 448521 w 607336"/>
                <a:gd name="connsiteY16" fmla="*/ 508770 h 541236"/>
                <a:gd name="connsiteX17" fmla="*/ 424348 w 607336"/>
                <a:gd name="connsiteY17" fmla="*/ 403457 h 541236"/>
                <a:gd name="connsiteX18" fmla="*/ 433149 w 607336"/>
                <a:gd name="connsiteY18" fmla="*/ 294630 h 541236"/>
                <a:gd name="connsiteX19" fmla="*/ 438547 w 607336"/>
                <a:gd name="connsiteY19" fmla="*/ 286664 h 541236"/>
                <a:gd name="connsiteX20" fmla="*/ 502970 w 607336"/>
                <a:gd name="connsiteY20" fmla="*/ 258315 h 541236"/>
                <a:gd name="connsiteX21" fmla="*/ 513884 w 607336"/>
                <a:gd name="connsiteY21" fmla="*/ 257846 h 541236"/>
                <a:gd name="connsiteX22" fmla="*/ 23466 w 607336"/>
                <a:gd name="connsiteY22" fmla="*/ 0 h 541236"/>
                <a:gd name="connsiteX23" fmla="*/ 555312 w 607336"/>
                <a:gd name="connsiteY23" fmla="*/ 0 h 541236"/>
                <a:gd name="connsiteX24" fmla="*/ 578778 w 607336"/>
                <a:gd name="connsiteY24" fmla="*/ 23430 h 541236"/>
                <a:gd name="connsiteX25" fmla="*/ 578778 w 607336"/>
                <a:gd name="connsiteY25" fmla="*/ 253163 h 541236"/>
                <a:gd name="connsiteX26" fmla="*/ 531847 w 607336"/>
                <a:gd name="connsiteY26" fmla="*/ 239339 h 541236"/>
                <a:gd name="connsiteX27" fmla="*/ 531847 w 607336"/>
                <a:gd name="connsiteY27" fmla="*/ 46861 h 541236"/>
                <a:gd name="connsiteX28" fmla="*/ 46931 w 607336"/>
                <a:gd name="connsiteY28" fmla="*/ 46861 h 541236"/>
                <a:gd name="connsiteX29" fmla="*/ 46931 w 607336"/>
                <a:gd name="connsiteY29" fmla="*/ 346766 h 541236"/>
                <a:gd name="connsiteX30" fmla="*/ 404898 w 607336"/>
                <a:gd name="connsiteY30" fmla="*/ 346766 h 541236"/>
                <a:gd name="connsiteX31" fmla="*/ 405837 w 607336"/>
                <a:gd name="connsiteY31" fmla="*/ 410730 h 541236"/>
                <a:gd name="connsiteX32" fmla="*/ 409005 w 607336"/>
                <a:gd name="connsiteY32" fmla="*/ 432638 h 541236"/>
                <a:gd name="connsiteX33" fmla="*/ 368175 w 607336"/>
                <a:gd name="connsiteY33" fmla="*/ 432638 h 541236"/>
                <a:gd name="connsiteX34" fmla="*/ 388120 w 607336"/>
                <a:gd name="connsiteY34" fmla="*/ 500585 h 541236"/>
                <a:gd name="connsiteX35" fmla="*/ 412407 w 607336"/>
                <a:gd name="connsiteY35" fmla="*/ 500585 h 541236"/>
                <a:gd name="connsiteX36" fmla="*/ 423553 w 607336"/>
                <a:gd name="connsiteY36" fmla="*/ 511714 h 541236"/>
                <a:gd name="connsiteX37" fmla="*/ 423553 w 607336"/>
                <a:gd name="connsiteY37" fmla="*/ 530107 h 541236"/>
                <a:gd name="connsiteX38" fmla="*/ 412407 w 607336"/>
                <a:gd name="connsiteY38" fmla="*/ 541236 h 541236"/>
                <a:gd name="connsiteX39" fmla="*/ 166371 w 607336"/>
                <a:gd name="connsiteY39" fmla="*/ 541236 h 541236"/>
                <a:gd name="connsiteX40" fmla="*/ 155225 w 607336"/>
                <a:gd name="connsiteY40" fmla="*/ 530107 h 541236"/>
                <a:gd name="connsiteX41" fmla="*/ 155225 w 607336"/>
                <a:gd name="connsiteY41" fmla="*/ 511714 h 541236"/>
                <a:gd name="connsiteX42" fmla="*/ 166371 w 607336"/>
                <a:gd name="connsiteY42" fmla="*/ 500585 h 541236"/>
                <a:gd name="connsiteX43" fmla="*/ 190658 w 607336"/>
                <a:gd name="connsiteY43" fmla="*/ 500585 h 541236"/>
                <a:gd name="connsiteX44" fmla="*/ 210721 w 607336"/>
                <a:gd name="connsiteY44" fmla="*/ 432638 h 541236"/>
                <a:gd name="connsiteX45" fmla="*/ 23466 w 607336"/>
                <a:gd name="connsiteY45" fmla="*/ 432638 h 541236"/>
                <a:gd name="connsiteX46" fmla="*/ 0 w 607336"/>
                <a:gd name="connsiteY46" fmla="*/ 409207 h 541236"/>
                <a:gd name="connsiteX47" fmla="*/ 0 w 607336"/>
                <a:gd name="connsiteY47" fmla="*/ 23430 h 541236"/>
                <a:gd name="connsiteX48" fmla="*/ 23466 w 607336"/>
                <a:gd name="connsiteY48" fmla="*/ 0 h 54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607336" h="541236">
                  <a:moveTo>
                    <a:pt x="514822" y="287718"/>
                  </a:moveTo>
                  <a:cubicBezTo>
                    <a:pt x="507429" y="287718"/>
                    <a:pt x="501327" y="293810"/>
                    <a:pt x="501327" y="301190"/>
                  </a:cubicBezTo>
                  <a:lnTo>
                    <a:pt x="501327" y="357185"/>
                  </a:lnTo>
                  <a:cubicBezTo>
                    <a:pt x="501327" y="364682"/>
                    <a:pt x="507429" y="370656"/>
                    <a:pt x="514822" y="370656"/>
                  </a:cubicBezTo>
                  <a:cubicBezTo>
                    <a:pt x="522215" y="370656"/>
                    <a:pt x="528317" y="364682"/>
                    <a:pt x="528317" y="357185"/>
                  </a:cubicBezTo>
                  <a:lnTo>
                    <a:pt x="528317" y="301190"/>
                  </a:lnTo>
                  <a:cubicBezTo>
                    <a:pt x="528317" y="293810"/>
                    <a:pt x="522215" y="287718"/>
                    <a:pt x="514822" y="287718"/>
                  </a:cubicBezTo>
                  <a:close/>
                  <a:moveTo>
                    <a:pt x="513884" y="257846"/>
                  </a:moveTo>
                  <a:cubicBezTo>
                    <a:pt x="521042" y="257846"/>
                    <a:pt x="524093" y="258315"/>
                    <a:pt x="524093" y="258315"/>
                  </a:cubicBezTo>
                  <a:cubicBezTo>
                    <a:pt x="546506" y="260423"/>
                    <a:pt x="569037" y="269795"/>
                    <a:pt x="591098" y="286664"/>
                  </a:cubicBezTo>
                  <a:cubicBezTo>
                    <a:pt x="593679" y="288655"/>
                    <a:pt x="595557" y="291467"/>
                    <a:pt x="596496" y="294630"/>
                  </a:cubicBezTo>
                  <a:cubicBezTo>
                    <a:pt x="606940" y="330710"/>
                    <a:pt x="609756" y="365268"/>
                    <a:pt x="605297" y="403457"/>
                  </a:cubicBezTo>
                  <a:cubicBezTo>
                    <a:pt x="601307" y="437312"/>
                    <a:pt x="592037" y="471166"/>
                    <a:pt x="581123" y="508770"/>
                  </a:cubicBezTo>
                  <a:cubicBezTo>
                    <a:pt x="580185" y="511933"/>
                    <a:pt x="578307" y="514744"/>
                    <a:pt x="575725" y="516736"/>
                  </a:cubicBezTo>
                  <a:cubicBezTo>
                    <a:pt x="559062" y="529622"/>
                    <a:pt x="537470" y="536650"/>
                    <a:pt x="514822" y="536650"/>
                  </a:cubicBezTo>
                  <a:cubicBezTo>
                    <a:pt x="492174" y="536650"/>
                    <a:pt x="470583" y="529622"/>
                    <a:pt x="453919" y="516736"/>
                  </a:cubicBezTo>
                  <a:cubicBezTo>
                    <a:pt x="451338" y="514744"/>
                    <a:pt x="449460" y="511933"/>
                    <a:pt x="448521" y="508770"/>
                  </a:cubicBezTo>
                  <a:cubicBezTo>
                    <a:pt x="437608" y="471166"/>
                    <a:pt x="428338" y="437312"/>
                    <a:pt x="424348" y="403457"/>
                  </a:cubicBezTo>
                  <a:cubicBezTo>
                    <a:pt x="420006" y="365268"/>
                    <a:pt x="422705" y="330710"/>
                    <a:pt x="433149" y="294630"/>
                  </a:cubicBezTo>
                  <a:cubicBezTo>
                    <a:pt x="434088" y="291467"/>
                    <a:pt x="435965" y="288655"/>
                    <a:pt x="438547" y="286664"/>
                  </a:cubicBezTo>
                  <a:cubicBezTo>
                    <a:pt x="459787" y="270381"/>
                    <a:pt x="481378" y="260892"/>
                    <a:pt x="502970" y="258315"/>
                  </a:cubicBezTo>
                  <a:cubicBezTo>
                    <a:pt x="502970" y="258315"/>
                    <a:pt x="506725" y="257846"/>
                    <a:pt x="513884" y="257846"/>
                  </a:cubicBezTo>
                  <a:close/>
                  <a:moveTo>
                    <a:pt x="23466" y="0"/>
                  </a:moveTo>
                  <a:lnTo>
                    <a:pt x="555312" y="0"/>
                  </a:lnTo>
                  <a:cubicBezTo>
                    <a:pt x="568336" y="0"/>
                    <a:pt x="578778" y="10544"/>
                    <a:pt x="578778" y="23430"/>
                  </a:cubicBezTo>
                  <a:lnTo>
                    <a:pt x="578778" y="253163"/>
                  </a:lnTo>
                  <a:cubicBezTo>
                    <a:pt x="563408" y="245548"/>
                    <a:pt x="547686" y="240979"/>
                    <a:pt x="531847" y="239339"/>
                  </a:cubicBezTo>
                  <a:lnTo>
                    <a:pt x="531847" y="46861"/>
                  </a:lnTo>
                  <a:lnTo>
                    <a:pt x="46931" y="46861"/>
                  </a:lnTo>
                  <a:lnTo>
                    <a:pt x="46931" y="346766"/>
                  </a:lnTo>
                  <a:lnTo>
                    <a:pt x="404898" y="346766"/>
                  </a:lnTo>
                  <a:cubicBezTo>
                    <a:pt x="402904" y="367502"/>
                    <a:pt x="403256" y="388589"/>
                    <a:pt x="405837" y="410730"/>
                  </a:cubicBezTo>
                  <a:cubicBezTo>
                    <a:pt x="406658" y="418111"/>
                    <a:pt x="407714" y="425374"/>
                    <a:pt x="409005" y="432638"/>
                  </a:cubicBezTo>
                  <a:lnTo>
                    <a:pt x="368175" y="432638"/>
                  </a:lnTo>
                  <a:lnTo>
                    <a:pt x="388120" y="500585"/>
                  </a:lnTo>
                  <a:lnTo>
                    <a:pt x="412407" y="500585"/>
                  </a:lnTo>
                  <a:cubicBezTo>
                    <a:pt x="418626" y="500585"/>
                    <a:pt x="423553" y="505622"/>
                    <a:pt x="423553" y="511714"/>
                  </a:cubicBezTo>
                  <a:lnTo>
                    <a:pt x="423553" y="530107"/>
                  </a:lnTo>
                  <a:cubicBezTo>
                    <a:pt x="423553" y="536199"/>
                    <a:pt x="418626" y="541236"/>
                    <a:pt x="412407" y="541236"/>
                  </a:cubicBezTo>
                  <a:lnTo>
                    <a:pt x="166371" y="541236"/>
                  </a:lnTo>
                  <a:cubicBezTo>
                    <a:pt x="160270" y="541236"/>
                    <a:pt x="155225" y="536199"/>
                    <a:pt x="155225" y="530107"/>
                  </a:cubicBezTo>
                  <a:lnTo>
                    <a:pt x="155225" y="511714"/>
                  </a:lnTo>
                  <a:cubicBezTo>
                    <a:pt x="155225" y="505622"/>
                    <a:pt x="160270" y="500585"/>
                    <a:pt x="166371" y="500585"/>
                  </a:cubicBezTo>
                  <a:lnTo>
                    <a:pt x="190658" y="500585"/>
                  </a:lnTo>
                  <a:lnTo>
                    <a:pt x="210721" y="432638"/>
                  </a:lnTo>
                  <a:lnTo>
                    <a:pt x="23466" y="432638"/>
                  </a:lnTo>
                  <a:cubicBezTo>
                    <a:pt x="10560" y="432638"/>
                    <a:pt x="0" y="422211"/>
                    <a:pt x="0" y="409207"/>
                  </a:cubicBezTo>
                  <a:lnTo>
                    <a:pt x="0" y="23430"/>
                  </a:lnTo>
                  <a:cubicBezTo>
                    <a:pt x="0" y="10544"/>
                    <a:pt x="10560" y="0"/>
                    <a:pt x="23466" y="0"/>
                  </a:cubicBezTo>
                  <a:close/>
                </a:path>
              </a:pathLst>
            </a:custGeom>
            <a:solidFill>
              <a:schemeClr val="bg1"/>
            </a:solidFill>
            <a:ln w="381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9" name="ïşliḍè">
            <a:extLst>
              <a:ext uri="{FF2B5EF4-FFF2-40B4-BE49-F238E27FC236}">
                <a16:creationId xmlns:a16="http://schemas.microsoft.com/office/drawing/2014/main" id="{2B8A6BDA-34B9-41AE-9787-CA5FE2F0CAF8}"/>
              </a:ext>
            </a:extLst>
          </p:cNvPr>
          <p:cNvGrpSpPr/>
          <p:nvPr/>
        </p:nvGrpSpPr>
        <p:grpSpPr>
          <a:xfrm>
            <a:off x="9816863" y="2236711"/>
            <a:ext cx="1702037" cy="985298"/>
            <a:chOff x="8661000" y="1781570"/>
            <a:chExt cx="2295000" cy="916837"/>
          </a:xfrm>
        </p:grpSpPr>
        <p:sp>
          <p:nvSpPr>
            <p:cNvPr id="40" name="iSlîḑe">
              <a:extLst>
                <a:ext uri="{FF2B5EF4-FFF2-40B4-BE49-F238E27FC236}">
                  <a16:creationId xmlns:a16="http://schemas.microsoft.com/office/drawing/2014/main" id="{0D8DCB1A-C52C-468F-A758-41F5EE8EC5AE}"/>
                </a:ext>
              </a:extLst>
            </p:cNvPr>
            <p:cNvSpPr txBox="1"/>
            <p:nvPr/>
          </p:nvSpPr>
          <p:spPr>
            <a:xfrm>
              <a:off x="8661000" y="1781570"/>
              <a:ext cx="2295000" cy="39251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defTabSz="91376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25000"/>
                <a:buFontTx/>
                <a:buNone/>
                <a:defRPr/>
              </a:pPr>
              <a:r>
                <a:rPr kumimoji="0" lang="de-DE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05.</a:t>
              </a:r>
              <a:r>
                <a:rPr kumimoji="0" lang="zh-CN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cs typeface="+mn-ea"/>
                  <a:sym typeface="+mn-lt"/>
                </a:rPr>
                <a:t>Enter the tit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41" name="ï$lïḑe">
              <a:extLst>
                <a:ext uri="{FF2B5EF4-FFF2-40B4-BE49-F238E27FC236}">
                  <a16:creationId xmlns:a16="http://schemas.microsoft.com/office/drawing/2014/main" id="{7DC879B1-83F9-4145-B848-1809B32F0219}"/>
                </a:ext>
              </a:extLst>
            </p:cNvPr>
            <p:cNvSpPr txBox="1"/>
            <p:nvPr/>
          </p:nvSpPr>
          <p:spPr>
            <a:xfrm>
              <a:off x="8661000" y="2174082"/>
              <a:ext cx="2295000" cy="5243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Please enter your text message here, please be concise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C983F293-DB70-46ED-8859-77596C4DB85B}"/>
              </a:ext>
            </a:extLst>
          </p:cNvPr>
          <p:cNvCxnSpPr>
            <a:stCxn id="37" idx="0"/>
            <a:endCxn id="41" idx="2"/>
          </p:cNvCxnSpPr>
          <p:nvPr/>
        </p:nvCxnSpPr>
        <p:spPr>
          <a:xfrm flipV="1">
            <a:off x="10667882" y="3222009"/>
            <a:ext cx="0" cy="908725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25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75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500"/>
                            </p:stCondLst>
                            <p:childTnLst>
                              <p:par>
                                <p:cTn id="3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250"/>
                            </p:stCondLst>
                            <p:childTnLst>
                              <p:par>
                                <p:cTn id="3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6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7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6750"/>
                            </p:stCondLst>
                            <p:childTnLst>
                              <p:par>
                                <p:cTn id="43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5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825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9000"/>
                            </p:stCondLst>
                            <p:childTnLst>
                              <p:par>
                                <p:cTn id="5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975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0500"/>
                            </p:stCondLst>
                            <p:childTnLst>
                              <p:par>
                                <p:cTn id="6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1250"/>
                            </p:stCondLst>
                            <p:childTnLst>
                              <p:par>
                                <p:cTn id="6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2000"/>
                            </p:stCondLst>
                            <p:childTnLst>
                              <p:par>
                                <p:cTn id="7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12750"/>
                            </p:stCondLst>
                            <p:childTnLst>
                              <p:par>
                                <p:cTn id="7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13500"/>
                            </p:stCondLst>
                            <p:childTnLst>
                              <p:par>
                                <p:cTn id="7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1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sļîḋe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ṧļidè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ïsļiďê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íṩľîḋê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3FB7AABE-B1CB-48B9-9194-653C081B6597}"/>
              </a:ext>
            </a:extLst>
          </p:cNvPr>
          <p:cNvSpPr txBox="1"/>
          <p:nvPr/>
        </p:nvSpPr>
        <p:spPr>
          <a:xfrm>
            <a:off x="686555" y="2027153"/>
            <a:ext cx="79484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7200" spc="600" dirty="0">
                <a:solidFill>
                  <a:srgbClr val="FFFFFF"/>
                </a:solidFill>
                <a:cs typeface="+mn-ea"/>
                <a:sym typeface="+mn-lt"/>
              </a:rPr>
              <a:t>Thank you</a:t>
            </a:r>
            <a:r>
              <a:rPr lang="en-US" altLang="zh-CN" sz="7200" spc="600" dirty="0">
                <a:solidFill>
                  <a:srgbClr val="FFFFFF"/>
                </a:solidFill>
                <a:cs typeface="+mn-ea"/>
                <a:sym typeface="+mn-lt"/>
              </a:rPr>
              <a:t>!</a:t>
            </a:r>
            <a:endParaRPr lang="zh-CN" altLang="en-US" sz="7200" spc="6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9DB959F9-E8DF-4F71-B2CB-27058CB4AC45}"/>
              </a:ext>
            </a:extLst>
          </p:cNvPr>
          <p:cNvGrpSpPr/>
          <p:nvPr/>
        </p:nvGrpSpPr>
        <p:grpSpPr>
          <a:xfrm>
            <a:off x="7774986" y="5816861"/>
            <a:ext cx="3945789" cy="311849"/>
            <a:chOff x="7573111" y="5817489"/>
            <a:chExt cx="3945789" cy="311849"/>
          </a:xfrm>
        </p:grpSpPr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08F51940-4742-4C78-AAFB-C6FA85DB6CB4}"/>
                </a:ext>
              </a:extLst>
            </p:cNvPr>
            <p:cNvSpPr/>
            <p:nvPr/>
          </p:nvSpPr>
          <p:spPr>
            <a:xfrm>
              <a:off x="7573111" y="5835618"/>
              <a:ext cx="293614" cy="293720"/>
            </a:xfrm>
            <a:prstGeom prst="ellipse">
              <a:avLst/>
            </a:prstGeom>
            <a:gradFill>
              <a:gsLst>
                <a:gs pos="0">
                  <a:srgbClr val="0070C0">
                    <a:shade val="30000"/>
                    <a:satMod val="115000"/>
                  </a:srgbClr>
                </a:gs>
                <a:gs pos="50000">
                  <a:srgbClr val="0070C0">
                    <a:shade val="67500"/>
                    <a:satMod val="115000"/>
                  </a:srgbClr>
                </a:gs>
                <a:gs pos="100000">
                  <a:srgbClr val="0066FF"/>
                </a:gs>
              </a:gsLst>
              <a:lin ang="2700000" scaled="1"/>
            </a:gradFill>
            <a:ln w="25400" cap="flat" cmpd="sng" algn="ctr">
              <a:noFill/>
              <a:prstDash val="solid"/>
            </a:ln>
            <a:effectLst>
              <a:outerShdw blurRad="88900" dist="63500" dir="8100000" algn="tr" rotWithShape="0">
                <a:prstClr val="black">
                  <a:alpha val="57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D1BB077F-322D-4685-9700-6E6480A7B7A2}"/>
                </a:ext>
              </a:extLst>
            </p:cNvPr>
            <p:cNvSpPr/>
            <p:nvPr/>
          </p:nvSpPr>
          <p:spPr>
            <a:xfrm>
              <a:off x="7918018" y="5817489"/>
              <a:ext cx="1628394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r" defTabSz="914354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200" dirty="0">
                  <a:solidFill>
                    <a:srgbClr val="3771B2">
                      <a:lumMod val="20000"/>
                      <a:lumOff val="80000"/>
                    </a:srgbClr>
                  </a:solidFill>
                  <a:cs typeface="+mn-ea"/>
                  <a:sym typeface="+mn-lt"/>
                </a:rPr>
                <a:t>report:</a:t>
              </a:r>
              <a:r>
                <a:rPr lang="en-US" altLang="zh-CN" sz="1200" dirty="0">
                  <a:solidFill>
                    <a:srgbClr val="3771B2">
                      <a:lumMod val="20000"/>
                      <a:lumOff val="80000"/>
                    </a:srgbClr>
                  </a:solidFill>
                  <a:cs typeface="+mn-ea"/>
                  <a:sym typeface="+mn-lt"/>
                </a:rPr>
                <a:t>freeppt7.com</a:t>
              </a:r>
              <a:endParaRPr lang="en-US" altLang="en-US" sz="1200" dirty="0">
                <a:solidFill>
                  <a:srgbClr val="3771B2">
                    <a:lumMod val="20000"/>
                    <a:lumOff val="80000"/>
                  </a:srgbClr>
                </a:solidFill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271FE13E-E429-4517-AE18-A8BB3695A713}"/>
                </a:ext>
              </a:extLst>
            </p:cNvPr>
            <p:cNvSpPr/>
            <p:nvPr/>
          </p:nvSpPr>
          <p:spPr>
            <a:xfrm>
              <a:off x="10037532" y="5853212"/>
              <a:ext cx="1481368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r" defTabSz="914354">
                <a:lnSpc>
                  <a:spcPct val="90000"/>
                </a:lnSpc>
                <a:spcBef>
                  <a:spcPts val="1000"/>
                </a:spcBef>
              </a:pPr>
              <a:r>
                <a:rPr lang="zh-CN" altLang="en-US" sz="1200" dirty="0">
                  <a:solidFill>
                    <a:srgbClr val="3771B2">
                      <a:lumMod val="20000"/>
                      <a:lumOff val="80000"/>
                    </a:srgbClr>
                  </a:solidFill>
                  <a:cs typeface="+mn-ea"/>
                  <a:sym typeface="+mn-lt"/>
                </a:rPr>
                <a:t>Time:</a:t>
              </a:r>
              <a:r>
                <a:rPr lang="en-US" altLang="zh-CN" sz="1200" dirty="0">
                  <a:solidFill>
                    <a:srgbClr val="3771B2">
                      <a:lumMod val="20000"/>
                      <a:lumOff val="80000"/>
                    </a:srgbClr>
                  </a:solidFill>
                  <a:cs typeface="+mn-ea"/>
                  <a:sym typeface="+mn-lt"/>
                </a:rPr>
                <a:t>2020.XX.XX</a:t>
              </a:r>
            </a:p>
          </p:txBody>
        </p:sp>
      </p:grpSp>
      <p:sp>
        <p:nvSpPr>
          <p:cNvPr id="10" name="TextBox 3">
            <a:hlinkClick r:id="rId7"/>
            <a:extLst>
              <a:ext uri="{FF2B5EF4-FFF2-40B4-BE49-F238E27FC236}">
                <a16:creationId xmlns:a16="http://schemas.microsoft.com/office/drawing/2014/main" id="{2F1BE9CE-498C-4815-996C-70E1329A64F4}"/>
              </a:ext>
            </a:extLst>
          </p:cNvPr>
          <p:cNvSpPr txBox="1"/>
          <p:nvPr/>
        </p:nvSpPr>
        <p:spPr>
          <a:xfrm>
            <a:off x="6349284" y="6392048"/>
            <a:ext cx="51696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1000" dirty="0">
                <a:solidFill>
                  <a:schemeClr val="bg1">
                    <a:lumMod val="85000"/>
                  </a:schemeClr>
                </a:solidFill>
                <a:cs typeface="Arial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freeppt7.com</a:t>
            </a:r>
            <a:endParaRPr lang="ko-KR" altLang="en-US" sz="1000" dirty="0">
              <a:solidFill>
                <a:schemeClr val="bg1">
                  <a:lumMod val="85000"/>
                </a:schemeClr>
              </a:solidFill>
              <a:cs typeface="Arial" pitchFamily="34" charset="0"/>
            </a:endParaRPr>
          </a:p>
        </p:txBody>
      </p:sp>
      <p:sp>
        <p:nvSpPr>
          <p:cNvPr id="13" name="iśḷiḓê">
            <a:extLst>
              <a:ext uri="{FF2B5EF4-FFF2-40B4-BE49-F238E27FC236}">
                <a16:creationId xmlns:a16="http://schemas.microsoft.com/office/drawing/2014/main" id="{7B287FF5-ABFB-4BD0-B7CC-32D04EB378C0}"/>
              </a:ext>
            </a:extLst>
          </p:cNvPr>
          <p:cNvSpPr txBox="1"/>
          <p:nvPr/>
        </p:nvSpPr>
        <p:spPr>
          <a:xfrm>
            <a:off x="642106" y="687108"/>
            <a:ext cx="1780680" cy="461665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2400" b="1" i="1" spc="-150" dirty="0">
                <a:solidFill>
                  <a:schemeClr val="bg1"/>
                </a:solidFill>
                <a:cs typeface="+mn-ea"/>
                <a:sym typeface="+mn-lt"/>
              </a:rPr>
              <a:t>LOGO</a:t>
            </a:r>
            <a:r>
              <a:rPr lang="en-US" altLang="zh-CN" sz="2400" i="1" spc="-150" dirty="0">
                <a:solidFill>
                  <a:schemeClr val="bg1"/>
                </a:solidFill>
                <a:cs typeface="+mn-ea"/>
                <a:sym typeface="+mn-lt"/>
              </a:rPr>
              <a:t> HERE</a:t>
            </a:r>
            <a:endParaRPr lang="zh-CN" altLang="en-US" sz="2400" i="1" spc="-15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hyp="http://schemas.microsoft.com/office/drawing/2018/hyperlinkcolor" xmlns:v="urn:schemas-microsoft-com:vml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7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Sḷide">
            <a:extLst>
              <a:ext uri="{FF2B5EF4-FFF2-40B4-BE49-F238E27FC236}">
                <a16:creationId xmlns:a16="http://schemas.microsoft.com/office/drawing/2014/main" id="{7CC342E6-4C32-4FFD-A835-D816829C46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pic>
        <p:nvPicPr>
          <p:cNvPr id="13" name="íṣľïḍê" descr="线条01">
            <a:extLst>
              <a:ext uri="{FF2B5EF4-FFF2-40B4-BE49-F238E27FC236}">
                <a16:creationId xmlns:a16="http://schemas.microsoft.com/office/drawing/2014/main" id="{EE83D4AD-F9E7-4254-A18A-738ADFA9F5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20981405" flipH="1">
            <a:off x="75420" y="3750315"/>
            <a:ext cx="12400280" cy="2290586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B94B5A03-1BF6-4C6C-BCBE-11A3D9AE0E8D}"/>
              </a:ext>
            </a:extLst>
          </p:cNvPr>
          <p:cNvSpPr/>
          <p:nvPr/>
        </p:nvSpPr>
        <p:spPr>
          <a:xfrm>
            <a:off x="660400" y="2559894"/>
            <a:ext cx="6897594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6600" dirty="0">
                <a:solidFill>
                  <a:schemeClr val="bg1"/>
                </a:solidFill>
                <a:cs typeface="+mn-ea"/>
                <a:sym typeface="+mn-lt"/>
              </a:rPr>
              <a:t>Company profile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95E5F1E-2DFE-4287-BE18-C20E598811C6}"/>
              </a:ext>
            </a:extLst>
          </p:cNvPr>
          <p:cNvGrpSpPr/>
          <p:nvPr/>
        </p:nvGrpSpPr>
        <p:grpSpPr>
          <a:xfrm>
            <a:off x="660400" y="1872802"/>
            <a:ext cx="2946009" cy="524319"/>
            <a:chOff x="8297840" y="1448997"/>
            <a:chExt cx="2946009" cy="524319"/>
          </a:xfrm>
        </p:grpSpPr>
        <p:grpSp>
          <p:nvGrpSpPr>
            <p:cNvPr id="7" name="îsḻîḋé">
              <a:extLst>
                <a:ext uri="{FF2B5EF4-FFF2-40B4-BE49-F238E27FC236}">
                  <a16:creationId xmlns:a16="http://schemas.microsoft.com/office/drawing/2014/main" id="{028279EA-1E72-496F-8332-7D1D1429339A}"/>
                </a:ext>
              </a:extLst>
            </p:cNvPr>
            <p:cNvGrpSpPr/>
            <p:nvPr/>
          </p:nvGrpSpPr>
          <p:grpSpPr>
            <a:xfrm>
              <a:off x="8420670" y="1448997"/>
              <a:ext cx="2727644" cy="524319"/>
              <a:chOff x="5623208" y="2201818"/>
              <a:chExt cx="5820229" cy="524319"/>
            </a:xfrm>
          </p:grpSpPr>
          <p:cxnSp>
            <p:nvCxnSpPr>
              <p:cNvPr id="9" name="í$lïdê">
                <a:extLst>
                  <a:ext uri="{FF2B5EF4-FFF2-40B4-BE49-F238E27FC236}">
                    <a16:creationId xmlns:a16="http://schemas.microsoft.com/office/drawing/2014/main" id="{47EB845A-59CD-49C4-9129-F683DDFA39A3}"/>
                  </a:ext>
                </a:extLst>
              </p:cNvPr>
              <p:cNvCxnSpPr/>
              <p:nvPr/>
            </p:nvCxnSpPr>
            <p:spPr>
              <a:xfrm>
                <a:off x="5623208" y="2201818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" name="iṩľïḑe">
                <a:extLst>
                  <a:ext uri="{FF2B5EF4-FFF2-40B4-BE49-F238E27FC236}">
                    <a16:creationId xmlns:a16="http://schemas.microsoft.com/office/drawing/2014/main" id="{F2805856-A9A3-4F88-80EB-B48364862826}"/>
                  </a:ext>
                </a:extLst>
              </p:cNvPr>
              <p:cNvCxnSpPr/>
              <p:nvPr/>
            </p:nvCxnSpPr>
            <p:spPr>
              <a:xfrm>
                <a:off x="5623208" y="2726137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B957F02-E25E-42FA-903E-E81B68845813}"/>
                </a:ext>
              </a:extLst>
            </p:cNvPr>
            <p:cNvSpPr/>
            <p:nvPr/>
          </p:nvSpPr>
          <p:spPr>
            <a:xfrm>
              <a:off x="8297840" y="1540138"/>
              <a:ext cx="29460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pc="300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</p:grpSp>
      <p:sp>
        <p:nvSpPr>
          <p:cNvPr id="14" name="副标题 4">
            <a:extLst>
              <a:ext uri="{FF2B5EF4-FFF2-40B4-BE49-F238E27FC236}">
                <a16:creationId xmlns:a16="http://schemas.microsoft.com/office/drawing/2014/main" id="{E70F7116-6290-441E-8A31-42ED65F0C9F2}"/>
              </a:ext>
            </a:extLst>
          </p:cNvPr>
          <p:cNvSpPr txBox="1">
            <a:spLocks/>
          </p:cNvSpPr>
          <p:nvPr/>
        </p:nvSpPr>
        <p:spPr>
          <a:xfrm>
            <a:off x="660400" y="3928165"/>
            <a:ext cx="7001491" cy="558799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Theme color makes PPT more convenient to </a:t>
            </a:r>
            <a:r>
              <a:rPr lang="en-US" altLang="zh-CN" sz="1200" dirty="0" err="1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change. Adjust</a:t>
            </a: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 the spacing to adapt to Chinese typesetting, use the reference line in PPT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7D56BA65-BE46-4C2F-9368-F5798FB93991}"/>
              </a:ext>
            </a:extLst>
          </p:cNvPr>
          <p:cNvSpPr txBox="1"/>
          <p:nvPr/>
        </p:nvSpPr>
        <p:spPr>
          <a:xfrm>
            <a:off x="7949315" y="5426214"/>
            <a:ext cx="35695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PART 01</a:t>
            </a:r>
            <a:endParaRPr lang="zh-CN" altLang="en-US" sz="4000" dirty="0">
              <a:solidFill>
                <a:schemeClr val="accent1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75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 build="p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2428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Company profil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4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1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13" name="íṥlîḓe">
            <a:extLst>
              <a:ext uri="{FF2B5EF4-FFF2-40B4-BE49-F238E27FC236}">
                <a16:creationId xmlns:a16="http://schemas.microsoft.com/office/drawing/2014/main" id="{5E508F39-D287-41A5-81BB-48569D302F75}"/>
              </a:ext>
            </a:extLst>
          </p:cNvPr>
          <p:cNvGrpSpPr/>
          <p:nvPr/>
        </p:nvGrpSpPr>
        <p:grpSpPr>
          <a:xfrm>
            <a:off x="695325" y="2333071"/>
            <a:ext cx="5859098" cy="3239786"/>
            <a:chOff x="503602" y="2132856"/>
            <a:chExt cx="5859098" cy="3239786"/>
          </a:xfrm>
          <a:scene3d>
            <a:camera prst="perspectiveRight"/>
            <a:lightRig rig="threePt" dir="t"/>
          </a:scene3d>
        </p:grpSpPr>
        <p:grpSp>
          <p:nvGrpSpPr>
            <p:cNvPr id="14" name="ísḷîḋe">
              <a:extLst>
                <a:ext uri="{FF2B5EF4-FFF2-40B4-BE49-F238E27FC236}">
                  <a16:creationId xmlns:a16="http://schemas.microsoft.com/office/drawing/2014/main" id="{792037C7-5186-4B02-8E5B-3D70D4667F0E}"/>
                </a:ext>
              </a:extLst>
            </p:cNvPr>
            <p:cNvGrpSpPr/>
            <p:nvPr/>
          </p:nvGrpSpPr>
          <p:grpSpPr>
            <a:xfrm>
              <a:off x="503602" y="5249721"/>
              <a:ext cx="5859098" cy="122921"/>
              <a:chOff x="-1348120" y="5777965"/>
              <a:chExt cx="9361040" cy="187516"/>
            </a:xfrm>
          </p:grpSpPr>
          <p:sp>
            <p:nvSpPr>
              <p:cNvPr id="22" name="isļïdé">
                <a:extLst>
                  <a:ext uri="{FF2B5EF4-FFF2-40B4-BE49-F238E27FC236}">
                    <a16:creationId xmlns:a16="http://schemas.microsoft.com/office/drawing/2014/main" id="{2AC42724-3E9A-45D8-B091-0AE3FB531C6D}"/>
                  </a:ext>
                </a:extLst>
              </p:cNvPr>
              <p:cNvSpPr/>
              <p:nvPr/>
            </p:nvSpPr>
            <p:spPr>
              <a:xfrm flipV="1">
                <a:off x="-1348120" y="5928907"/>
                <a:ext cx="9361040" cy="36574"/>
              </a:xfrm>
              <a:prstGeom prst="trapezoid">
                <a:avLst>
                  <a:gd name="adj" fmla="val 814192"/>
                </a:avLst>
              </a:prstGeom>
              <a:solidFill>
                <a:srgbClr val="808080"/>
              </a:solidFill>
              <a:ln>
                <a:noFill/>
              </a:ln>
              <a:effectLst/>
              <a:sp3d prstMaterial="matte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1091">
                  <a:cs typeface="+mn-ea"/>
                  <a:sym typeface="+mn-lt"/>
                </a:endParaRPr>
              </a:p>
            </p:txBody>
          </p:sp>
          <p:sp>
            <p:nvSpPr>
              <p:cNvPr id="23" name="îślîḋè">
                <a:extLst>
                  <a:ext uri="{FF2B5EF4-FFF2-40B4-BE49-F238E27FC236}">
                    <a16:creationId xmlns:a16="http://schemas.microsoft.com/office/drawing/2014/main" id="{B6C18968-BC63-4ED2-A937-9CCFDA8C988A}"/>
                  </a:ext>
                </a:extLst>
              </p:cNvPr>
              <p:cNvSpPr/>
              <p:nvPr/>
            </p:nvSpPr>
            <p:spPr>
              <a:xfrm>
                <a:off x="-1348120" y="5777965"/>
                <a:ext cx="9361040" cy="151085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ffectLst/>
              <a:sp3d prstMaterial="matte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1091"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işliďê">
              <a:extLst>
                <a:ext uri="{FF2B5EF4-FFF2-40B4-BE49-F238E27FC236}">
                  <a16:creationId xmlns:a16="http://schemas.microsoft.com/office/drawing/2014/main" id="{AEAC7A72-CA39-460B-B9A4-017FBD6C2643}"/>
                </a:ext>
              </a:extLst>
            </p:cNvPr>
            <p:cNvGrpSpPr/>
            <p:nvPr/>
          </p:nvGrpSpPr>
          <p:grpSpPr>
            <a:xfrm>
              <a:off x="1002671" y="2132856"/>
              <a:ext cx="4860960" cy="3080807"/>
              <a:chOff x="-375491" y="1139526"/>
              <a:chExt cx="7415769" cy="4700008"/>
            </a:xfrm>
          </p:grpSpPr>
          <p:grpSp>
            <p:nvGrpSpPr>
              <p:cNvPr id="17" name="ïŝḻiďé">
                <a:extLst>
                  <a:ext uri="{FF2B5EF4-FFF2-40B4-BE49-F238E27FC236}">
                    <a16:creationId xmlns:a16="http://schemas.microsoft.com/office/drawing/2014/main" id="{447F0029-D396-4A50-B6F7-FBF02A143420}"/>
                  </a:ext>
                </a:extLst>
              </p:cNvPr>
              <p:cNvGrpSpPr/>
              <p:nvPr/>
            </p:nvGrpSpPr>
            <p:grpSpPr>
              <a:xfrm>
                <a:off x="-375491" y="1139526"/>
                <a:ext cx="7415769" cy="4700008"/>
                <a:chOff x="-375492" y="1139528"/>
                <a:chExt cx="7415785" cy="4700016"/>
              </a:xfrm>
            </p:grpSpPr>
            <p:sp>
              <p:nvSpPr>
                <p:cNvPr id="19" name="íŝľîḋê">
                  <a:extLst>
                    <a:ext uri="{FF2B5EF4-FFF2-40B4-BE49-F238E27FC236}">
                      <a16:creationId xmlns:a16="http://schemas.microsoft.com/office/drawing/2014/main" id="{80A629B4-85DD-4E6A-B353-2008B468D14D}"/>
                    </a:ext>
                  </a:extLst>
                </p:cNvPr>
                <p:cNvSpPr/>
                <p:nvPr/>
              </p:nvSpPr>
              <p:spPr>
                <a:xfrm>
                  <a:off x="-375492" y="1139528"/>
                  <a:ext cx="7415784" cy="4700016"/>
                </a:xfrm>
                <a:custGeom>
                  <a:avLst/>
                  <a:gdLst>
                    <a:gd name="connsiteX0" fmla="*/ 224028 w 7415784"/>
                    <a:gd name="connsiteY0" fmla="*/ 269748 h 4700016"/>
                    <a:gd name="connsiteX1" fmla="*/ 224028 w 7415784"/>
                    <a:gd name="connsiteY1" fmla="*/ 4430268 h 4700016"/>
                    <a:gd name="connsiteX2" fmla="*/ 7191756 w 7415784"/>
                    <a:gd name="connsiteY2" fmla="*/ 4430268 h 4700016"/>
                    <a:gd name="connsiteX3" fmla="*/ 7191756 w 7415784"/>
                    <a:gd name="connsiteY3" fmla="*/ 269748 h 4700016"/>
                    <a:gd name="connsiteX4" fmla="*/ 266867 w 7415784"/>
                    <a:gd name="connsiteY4" fmla="*/ 0 h 4700016"/>
                    <a:gd name="connsiteX5" fmla="*/ 7148917 w 7415784"/>
                    <a:gd name="connsiteY5" fmla="*/ 0 h 4700016"/>
                    <a:gd name="connsiteX6" fmla="*/ 7415784 w 7415784"/>
                    <a:gd name="connsiteY6" fmla="*/ 266867 h 4700016"/>
                    <a:gd name="connsiteX7" fmla="*/ 7415784 w 7415784"/>
                    <a:gd name="connsiteY7" fmla="*/ 4433149 h 4700016"/>
                    <a:gd name="connsiteX8" fmla="*/ 7148917 w 7415784"/>
                    <a:gd name="connsiteY8" fmla="*/ 4700016 h 4700016"/>
                    <a:gd name="connsiteX9" fmla="*/ 266867 w 7415784"/>
                    <a:gd name="connsiteY9" fmla="*/ 4700016 h 4700016"/>
                    <a:gd name="connsiteX10" fmla="*/ 0 w 7415784"/>
                    <a:gd name="connsiteY10" fmla="*/ 4433149 h 4700016"/>
                    <a:gd name="connsiteX11" fmla="*/ 0 w 7415784"/>
                    <a:gd name="connsiteY11" fmla="*/ 266867 h 4700016"/>
                    <a:gd name="connsiteX12" fmla="*/ 266867 w 7415784"/>
                    <a:gd name="connsiteY12" fmla="*/ 0 h 4700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415784" h="4700016">
                      <a:moveTo>
                        <a:pt x="224028" y="269748"/>
                      </a:moveTo>
                      <a:lnTo>
                        <a:pt x="224028" y="4430268"/>
                      </a:lnTo>
                      <a:lnTo>
                        <a:pt x="7191756" y="4430268"/>
                      </a:lnTo>
                      <a:lnTo>
                        <a:pt x="7191756" y="269748"/>
                      </a:lnTo>
                      <a:close/>
                      <a:moveTo>
                        <a:pt x="266867" y="0"/>
                      </a:moveTo>
                      <a:lnTo>
                        <a:pt x="7148917" y="0"/>
                      </a:lnTo>
                      <a:cubicBezTo>
                        <a:pt x="7296304" y="0"/>
                        <a:pt x="7415784" y="119480"/>
                        <a:pt x="7415784" y="266867"/>
                      </a:cubicBezTo>
                      <a:lnTo>
                        <a:pt x="7415784" y="4433149"/>
                      </a:lnTo>
                      <a:cubicBezTo>
                        <a:pt x="7415784" y="4580536"/>
                        <a:pt x="7296304" y="4700016"/>
                        <a:pt x="7148917" y="4700016"/>
                      </a:cubicBezTo>
                      <a:lnTo>
                        <a:pt x="266867" y="4700016"/>
                      </a:lnTo>
                      <a:cubicBezTo>
                        <a:pt x="119480" y="4700016"/>
                        <a:pt x="0" y="4580536"/>
                        <a:pt x="0" y="4433149"/>
                      </a:cubicBezTo>
                      <a:lnTo>
                        <a:pt x="0" y="266867"/>
                      </a:lnTo>
                      <a:cubicBezTo>
                        <a:pt x="0" y="119480"/>
                        <a:pt x="119480" y="0"/>
                        <a:pt x="266867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  <a:lumOff val="25000"/>
                  </a:schemeClr>
                </a:solidFill>
                <a:ln>
                  <a:noFill/>
                </a:ln>
                <a:effectLst/>
                <a:sp3d prstMaterial="matte"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1091">
                    <a:cs typeface="+mn-ea"/>
                    <a:sym typeface="+mn-lt"/>
                  </a:endParaRPr>
                </a:p>
              </p:txBody>
            </p:sp>
            <p:sp>
              <p:nvSpPr>
                <p:cNvPr id="20" name="ïṡḻïḑe">
                  <a:extLst>
                    <a:ext uri="{FF2B5EF4-FFF2-40B4-BE49-F238E27FC236}">
                      <a16:creationId xmlns:a16="http://schemas.microsoft.com/office/drawing/2014/main" id="{C48E5526-8ED3-4E46-B0E2-53CF861DB72B}"/>
                    </a:ext>
                  </a:extLst>
                </p:cNvPr>
                <p:cNvSpPr/>
                <p:nvPr/>
              </p:nvSpPr>
              <p:spPr>
                <a:xfrm>
                  <a:off x="-358011" y="1160080"/>
                  <a:ext cx="7380820" cy="4658913"/>
                </a:xfrm>
                <a:custGeom>
                  <a:avLst/>
                  <a:gdLst>
                    <a:gd name="connsiteX0" fmla="*/ 252028 w 7380820"/>
                    <a:gd name="connsiteY0" fmla="*/ 295230 h 4658912"/>
                    <a:gd name="connsiteX1" fmla="*/ 252028 w 7380820"/>
                    <a:gd name="connsiteY1" fmla="*/ 4363682 h 4658912"/>
                    <a:gd name="connsiteX2" fmla="*/ 7128792 w 7380820"/>
                    <a:gd name="connsiteY2" fmla="*/ 4363682 h 4658912"/>
                    <a:gd name="connsiteX3" fmla="*/ 7128792 w 7380820"/>
                    <a:gd name="connsiteY3" fmla="*/ 295230 h 4658912"/>
                    <a:gd name="connsiteX4" fmla="*/ 264533 w 7380820"/>
                    <a:gd name="connsiteY4" fmla="*/ 0 h 4658912"/>
                    <a:gd name="connsiteX5" fmla="*/ 7116287 w 7380820"/>
                    <a:gd name="connsiteY5" fmla="*/ 0 h 4658912"/>
                    <a:gd name="connsiteX6" fmla="*/ 7380820 w 7380820"/>
                    <a:gd name="connsiteY6" fmla="*/ 264533 h 4658912"/>
                    <a:gd name="connsiteX7" fmla="*/ 7380820 w 7380820"/>
                    <a:gd name="connsiteY7" fmla="*/ 4394379 h 4658912"/>
                    <a:gd name="connsiteX8" fmla="*/ 7116287 w 7380820"/>
                    <a:gd name="connsiteY8" fmla="*/ 4658912 h 4658912"/>
                    <a:gd name="connsiteX9" fmla="*/ 264533 w 7380820"/>
                    <a:gd name="connsiteY9" fmla="*/ 4658912 h 4658912"/>
                    <a:gd name="connsiteX10" fmla="*/ 0 w 7380820"/>
                    <a:gd name="connsiteY10" fmla="*/ 4394379 h 4658912"/>
                    <a:gd name="connsiteX11" fmla="*/ 0 w 7380820"/>
                    <a:gd name="connsiteY11" fmla="*/ 264533 h 4658912"/>
                    <a:gd name="connsiteX12" fmla="*/ 264533 w 7380820"/>
                    <a:gd name="connsiteY12" fmla="*/ 0 h 465891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7380820" h="4658912">
                      <a:moveTo>
                        <a:pt x="252028" y="295230"/>
                      </a:moveTo>
                      <a:lnTo>
                        <a:pt x="252028" y="4363682"/>
                      </a:lnTo>
                      <a:lnTo>
                        <a:pt x="7128792" y="4363682"/>
                      </a:lnTo>
                      <a:lnTo>
                        <a:pt x="7128792" y="295230"/>
                      </a:lnTo>
                      <a:close/>
                      <a:moveTo>
                        <a:pt x="264533" y="0"/>
                      </a:moveTo>
                      <a:lnTo>
                        <a:pt x="7116287" y="0"/>
                      </a:lnTo>
                      <a:cubicBezTo>
                        <a:pt x="7262385" y="0"/>
                        <a:pt x="7380820" y="118435"/>
                        <a:pt x="7380820" y="264533"/>
                      </a:cubicBezTo>
                      <a:lnTo>
                        <a:pt x="7380820" y="4394379"/>
                      </a:lnTo>
                      <a:cubicBezTo>
                        <a:pt x="7380820" y="4540477"/>
                        <a:pt x="7262385" y="4658912"/>
                        <a:pt x="7116287" y="4658912"/>
                      </a:cubicBezTo>
                      <a:lnTo>
                        <a:pt x="264533" y="4658912"/>
                      </a:lnTo>
                      <a:cubicBezTo>
                        <a:pt x="118435" y="4658912"/>
                        <a:pt x="0" y="4540477"/>
                        <a:pt x="0" y="4394379"/>
                      </a:cubicBezTo>
                      <a:lnTo>
                        <a:pt x="0" y="264533"/>
                      </a:lnTo>
                      <a:cubicBezTo>
                        <a:pt x="0" y="118435"/>
                        <a:pt x="118435" y="0"/>
                        <a:pt x="264533" y="0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ffectLst/>
                <a:sp3d prstMaterial="matte"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109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íṩ1idé" hidden="1">
                  <a:extLst>
                    <a:ext uri="{FF2B5EF4-FFF2-40B4-BE49-F238E27FC236}">
                      <a16:creationId xmlns:a16="http://schemas.microsoft.com/office/drawing/2014/main" id="{94125AD9-82E8-4B31-B343-7CCBC066FD8B}"/>
                    </a:ext>
                  </a:extLst>
                </p:cNvPr>
                <p:cNvSpPr/>
                <p:nvPr/>
              </p:nvSpPr>
              <p:spPr>
                <a:xfrm>
                  <a:off x="4509683" y="1139528"/>
                  <a:ext cx="2530610" cy="4700016"/>
                </a:xfrm>
                <a:custGeom>
                  <a:avLst/>
                  <a:gdLst>
                    <a:gd name="connsiteX0" fmla="*/ 0 w 2530610"/>
                    <a:gd name="connsiteY0" fmla="*/ 0 h 4700016"/>
                    <a:gd name="connsiteX1" fmla="*/ 2263743 w 2530610"/>
                    <a:gd name="connsiteY1" fmla="*/ 0 h 4700016"/>
                    <a:gd name="connsiteX2" fmla="*/ 2530610 w 2530610"/>
                    <a:gd name="connsiteY2" fmla="*/ 266867 h 4700016"/>
                    <a:gd name="connsiteX3" fmla="*/ 2530610 w 2530610"/>
                    <a:gd name="connsiteY3" fmla="*/ 4433149 h 4700016"/>
                    <a:gd name="connsiteX4" fmla="*/ 2263743 w 2530610"/>
                    <a:gd name="connsiteY4" fmla="*/ 4700016 h 4700016"/>
                    <a:gd name="connsiteX5" fmla="*/ 1961175 w 2530610"/>
                    <a:gd name="connsiteY5" fmla="*/ 4700016 h 4700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530610" h="4700016">
                      <a:moveTo>
                        <a:pt x="0" y="0"/>
                      </a:moveTo>
                      <a:lnTo>
                        <a:pt x="2263743" y="0"/>
                      </a:lnTo>
                      <a:cubicBezTo>
                        <a:pt x="2411130" y="0"/>
                        <a:pt x="2530610" y="119480"/>
                        <a:pt x="2530610" y="266867"/>
                      </a:cubicBezTo>
                      <a:lnTo>
                        <a:pt x="2530610" y="4433149"/>
                      </a:lnTo>
                      <a:cubicBezTo>
                        <a:pt x="2530610" y="4580536"/>
                        <a:pt x="2411130" y="4700016"/>
                        <a:pt x="2263743" y="4700016"/>
                      </a:cubicBezTo>
                      <a:lnTo>
                        <a:pt x="1961175" y="4700016"/>
                      </a:lnTo>
                      <a:close/>
                    </a:path>
                  </a:pathLst>
                </a:custGeom>
                <a:gradFill>
                  <a:gsLst>
                    <a:gs pos="0">
                      <a:srgbClr val="FFFFFF">
                        <a:alpha val="30000"/>
                      </a:srgbClr>
                    </a:gs>
                    <a:gs pos="100000">
                      <a:srgbClr val="FFFFFF">
                        <a:alpha val="0"/>
                      </a:srgbClr>
                    </a:gs>
                  </a:gsLst>
                  <a:lin ang="5400000" scaled="0"/>
                </a:gradFill>
                <a:ln>
                  <a:noFill/>
                </a:ln>
                <a:effectLst/>
                <a:sp3d prstMaterial="matte"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en-US" sz="1091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8" name="ïSḻiďê">
                <a:extLst>
                  <a:ext uri="{FF2B5EF4-FFF2-40B4-BE49-F238E27FC236}">
                    <a16:creationId xmlns:a16="http://schemas.microsoft.com/office/drawing/2014/main" id="{D2D49408-2F32-4C6A-BD2E-5B6C55A35515}"/>
                  </a:ext>
                </a:extLst>
              </p:cNvPr>
              <p:cNvSpPr/>
              <p:nvPr/>
            </p:nvSpPr>
            <p:spPr>
              <a:xfrm>
                <a:off x="3260392" y="1241052"/>
                <a:ext cx="144016" cy="144016"/>
              </a:xfrm>
              <a:prstGeom prst="ellipse">
                <a:avLst/>
              </a:prstGeom>
              <a:gradFill flip="none" rotWithShape="1">
                <a:gsLst>
                  <a:gs pos="17000">
                    <a:schemeClr val="tx1"/>
                  </a:gs>
                  <a:gs pos="34000">
                    <a:srgbClr val="000000">
                      <a:lumMod val="84000"/>
                      <a:lumOff val="16000"/>
                    </a:srgbClr>
                  </a:gs>
                  <a:gs pos="100000">
                    <a:schemeClr val="bg1">
                      <a:lumMod val="50000"/>
                      <a:lumOff val="5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  <a:effectLst/>
              <a:sp3d prstMaterial="matte"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 sz="1091">
                  <a:cs typeface="+mn-ea"/>
                  <a:sym typeface="+mn-lt"/>
                </a:endParaRPr>
              </a:p>
            </p:txBody>
          </p:sp>
        </p:grpSp>
        <p:sp>
          <p:nvSpPr>
            <p:cNvPr id="16" name="íśļïdê">
              <a:extLst>
                <a:ext uri="{FF2B5EF4-FFF2-40B4-BE49-F238E27FC236}">
                  <a16:creationId xmlns:a16="http://schemas.microsoft.com/office/drawing/2014/main" id="{65928307-D64D-46FC-8774-5EBDB0297906}"/>
                </a:ext>
              </a:extLst>
            </p:cNvPr>
            <p:cNvSpPr/>
            <p:nvPr/>
          </p:nvSpPr>
          <p:spPr>
            <a:xfrm>
              <a:off x="1166336" y="2313357"/>
              <a:ext cx="4515875" cy="2699819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6350" cap="flat" cmpd="sng" algn="ctr">
              <a:solidFill>
                <a:schemeClr val="tx1"/>
              </a:solidFill>
              <a:prstDash val="solid"/>
              <a:miter lim="800000"/>
            </a:ln>
            <a:effectLst/>
            <a:sp3d prstMaterial="matte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24" name="ïṧ1îḍe">
            <a:extLst>
              <a:ext uri="{FF2B5EF4-FFF2-40B4-BE49-F238E27FC236}">
                <a16:creationId xmlns:a16="http://schemas.microsoft.com/office/drawing/2014/main" id="{C10FD7EB-2B5A-4D66-802B-7F7DB76555B3}"/>
              </a:ext>
            </a:extLst>
          </p:cNvPr>
          <p:cNvSpPr txBox="1"/>
          <p:nvPr/>
        </p:nvSpPr>
        <p:spPr bwMode="auto">
          <a:xfrm>
            <a:off x="8000332" y="4945989"/>
            <a:ext cx="1565274" cy="503947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txBody>
          <a:bodyPr wrap="square" lIns="91440" tIns="45720" rIns="91440" bIns="45720" anchor="ctr" anchorCtr="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i="1" dirty="0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Enter</a:t>
            </a:r>
          </a:p>
        </p:txBody>
      </p:sp>
      <p:sp>
        <p:nvSpPr>
          <p:cNvPr id="28" name="îṩļíḍe">
            <a:extLst>
              <a:ext uri="{FF2B5EF4-FFF2-40B4-BE49-F238E27FC236}">
                <a16:creationId xmlns:a16="http://schemas.microsoft.com/office/drawing/2014/main" id="{F02C4116-546E-4613-B0A7-B06FBD3DA6D8}"/>
              </a:ext>
            </a:extLst>
          </p:cNvPr>
          <p:cNvSpPr txBox="1"/>
          <p:nvPr/>
        </p:nvSpPr>
        <p:spPr>
          <a:xfrm>
            <a:off x="6121410" y="2768730"/>
            <a:ext cx="5397490" cy="47086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sz="2400" b="1" spc="600" dirty="0">
                <a:solidFill>
                  <a:schemeClr val="bg1"/>
                </a:solidFill>
                <a:cs typeface="+mn-ea"/>
                <a:sym typeface="+mn-lt"/>
              </a:rPr>
              <a:t>Enter the company name here</a:t>
            </a:r>
            <a:endParaRPr lang="en-US" sz="2400" b="1" spc="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iṣlíḍé">
            <a:extLst>
              <a:ext uri="{FF2B5EF4-FFF2-40B4-BE49-F238E27FC236}">
                <a16:creationId xmlns:a16="http://schemas.microsoft.com/office/drawing/2014/main" id="{3FBF2AF6-DA79-47D0-8908-D5F6824E0891}"/>
              </a:ext>
            </a:extLst>
          </p:cNvPr>
          <p:cNvSpPr txBox="1"/>
          <p:nvPr/>
        </p:nvSpPr>
        <p:spPr>
          <a:xfrm>
            <a:off x="6121410" y="3549735"/>
            <a:ext cx="5397490" cy="54156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zh-CN" altLang="en-US" sz="12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</a:p>
        </p:txBody>
      </p:sp>
      <p:sp>
        <p:nvSpPr>
          <p:cNvPr id="30" name="iṣlíḍé">
            <a:extLst>
              <a:ext uri="{FF2B5EF4-FFF2-40B4-BE49-F238E27FC236}">
                <a16:creationId xmlns:a16="http://schemas.microsoft.com/office/drawing/2014/main" id="{E257B3CD-9FBF-44BC-9E57-AC38AEBFBB09}"/>
              </a:ext>
            </a:extLst>
          </p:cNvPr>
          <p:cNvSpPr txBox="1"/>
          <p:nvPr/>
        </p:nvSpPr>
        <p:spPr>
          <a:xfrm>
            <a:off x="6121410" y="4088619"/>
            <a:ext cx="5397490" cy="54156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buSzPct val="25000"/>
            </a:pPr>
            <a:r>
              <a:rPr lang="zh-CN" altLang="en-US" sz="1200" dirty="0">
                <a:solidFill>
                  <a:schemeClr val="bg1"/>
                </a:solidFill>
                <a:cs typeface="+mn-ea"/>
                <a:sym typeface="+mn-lt"/>
              </a:rPr>
              <a:t>Enter your text message here, be concise, and be careful to check for spelling errors</a:t>
            </a: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10E32BAE-B724-4817-930A-11CD21099F49}"/>
              </a:ext>
            </a:extLst>
          </p:cNvPr>
          <p:cNvCxnSpPr>
            <a:cxnSpLocks/>
          </p:cNvCxnSpPr>
          <p:nvPr/>
        </p:nvCxnSpPr>
        <p:spPr>
          <a:xfrm>
            <a:off x="8519366" y="3367786"/>
            <a:ext cx="601579" cy="0"/>
          </a:xfrm>
          <a:prstGeom prst="line">
            <a:avLst/>
          </a:prstGeom>
          <a:ln w="381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0607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3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4000"/>
                            </p:stCondLst>
                            <p:childTnLst>
                              <p:par>
                                <p:cTn id="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75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25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24" grpId="0" animBg="1"/>
      <p:bldP spid="28" grpId="0"/>
      <p:bldP spid="29" grpId="0"/>
      <p:bldP spid="3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10780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Company profile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4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1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18" name="ïṥ1ïde">
            <a:extLst>
              <a:ext uri="{FF2B5EF4-FFF2-40B4-BE49-F238E27FC236}">
                <a16:creationId xmlns:a16="http://schemas.microsoft.com/office/drawing/2014/main" id="{FF9B3AC3-F4C4-4597-B351-3A71F4858D8B}"/>
              </a:ext>
            </a:extLst>
          </p:cNvPr>
          <p:cNvGrpSpPr/>
          <p:nvPr/>
        </p:nvGrpSpPr>
        <p:grpSpPr>
          <a:xfrm>
            <a:off x="3936019" y="2307236"/>
            <a:ext cx="4316786" cy="3467100"/>
            <a:chOff x="2246105" y="1916113"/>
            <a:chExt cx="4806250" cy="3860222"/>
          </a:xfrm>
        </p:grpSpPr>
        <p:sp>
          <p:nvSpPr>
            <p:cNvPr id="25" name="ï$ľïďê">
              <a:extLst>
                <a:ext uri="{FF2B5EF4-FFF2-40B4-BE49-F238E27FC236}">
                  <a16:creationId xmlns:a16="http://schemas.microsoft.com/office/drawing/2014/main" id="{A18C2459-589C-4531-89BF-57AED1FE51D2}"/>
                </a:ext>
              </a:extLst>
            </p:cNvPr>
            <p:cNvSpPr/>
            <p:nvPr/>
          </p:nvSpPr>
          <p:spPr>
            <a:xfrm>
              <a:off x="2246105" y="1916113"/>
              <a:ext cx="4793714" cy="3346616"/>
            </a:xfrm>
            <a:prstGeom prst="roundRect">
              <a:avLst>
                <a:gd name="adj" fmla="val 3442"/>
              </a:avLst>
            </a:pr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lvl="0" defTabSz="825500">
                <a:defRPr sz="3200"/>
              </a:pPr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îṣľîḓè">
              <a:extLst>
                <a:ext uri="{FF2B5EF4-FFF2-40B4-BE49-F238E27FC236}">
                  <a16:creationId xmlns:a16="http://schemas.microsoft.com/office/drawing/2014/main" id="{51BB7411-2887-48E6-B1F5-FEB362C772EA}"/>
                </a:ext>
              </a:extLst>
            </p:cNvPr>
            <p:cNvSpPr/>
            <p:nvPr/>
          </p:nvSpPr>
          <p:spPr>
            <a:xfrm>
              <a:off x="2250554" y="4813329"/>
              <a:ext cx="4801801" cy="1"/>
            </a:xfrm>
            <a:prstGeom prst="line">
              <a:avLst/>
            </a:prstGeom>
            <a:ln w="28575">
              <a:solidFill>
                <a:schemeClr val="bg1">
                  <a:lumMod val="85000"/>
                </a:schemeClr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lvl="0" defTabSz="825500">
                <a:defRPr sz="3200">
                  <a:solidFill>
                    <a:srgbClr val="000000"/>
                  </a:solidFill>
                </a:defRPr>
              </a:pPr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7" name="íSľîḓê">
              <a:extLst>
                <a:ext uri="{FF2B5EF4-FFF2-40B4-BE49-F238E27FC236}">
                  <a16:creationId xmlns:a16="http://schemas.microsoft.com/office/drawing/2014/main" id="{2D77B7F8-2547-4BE1-B6DC-46FE154C9BF5}"/>
                </a:ext>
              </a:extLst>
            </p:cNvPr>
            <p:cNvSpPr/>
            <p:nvPr/>
          </p:nvSpPr>
          <p:spPr>
            <a:xfrm>
              <a:off x="4603909" y="2005305"/>
              <a:ext cx="70035" cy="7003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lvl="0" defTabSz="825500">
                <a:defRPr sz="3200"/>
              </a:pPr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iṥļîḑé">
              <a:extLst>
                <a:ext uri="{FF2B5EF4-FFF2-40B4-BE49-F238E27FC236}">
                  <a16:creationId xmlns:a16="http://schemas.microsoft.com/office/drawing/2014/main" id="{3A559BBB-4A45-44FD-A1B3-9C2BC83F9F11}"/>
                </a:ext>
              </a:extLst>
            </p:cNvPr>
            <p:cNvSpPr/>
            <p:nvPr/>
          </p:nvSpPr>
          <p:spPr>
            <a:xfrm>
              <a:off x="3826716" y="5262890"/>
              <a:ext cx="1617624" cy="51344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3509" y="9"/>
                  </a:moveTo>
                  <a:lnTo>
                    <a:pt x="2686" y="18792"/>
                  </a:lnTo>
                  <a:cubicBezTo>
                    <a:pt x="2261" y="19120"/>
                    <a:pt x="1834" y="19418"/>
                    <a:pt x="1406" y="19687"/>
                  </a:cubicBezTo>
                  <a:cubicBezTo>
                    <a:pt x="939" y="19980"/>
                    <a:pt x="470" y="20238"/>
                    <a:pt x="0" y="20460"/>
                  </a:cubicBezTo>
                  <a:lnTo>
                    <a:pt x="0" y="21600"/>
                  </a:lnTo>
                  <a:lnTo>
                    <a:pt x="21600" y="21600"/>
                  </a:lnTo>
                  <a:lnTo>
                    <a:pt x="21600" y="20343"/>
                  </a:lnTo>
                  <a:cubicBezTo>
                    <a:pt x="21109" y="20169"/>
                    <a:pt x="20621" y="19938"/>
                    <a:pt x="20135" y="19649"/>
                  </a:cubicBezTo>
                  <a:cubicBezTo>
                    <a:pt x="19705" y="19393"/>
                    <a:pt x="19278" y="19092"/>
                    <a:pt x="18854" y="18746"/>
                  </a:cubicBezTo>
                  <a:lnTo>
                    <a:pt x="17985" y="0"/>
                  </a:lnTo>
                  <a:lnTo>
                    <a:pt x="3509" y="9"/>
                  </a:ln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lvl="0" defTabSz="825500">
                <a:defRPr sz="3200">
                  <a:solidFill>
                    <a:srgbClr val="000000"/>
                  </a:solidFill>
                </a:defRPr>
              </a:pPr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iṧ1iḑé">
              <a:extLst>
                <a:ext uri="{FF2B5EF4-FFF2-40B4-BE49-F238E27FC236}">
                  <a16:creationId xmlns:a16="http://schemas.microsoft.com/office/drawing/2014/main" id="{A6751BAF-07F9-4DAC-9001-64C340AB1D1C}"/>
                </a:ext>
              </a:extLst>
            </p:cNvPr>
            <p:cNvSpPr/>
            <p:nvPr/>
          </p:nvSpPr>
          <p:spPr>
            <a:xfrm>
              <a:off x="4541274" y="4940456"/>
              <a:ext cx="195305" cy="19530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bg1"/>
            </a:solidFill>
            <a:ln w="28575">
              <a:solidFill>
                <a:schemeClr val="bg1">
                  <a:lumMod val="85000"/>
                </a:schemeClr>
              </a:solidFill>
              <a:miter lim="400000"/>
            </a:ln>
          </p:spPr>
          <p:txBody>
            <a:bodyPr lIns="50800" tIns="50800" rIns="50800" bIns="50800" anchor="ctr"/>
            <a:lstStyle/>
            <a:p>
              <a:pPr lvl="0" defTabSz="825500">
                <a:defRPr sz="3200"/>
              </a:pPr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0" name="íṩļîďê">
              <a:extLst>
                <a:ext uri="{FF2B5EF4-FFF2-40B4-BE49-F238E27FC236}">
                  <a16:creationId xmlns:a16="http://schemas.microsoft.com/office/drawing/2014/main" id="{19BA19AA-04B9-48FD-A76C-15E5865A9D13}"/>
                </a:ext>
              </a:extLst>
            </p:cNvPr>
            <p:cNvSpPr/>
            <p:nvPr/>
          </p:nvSpPr>
          <p:spPr>
            <a:xfrm>
              <a:off x="2444443" y="2164697"/>
              <a:ext cx="4388970" cy="2479426"/>
            </a:xfrm>
            <a:prstGeom prst="roundRect">
              <a:avLst>
                <a:gd name="adj" fmla="val 0"/>
              </a:avLst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28575">
              <a:solidFill>
                <a:schemeClr val="bg1">
                  <a:lumMod val="8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/>
            <a:p>
              <a:pPr algn="ctr"/>
              <a:endParaRPr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9" name="îšḷïḍé">
            <a:extLst>
              <a:ext uri="{FF2B5EF4-FFF2-40B4-BE49-F238E27FC236}">
                <a16:creationId xmlns:a16="http://schemas.microsoft.com/office/drawing/2014/main" id="{D819642D-DE15-4957-BDCF-D8D2873EAB53}"/>
              </a:ext>
            </a:extLst>
          </p:cNvPr>
          <p:cNvSpPr/>
          <p:nvPr/>
        </p:nvSpPr>
        <p:spPr>
          <a:xfrm>
            <a:off x="1417637" y="2202461"/>
            <a:ext cx="1390650" cy="1390650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2D8727C1-B642-4D57-BBD1-CA3B679D3435}"/>
              </a:ext>
            </a:extLst>
          </p:cNvPr>
          <p:cNvCxnSpPr>
            <a:stCxn id="19" idx="6"/>
          </p:cNvCxnSpPr>
          <p:nvPr/>
        </p:nvCxnSpPr>
        <p:spPr>
          <a:xfrm>
            <a:off x="2808287" y="2897786"/>
            <a:ext cx="1305871" cy="0"/>
          </a:xfrm>
          <a:prstGeom prst="line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ïṩľíḑè">
            <a:extLst>
              <a:ext uri="{FF2B5EF4-FFF2-40B4-BE49-F238E27FC236}">
                <a16:creationId xmlns:a16="http://schemas.microsoft.com/office/drawing/2014/main" id="{97422589-9FE7-4FFF-9CB1-F5E370112869}"/>
              </a:ext>
            </a:extLst>
          </p:cNvPr>
          <p:cNvSpPr/>
          <p:nvPr/>
        </p:nvSpPr>
        <p:spPr>
          <a:xfrm flipH="1">
            <a:off x="9362030" y="3518607"/>
            <a:ext cx="1390650" cy="13906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7BC471DA-C6C5-441D-B22F-D2ACD38E4707}"/>
              </a:ext>
            </a:extLst>
          </p:cNvPr>
          <p:cNvCxnSpPr>
            <a:stCxn id="21" idx="6"/>
          </p:cNvCxnSpPr>
          <p:nvPr/>
        </p:nvCxnSpPr>
        <p:spPr>
          <a:xfrm flipH="1">
            <a:off x="8056159" y="4213932"/>
            <a:ext cx="1305871" cy="0"/>
          </a:xfrm>
          <a:prstGeom prst="lin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iṣľiḓé">
            <a:extLst>
              <a:ext uri="{FF2B5EF4-FFF2-40B4-BE49-F238E27FC236}">
                <a16:creationId xmlns:a16="http://schemas.microsoft.com/office/drawing/2014/main" id="{64BF6A9F-E175-4DAA-A5CB-D60A1DDDACC0}"/>
              </a:ext>
            </a:extLst>
          </p:cNvPr>
          <p:cNvSpPr/>
          <p:nvPr/>
        </p:nvSpPr>
        <p:spPr bwMode="auto">
          <a:xfrm>
            <a:off x="668337" y="3682065"/>
            <a:ext cx="2889250" cy="1598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information here, be concise, and be careful to check for spelling errors;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4" name="îṡļîḓe">
            <a:extLst>
              <a:ext uri="{FF2B5EF4-FFF2-40B4-BE49-F238E27FC236}">
                <a16:creationId xmlns:a16="http://schemas.microsoft.com/office/drawing/2014/main" id="{03FA2276-9FD7-46C9-99E1-7E64BFD32B95}"/>
              </a:ext>
            </a:extLst>
          </p:cNvPr>
          <p:cNvSpPr/>
          <p:nvPr/>
        </p:nvSpPr>
        <p:spPr bwMode="auto">
          <a:xfrm>
            <a:off x="8591047" y="5026811"/>
            <a:ext cx="2932616" cy="1598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zh-CN" altLang="en-US" sz="1100" dirty="0">
                <a:solidFill>
                  <a:schemeClr val="bg1"/>
                </a:solidFill>
                <a:cs typeface="+mn-ea"/>
                <a:sym typeface="+mn-lt"/>
              </a:rPr>
              <a:t>Enter your text information here, be concise, and be careful to check for spelling errors;</a:t>
            </a:r>
            <a:endParaRPr lang="en-US" altLang="zh-CN" sz="1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9187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75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25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000"/>
                            </p:stCondLst>
                            <p:childTnLst>
                              <p:par>
                                <p:cTn id="5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19" grpId="0" animBg="1"/>
      <p:bldP spid="21" grpId="0" animBg="1"/>
      <p:bldP spid="23" grpId="0"/>
      <p:bldP spid="2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34331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Team introduction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4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1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grpSp>
        <p:nvGrpSpPr>
          <p:cNvPr id="23" name="iSļïdè">
            <a:extLst>
              <a:ext uri="{FF2B5EF4-FFF2-40B4-BE49-F238E27FC236}">
                <a16:creationId xmlns:a16="http://schemas.microsoft.com/office/drawing/2014/main" id="{4F674872-FCCF-4E3D-A1A2-11F97AFC41E7}"/>
              </a:ext>
            </a:extLst>
          </p:cNvPr>
          <p:cNvGrpSpPr/>
          <p:nvPr/>
        </p:nvGrpSpPr>
        <p:grpSpPr>
          <a:xfrm>
            <a:off x="957575" y="3086944"/>
            <a:ext cx="10286688" cy="2753544"/>
            <a:chOff x="918758" y="1130300"/>
            <a:chExt cx="10286688" cy="2753544"/>
          </a:xfrm>
        </p:grpSpPr>
        <p:grpSp>
          <p:nvGrpSpPr>
            <p:cNvPr id="36" name="ïṣľïḍê">
              <a:extLst>
                <a:ext uri="{FF2B5EF4-FFF2-40B4-BE49-F238E27FC236}">
                  <a16:creationId xmlns:a16="http://schemas.microsoft.com/office/drawing/2014/main" id="{D7CC2133-5D88-4DE0-8703-E9AF63B9C721}"/>
                </a:ext>
              </a:extLst>
            </p:cNvPr>
            <p:cNvGrpSpPr/>
            <p:nvPr/>
          </p:nvGrpSpPr>
          <p:grpSpPr>
            <a:xfrm>
              <a:off x="1497106" y="2554624"/>
              <a:ext cx="9197788" cy="1329220"/>
              <a:chOff x="1497106" y="2234112"/>
              <a:chExt cx="9197788" cy="1696820"/>
            </a:xfrm>
          </p:grpSpPr>
          <p:sp>
            <p:nvSpPr>
              <p:cNvPr id="45" name="išľíḓé">
                <a:extLst>
                  <a:ext uri="{FF2B5EF4-FFF2-40B4-BE49-F238E27FC236}">
                    <a16:creationId xmlns:a16="http://schemas.microsoft.com/office/drawing/2014/main" id="{818E2FAC-D23F-4CC1-B52E-72A8FE451260}"/>
                  </a:ext>
                </a:extLst>
              </p:cNvPr>
              <p:cNvSpPr/>
              <p:nvPr/>
            </p:nvSpPr>
            <p:spPr bwMode="auto">
              <a:xfrm>
                <a:off x="1497106" y="2449265"/>
                <a:ext cx="9197788" cy="1481667"/>
              </a:xfrm>
              <a:custGeom>
                <a:avLst/>
                <a:gdLst>
                  <a:gd name="T0" fmla="*/ 0 w 5760"/>
                  <a:gd name="T1" fmla="*/ 0 h 700"/>
                  <a:gd name="T2" fmla="*/ 114300 w 5760"/>
                  <a:gd name="T3" fmla="*/ 60325 h 700"/>
                  <a:gd name="T4" fmla="*/ 312737 w 5760"/>
                  <a:gd name="T5" fmla="*/ 152400 h 700"/>
                  <a:gd name="T6" fmla="*/ 600075 w 5760"/>
                  <a:gd name="T7" fmla="*/ 277813 h 700"/>
                  <a:gd name="T8" fmla="*/ 973138 w 5760"/>
                  <a:gd name="T9" fmla="*/ 422275 h 700"/>
                  <a:gd name="T10" fmla="*/ 1187450 w 5760"/>
                  <a:gd name="T11" fmla="*/ 498475 h 700"/>
                  <a:gd name="T12" fmla="*/ 1420812 w 5760"/>
                  <a:gd name="T13" fmla="*/ 576262 h 700"/>
                  <a:gd name="T14" fmla="*/ 1671638 w 5760"/>
                  <a:gd name="T15" fmla="*/ 654050 h 700"/>
                  <a:gd name="T16" fmla="*/ 1938338 w 5760"/>
                  <a:gd name="T17" fmla="*/ 727075 h 700"/>
                  <a:gd name="T18" fmla="*/ 2222500 w 5760"/>
                  <a:gd name="T19" fmla="*/ 800100 h 700"/>
                  <a:gd name="T20" fmla="*/ 2520950 w 5760"/>
                  <a:gd name="T21" fmla="*/ 868363 h 700"/>
                  <a:gd name="T22" fmla="*/ 2835275 w 5760"/>
                  <a:gd name="T23" fmla="*/ 930275 h 700"/>
                  <a:gd name="T24" fmla="*/ 3160712 w 5760"/>
                  <a:gd name="T25" fmla="*/ 985838 h 700"/>
                  <a:gd name="T26" fmla="*/ 3502025 w 5760"/>
                  <a:gd name="T27" fmla="*/ 1033463 h 700"/>
                  <a:gd name="T28" fmla="*/ 3852863 w 5760"/>
                  <a:gd name="T29" fmla="*/ 1069975 h 700"/>
                  <a:gd name="T30" fmla="*/ 4216400 w 5760"/>
                  <a:gd name="T31" fmla="*/ 1096963 h 700"/>
                  <a:gd name="T32" fmla="*/ 4587875 w 5760"/>
                  <a:gd name="T33" fmla="*/ 1109663 h 700"/>
                  <a:gd name="T34" fmla="*/ 4972050 w 5760"/>
                  <a:gd name="T35" fmla="*/ 1109663 h 700"/>
                  <a:gd name="T36" fmla="*/ 5362575 w 5760"/>
                  <a:gd name="T37" fmla="*/ 1095375 h 700"/>
                  <a:gd name="T38" fmla="*/ 5762625 w 5760"/>
                  <a:gd name="T39" fmla="*/ 1063625 h 700"/>
                  <a:gd name="T40" fmla="*/ 6065837 w 5760"/>
                  <a:gd name="T41" fmla="*/ 1028700 h 700"/>
                  <a:gd name="T42" fmla="*/ 6270624 w 5760"/>
                  <a:gd name="T43" fmla="*/ 998538 h 700"/>
                  <a:gd name="T44" fmla="*/ 6476999 w 5760"/>
                  <a:gd name="T45" fmla="*/ 965200 h 700"/>
                  <a:gd name="T46" fmla="*/ 6684963 w 5760"/>
                  <a:gd name="T47" fmla="*/ 925513 h 700"/>
                  <a:gd name="T48" fmla="*/ 6894513 w 5760"/>
                  <a:gd name="T49" fmla="*/ 881063 h 700"/>
                  <a:gd name="T50" fmla="*/ 7104063 w 5760"/>
                  <a:gd name="T51" fmla="*/ 830263 h 700"/>
                  <a:gd name="T52" fmla="*/ 7315201 w 5760"/>
                  <a:gd name="T53" fmla="*/ 776287 h 700"/>
                  <a:gd name="T54" fmla="*/ 7527926 w 5760"/>
                  <a:gd name="T55" fmla="*/ 714375 h 700"/>
                  <a:gd name="T56" fmla="*/ 7740650 w 5760"/>
                  <a:gd name="T57" fmla="*/ 647700 h 700"/>
                  <a:gd name="T58" fmla="*/ 7956550 w 5760"/>
                  <a:gd name="T59" fmla="*/ 576262 h 700"/>
                  <a:gd name="T60" fmla="*/ 8169275 w 5760"/>
                  <a:gd name="T61" fmla="*/ 496888 h 700"/>
                  <a:gd name="T62" fmla="*/ 8386763 w 5760"/>
                  <a:gd name="T63" fmla="*/ 411163 h 700"/>
                  <a:gd name="T64" fmla="*/ 8601075 w 5760"/>
                  <a:gd name="T65" fmla="*/ 319087 h 700"/>
                  <a:gd name="T66" fmla="*/ 8818563 w 5760"/>
                  <a:gd name="T67" fmla="*/ 219075 h 700"/>
                  <a:gd name="T68" fmla="*/ 9036050 w 5760"/>
                  <a:gd name="T69" fmla="*/ 114300 h 700"/>
                  <a:gd name="T70" fmla="*/ 9144000 w 5760"/>
                  <a:gd name="T71" fmla="*/ 58738 h 700"/>
                  <a:gd name="T72" fmla="*/ 8926513 w 5760"/>
                  <a:gd name="T73" fmla="*/ 100012 h 700"/>
                  <a:gd name="T74" fmla="*/ 8667750 w 5760"/>
                  <a:gd name="T75" fmla="*/ 146050 h 700"/>
                  <a:gd name="T76" fmla="*/ 8321675 w 5760"/>
                  <a:gd name="T77" fmla="*/ 201612 h 700"/>
                  <a:gd name="T78" fmla="*/ 7891463 w 5760"/>
                  <a:gd name="T79" fmla="*/ 260350 h 700"/>
                  <a:gd name="T80" fmla="*/ 7386638 w 5760"/>
                  <a:gd name="T81" fmla="*/ 322262 h 700"/>
                  <a:gd name="T82" fmla="*/ 6816726 w 5760"/>
                  <a:gd name="T83" fmla="*/ 382587 h 700"/>
                  <a:gd name="T84" fmla="*/ 6188074 w 5760"/>
                  <a:gd name="T85" fmla="*/ 431800 h 700"/>
                  <a:gd name="T86" fmla="*/ 5681662 w 5760"/>
                  <a:gd name="T87" fmla="*/ 461963 h 700"/>
                  <a:gd name="T88" fmla="*/ 5330825 w 5760"/>
                  <a:gd name="T89" fmla="*/ 476250 h 700"/>
                  <a:gd name="T90" fmla="*/ 4972050 w 5760"/>
                  <a:gd name="T91" fmla="*/ 487363 h 700"/>
                  <a:gd name="T92" fmla="*/ 4600575 w 5760"/>
                  <a:gd name="T93" fmla="*/ 492125 h 700"/>
                  <a:gd name="T94" fmla="*/ 4222750 w 5760"/>
                  <a:gd name="T95" fmla="*/ 490538 h 700"/>
                  <a:gd name="T96" fmla="*/ 3836988 w 5760"/>
                  <a:gd name="T97" fmla="*/ 485775 h 700"/>
                  <a:gd name="T98" fmla="*/ 3444875 w 5760"/>
                  <a:gd name="T99" fmla="*/ 471488 h 700"/>
                  <a:gd name="T100" fmla="*/ 3048000 w 5760"/>
                  <a:gd name="T101" fmla="*/ 450850 h 700"/>
                  <a:gd name="T102" fmla="*/ 2646362 w 5760"/>
                  <a:gd name="T103" fmla="*/ 422275 h 700"/>
                  <a:gd name="T104" fmla="*/ 2241550 w 5760"/>
                  <a:gd name="T105" fmla="*/ 384175 h 700"/>
                  <a:gd name="T106" fmla="*/ 1833563 w 5760"/>
                  <a:gd name="T107" fmla="*/ 336550 h 700"/>
                  <a:gd name="T108" fmla="*/ 1425575 w 5760"/>
                  <a:gd name="T109" fmla="*/ 280987 h 700"/>
                  <a:gd name="T110" fmla="*/ 1016000 w 5760"/>
                  <a:gd name="T111" fmla="*/ 215900 h 700"/>
                  <a:gd name="T112" fmla="*/ 608012 w 5760"/>
                  <a:gd name="T113" fmla="*/ 138113 h 700"/>
                  <a:gd name="T114" fmla="*/ 203200 w 5760"/>
                  <a:gd name="T115" fmla="*/ 49212 h 700"/>
                  <a:gd name="T116" fmla="*/ 0 w 5760"/>
                  <a:gd name="T117" fmla="*/ 0 h 7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760"/>
                  <a:gd name="T178" fmla="*/ 0 h 700"/>
                  <a:gd name="T179" fmla="*/ 5760 w 5760"/>
                  <a:gd name="T180" fmla="*/ 700 h 70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760" h="700">
                    <a:moveTo>
                      <a:pt x="0" y="0"/>
                    </a:moveTo>
                    <a:lnTo>
                      <a:pt x="0" y="0"/>
                    </a:lnTo>
                    <a:lnTo>
                      <a:pt x="32" y="17"/>
                    </a:lnTo>
                    <a:lnTo>
                      <a:pt x="72" y="38"/>
                    </a:lnTo>
                    <a:lnTo>
                      <a:pt x="128" y="64"/>
                    </a:lnTo>
                    <a:lnTo>
                      <a:pt x="197" y="96"/>
                    </a:lnTo>
                    <a:lnTo>
                      <a:pt x="281" y="134"/>
                    </a:lnTo>
                    <a:lnTo>
                      <a:pt x="378" y="175"/>
                    </a:lnTo>
                    <a:lnTo>
                      <a:pt x="490" y="219"/>
                    </a:lnTo>
                    <a:lnTo>
                      <a:pt x="613" y="266"/>
                    </a:lnTo>
                    <a:lnTo>
                      <a:pt x="679" y="290"/>
                    </a:lnTo>
                    <a:lnTo>
                      <a:pt x="748" y="314"/>
                    </a:lnTo>
                    <a:lnTo>
                      <a:pt x="820" y="339"/>
                    </a:lnTo>
                    <a:lnTo>
                      <a:pt x="895" y="363"/>
                    </a:lnTo>
                    <a:lnTo>
                      <a:pt x="973" y="387"/>
                    </a:lnTo>
                    <a:lnTo>
                      <a:pt x="1053" y="412"/>
                    </a:lnTo>
                    <a:lnTo>
                      <a:pt x="1136" y="436"/>
                    </a:lnTo>
                    <a:lnTo>
                      <a:pt x="1221" y="458"/>
                    </a:lnTo>
                    <a:lnTo>
                      <a:pt x="1310" y="482"/>
                    </a:lnTo>
                    <a:lnTo>
                      <a:pt x="1400" y="504"/>
                    </a:lnTo>
                    <a:lnTo>
                      <a:pt x="1494" y="526"/>
                    </a:lnTo>
                    <a:lnTo>
                      <a:pt x="1588" y="547"/>
                    </a:lnTo>
                    <a:lnTo>
                      <a:pt x="1686" y="568"/>
                    </a:lnTo>
                    <a:lnTo>
                      <a:pt x="1786" y="586"/>
                    </a:lnTo>
                    <a:lnTo>
                      <a:pt x="1888" y="604"/>
                    </a:lnTo>
                    <a:lnTo>
                      <a:pt x="1991" y="621"/>
                    </a:lnTo>
                    <a:lnTo>
                      <a:pt x="2097" y="636"/>
                    </a:lnTo>
                    <a:lnTo>
                      <a:pt x="2206" y="651"/>
                    </a:lnTo>
                    <a:lnTo>
                      <a:pt x="2315" y="664"/>
                    </a:lnTo>
                    <a:lnTo>
                      <a:pt x="2427" y="674"/>
                    </a:lnTo>
                    <a:lnTo>
                      <a:pt x="2541" y="683"/>
                    </a:lnTo>
                    <a:lnTo>
                      <a:pt x="2656" y="691"/>
                    </a:lnTo>
                    <a:lnTo>
                      <a:pt x="2772" y="695"/>
                    </a:lnTo>
                    <a:lnTo>
                      <a:pt x="2890" y="699"/>
                    </a:lnTo>
                    <a:lnTo>
                      <a:pt x="3010" y="700"/>
                    </a:lnTo>
                    <a:lnTo>
                      <a:pt x="3132" y="699"/>
                    </a:lnTo>
                    <a:lnTo>
                      <a:pt x="3254" y="695"/>
                    </a:lnTo>
                    <a:lnTo>
                      <a:pt x="3378" y="690"/>
                    </a:lnTo>
                    <a:lnTo>
                      <a:pt x="3503" y="681"/>
                    </a:lnTo>
                    <a:lnTo>
                      <a:pt x="3630" y="670"/>
                    </a:lnTo>
                    <a:lnTo>
                      <a:pt x="3756" y="656"/>
                    </a:lnTo>
                    <a:lnTo>
                      <a:pt x="3821" y="648"/>
                    </a:lnTo>
                    <a:lnTo>
                      <a:pt x="3885" y="638"/>
                    </a:lnTo>
                    <a:lnTo>
                      <a:pt x="3950" y="629"/>
                    </a:lnTo>
                    <a:lnTo>
                      <a:pt x="4015" y="619"/>
                    </a:lnTo>
                    <a:lnTo>
                      <a:pt x="4080" y="608"/>
                    </a:lnTo>
                    <a:lnTo>
                      <a:pt x="4145" y="596"/>
                    </a:lnTo>
                    <a:lnTo>
                      <a:pt x="4211" y="583"/>
                    </a:lnTo>
                    <a:lnTo>
                      <a:pt x="4277" y="569"/>
                    </a:lnTo>
                    <a:lnTo>
                      <a:pt x="4343" y="555"/>
                    </a:lnTo>
                    <a:lnTo>
                      <a:pt x="4409" y="539"/>
                    </a:lnTo>
                    <a:lnTo>
                      <a:pt x="4475" y="523"/>
                    </a:lnTo>
                    <a:lnTo>
                      <a:pt x="4541" y="506"/>
                    </a:lnTo>
                    <a:lnTo>
                      <a:pt x="4608" y="489"/>
                    </a:lnTo>
                    <a:lnTo>
                      <a:pt x="4674" y="470"/>
                    </a:lnTo>
                    <a:lnTo>
                      <a:pt x="4742" y="450"/>
                    </a:lnTo>
                    <a:lnTo>
                      <a:pt x="4809" y="430"/>
                    </a:lnTo>
                    <a:lnTo>
                      <a:pt x="4876" y="408"/>
                    </a:lnTo>
                    <a:lnTo>
                      <a:pt x="4943" y="386"/>
                    </a:lnTo>
                    <a:lnTo>
                      <a:pt x="5012" y="363"/>
                    </a:lnTo>
                    <a:lnTo>
                      <a:pt x="5079" y="338"/>
                    </a:lnTo>
                    <a:lnTo>
                      <a:pt x="5146" y="313"/>
                    </a:lnTo>
                    <a:lnTo>
                      <a:pt x="5214" y="286"/>
                    </a:lnTo>
                    <a:lnTo>
                      <a:pt x="5283" y="259"/>
                    </a:lnTo>
                    <a:lnTo>
                      <a:pt x="5350" y="231"/>
                    </a:lnTo>
                    <a:lnTo>
                      <a:pt x="5418" y="201"/>
                    </a:lnTo>
                    <a:lnTo>
                      <a:pt x="5487" y="170"/>
                    </a:lnTo>
                    <a:lnTo>
                      <a:pt x="5555" y="138"/>
                    </a:lnTo>
                    <a:lnTo>
                      <a:pt x="5623" y="106"/>
                    </a:lnTo>
                    <a:lnTo>
                      <a:pt x="5692" y="72"/>
                    </a:lnTo>
                    <a:lnTo>
                      <a:pt x="5760" y="37"/>
                    </a:lnTo>
                    <a:lnTo>
                      <a:pt x="5725" y="44"/>
                    </a:lnTo>
                    <a:lnTo>
                      <a:pt x="5623" y="63"/>
                    </a:lnTo>
                    <a:lnTo>
                      <a:pt x="5549" y="77"/>
                    </a:lnTo>
                    <a:lnTo>
                      <a:pt x="5460" y="92"/>
                    </a:lnTo>
                    <a:lnTo>
                      <a:pt x="5358" y="109"/>
                    </a:lnTo>
                    <a:lnTo>
                      <a:pt x="5242" y="127"/>
                    </a:lnTo>
                    <a:lnTo>
                      <a:pt x="5112" y="145"/>
                    </a:lnTo>
                    <a:lnTo>
                      <a:pt x="4971" y="164"/>
                    </a:lnTo>
                    <a:lnTo>
                      <a:pt x="4818" y="184"/>
                    </a:lnTo>
                    <a:lnTo>
                      <a:pt x="4653" y="203"/>
                    </a:lnTo>
                    <a:lnTo>
                      <a:pt x="4478" y="223"/>
                    </a:lnTo>
                    <a:lnTo>
                      <a:pt x="4294" y="241"/>
                    </a:lnTo>
                    <a:lnTo>
                      <a:pt x="4100" y="257"/>
                    </a:lnTo>
                    <a:lnTo>
                      <a:pt x="3898" y="272"/>
                    </a:lnTo>
                    <a:lnTo>
                      <a:pt x="3688" y="285"/>
                    </a:lnTo>
                    <a:lnTo>
                      <a:pt x="3579" y="291"/>
                    </a:lnTo>
                    <a:lnTo>
                      <a:pt x="3470" y="296"/>
                    </a:lnTo>
                    <a:lnTo>
                      <a:pt x="3358" y="300"/>
                    </a:lnTo>
                    <a:lnTo>
                      <a:pt x="3246" y="303"/>
                    </a:lnTo>
                    <a:lnTo>
                      <a:pt x="3132" y="307"/>
                    </a:lnTo>
                    <a:lnTo>
                      <a:pt x="3016" y="309"/>
                    </a:lnTo>
                    <a:lnTo>
                      <a:pt x="2898" y="310"/>
                    </a:lnTo>
                    <a:lnTo>
                      <a:pt x="2780" y="310"/>
                    </a:lnTo>
                    <a:lnTo>
                      <a:pt x="2660" y="309"/>
                    </a:lnTo>
                    <a:lnTo>
                      <a:pt x="2539" y="308"/>
                    </a:lnTo>
                    <a:lnTo>
                      <a:pt x="2417" y="306"/>
                    </a:lnTo>
                    <a:lnTo>
                      <a:pt x="2294" y="302"/>
                    </a:lnTo>
                    <a:lnTo>
                      <a:pt x="2170" y="297"/>
                    </a:lnTo>
                    <a:lnTo>
                      <a:pt x="2045" y="291"/>
                    </a:lnTo>
                    <a:lnTo>
                      <a:pt x="1920" y="284"/>
                    </a:lnTo>
                    <a:lnTo>
                      <a:pt x="1793" y="275"/>
                    </a:lnTo>
                    <a:lnTo>
                      <a:pt x="1667" y="266"/>
                    </a:lnTo>
                    <a:lnTo>
                      <a:pt x="1539" y="254"/>
                    </a:lnTo>
                    <a:lnTo>
                      <a:pt x="1412" y="242"/>
                    </a:lnTo>
                    <a:lnTo>
                      <a:pt x="1284" y="228"/>
                    </a:lnTo>
                    <a:lnTo>
                      <a:pt x="1155" y="212"/>
                    </a:lnTo>
                    <a:lnTo>
                      <a:pt x="1026" y="196"/>
                    </a:lnTo>
                    <a:lnTo>
                      <a:pt x="898" y="177"/>
                    </a:lnTo>
                    <a:lnTo>
                      <a:pt x="769" y="158"/>
                    </a:lnTo>
                    <a:lnTo>
                      <a:pt x="640" y="136"/>
                    </a:lnTo>
                    <a:lnTo>
                      <a:pt x="512" y="112"/>
                    </a:lnTo>
                    <a:lnTo>
                      <a:pt x="383" y="87"/>
                    </a:lnTo>
                    <a:lnTo>
                      <a:pt x="255" y="60"/>
                    </a:lnTo>
                    <a:lnTo>
                      <a:pt x="128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  <a:alpha val="61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6" name="ïS1íḓe">
                <a:extLst>
                  <a:ext uri="{FF2B5EF4-FFF2-40B4-BE49-F238E27FC236}">
                    <a16:creationId xmlns:a16="http://schemas.microsoft.com/office/drawing/2014/main" id="{A868FBE9-E98D-4043-99D1-A9B1693AE586}"/>
                  </a:ext>
                </a:extLst>
              </p:cNvPr>
              <p:cNvSpPr/>
              <p:nvPr/>
            </p:nvSpPr>
            <p:spPr bwMode="auto">
              <a:xfrm>
                <a:off x="1497106" y="2234112"/>
                <a:ext cx="9197788" cy="1481667"/>
              </a:xfrm>
              <a:custGeom>
                <a:avLst/>
                <a:gdLst>
                  <a:gd name="T0" fmla="*/ 0 w 5760"/>
                  <a:gd name="T1" fmla="*/ 0 h 700"/>
                  <a:gd name="T2" fmla="*/ 114300 w 5760"/>
                  <a:gd name="T3" fmla="*/ 60325 h 700"/>
                  <a:gd name="T4" fmla="*/ 312737 w 5760"/>
                  <a:gd name="T5" fmla="*/ 152400 h 700"/>
                  <a:gd name="T6" fmla="*/ 600075 w 5760"/>
                  <a:gd name="T7" fmla="*/ 277813 h 700"/>
                  <a:gd name="T8" fmla="*/ 973138 w 5760"/>
                  <a:gd name="T9" fmla="*/ 422275 h 700"/>
                  <a:gd name="T10" fmla="*/ 1187450 w 5760"/>
                  <a:gd name="T11" fmla="*/ 498475 h 700"/>
                  <a:gd name="T12" fmla="*/ 1420812 w 5760"/>
                  <a:gd name="T13" fmla="*/ 576262 h 700"/>
                  <a:gd name="T14" fmla="*/ 1671638 w 5760"/>
                  <a:gd name="T15" fmla="*/ 654050 h 700"/>
                  <a:gd name="T16" fmla="*/ 1938338 w 5760"/>
                  <a:gd name="T17" fmla="*/ 727075 h 700"/>
                  <a:gd name="T18" fmla="*/ 2222500 w 5760"/>
                  <a:gd name="T19" fmla="*/ 800100 h 700"/>
                  <a:gd name="T20" fmla="*/ 2520950 w 5760"/>
                  <a:gd name="T21" fmla="*/ 868363 h 700"/>
                  <a:gd name="T22" fmla="*/ 2835275 w 5760"/>
                  <a:gd name="T23" fmla="*/ 930275 h 700"/>
                  <a:gd name="T24" fmla="*/ 3160712 w 5760"/>
                  <a:gd name="T25" fmla="*/ 985838 h 700"/>
                  <a:gd name="T26" fmla="*/ 3502025 w 5760"/>
                  <a:gd name="T27" fmla="*/ 1033463 h 700"/>
                  <a:gd name="T28" fmla="*/ 3852863 w 5760"/>
                  <a:gd name="T29" fmla="*/ 1069975 h 700"/>
                  <a:gd name="T30" fmla="*/ 4216400 w 5760"/>
                  <a:gd name="T31" fmla="*/ 1096963 h 700"/>
                  <a:gd name="T32" fmla="*/ 4587875 w 5760"/>
                  <a:gd name="T33" fmla="*/ 1109663 h 700"/>
                  <a:gd name="T34" fmla="*/ 4972050 w 5760"/>
                  <a:gd name="T35" fmla="*/ 1109663 h 700"/>
                  <a:gd name="T36" fmla="*/ 5362575 w 5760"/>
                  <a:gd name="T37" fmla="*/ 1095375 h 700"/>
                  <a:gd name="T38" fmla="*/ 5762625 w 5760"/>
                  <a:gd name="T39" fmla="*/ 1063625 h 700"/>
                  <a:gd name="T40" fmla="*/ 6065837 w 5760"/>
                  <a:gd name="T41" fmla="*/ 1028700 h 700"/>
                  <a:gd name="T42" fmla="*/ 6270624 w 5760"/>
                  <a:gd name="T43" fmla="*/ 998538 h 700"/>
                  <a:gd name="T44" fmla="*/ 6476999 w 5760"/>
                  <a:gd name="T45" fmla="*/ 965200 h 700"/>
                  <a:gd name="T46" fmla="*/ 6684963 w 5760"/>
                  <a:gd name="T47" fmla="*/ 925513 h 700"/>
                  <a:gd name="T48" fmla="*/ 6894513 w 5760"/>
                  <a:gd name="T49" fmla="*/ 881063 h 700"/>
                  <a:gd name="T50" fmla="*/ 7104063 w 5760"/>
                  <a:gd name="T51" fmla="*/ 830263 h 700"/>
                  <a:gd name="T52" fmla="*/ 7315201 w 5760"/>
                  <a:gd name="T53" fmla="*/ 776287 h 700"/>
                  <a:gd name="T54" fmla="*/ 7527926 w 5760"/>
                  <a:gd name="T55" fmla="*/ 714375 h 700"/>
                  <a:gd name="T56" fmla="*/ 7740650 w 5760"/>
                  <a:gd name="T57" fmla="*/ 647700 h 700"/>
                  <a:gd name="T58" fmla="*/ 7956550 w 5760"/>
                  <a:gd name="T59" fmla="*/ 576262 h 700"/>
                  <a:gd name="T60" fmla="*/ 8169275 w 5760"/>
                  <a:gd name="T61" fmla="*/ 496888 h 700"/>
                  <a:gd name="T62" fmla="*/ 8386763 w 5760"/>
                  <a:gd name="T63" fmla="*/ 411163 h 700"/>
                  <a:gd name="T64" fmla="*/ 8601075 w 5760"/>
                  <a:gd name="T65" fmla="*/ 319087 h 700"/>
                  <a:gd name="T66" fmla="*/ 8818563 w 5760"/>
                  <a:gd name="T67" fmla="*/ 219075 h 700"/>
                  <a:gd name="T68" fmla="*/ 9036050 w 5760"/>
                  <a:gd name="T69" fmla="*/ 114300 h 700"/>
                  <a:gd name="T70" fmla="*/ 9144000 w 5760"/>
                  <a:gd name="T71" fmla="*/ 58738 h 700"/>
                  <a:gd name="T72" fmla="*/ 8926513 w 5760"/>
                  <a:gd name="T73" fmla="*/ 100012 h 700"/>
                  <a:gd name="T74" fmla="*/ 8667750 w 5760"/>
                  <a:gd name="T75" fmla="*/ 146050 h 700"/>
                  <a:gd name="T76" fmla="*/ 8321675 w 5760"/>
                  <a:gd name="T77" fmla="*/ 201612 h 700"/>
                  <a:gd name="T78" fmla="*/ 7891463 w 5760"/>
                  <a:gd name="T79" fmla="*/ 260350 h 700"/>
                  <a:gd name="T80" fmla="*/ 7386638 w 5760"/>
                  <a:gd name="T81" fmla="*/ 322262 h 700"/>
                  <a:gd name="T82" fmla="*/ 6816726 w 5760"/>
                  <a:gd name="T83" fmla="*/ 382587 h 700"/>
                  <a:gd name="T84" fmla="*/ 6188074 w 5760"/>
                  <a:gd name="T85" fmla="*/ 431800 h 700"/>
                  <a:gd name="T86" fmla="*/ 5681662 w 5760"/>
                  <a:gd name="T87" fmla="*/ 461963 h 700"/>
                  <a:gd name="T88" fmla="*/ 5330825 w 5760"/>
                  <a:gd name="T89" fmla="*/ 476250 h 700"/>
                  <a:gd name="T90" fmla="*/ 4972050 w 5760"/>
                  <a:gd name="T91" fmla="*/ 487363 h 700"/>
                  <a:gd name="T92" fmla="*/ 4600575 w 5760"/>
                  <a:gd name="T93" fmla="*/ 492125 h 700"/>
                  <a:gd name="T94" fmla="*/ 4222750 w 5760"/>
                  <a:gd name="T95" fmla="*/ 490538 h 700"/>
                  <a:gd name="T96" fmla="*/ 3836988 w 5760"/>
                  <a:gd name="T97" fmla="*/ 485775 h 700"/>
                  <a:gd name="T98" fmla="*/ 3444875 w 5760"/>
                  <a:gd name="T99" fmla="*/ 471488 h 700"/>
                  <a:gd name="T100" fmla="*/ 3048000 w 5760"/>
                  <a:gd name="T101" fmla="*/ 450850 h 700"/>
                  <a:gd name="T102" fmla="*/ 2646362 w 5760"/>
                  <a:gd name="T103" fmla="*/ 422275 h 700"/>
                  <a:gd name="T104" fmla="*/ 2241550 w 5760"/>
                  <a:gd name="T105" fmla="*/ 384175 h 700"/>
                  <a:gd name="T106" fmla="*/ 1833563 w 5760"/>
                  <a:gd name="T107" fmla="*/ 336550 h 700"/>
                  <a:gd name="T108" fmla="*/ 1425575 w 5760"/>
                  <a:gd name="T109" fmla="*/ 280987 h 700"/>
                  <a:gd name="T110" fmla="*/ 1016000 w 5760"/>
                  <a:gd name="T111" fmla="*/ 215900 h 700"/>
                  <a:gd name="T112" fmla="*/ 608012 w 5760"/>
                  <a:gd name="T113" fmla="*/ 138113 h 700"/>
                  <a:gd name="T114" fmla="*/ 203200 w 5760"/>
                  <a:gd name="T115" fmla="*/ 49212 h 700"/>
                  <a:gd name="T116" fmla="*/ 0 w 5760"/>
                  <a:gd name="T117" fmla="*/ 0 h 70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760"/>
                  <a:gd name="T178" fmla="*/ 0 h 700"/>
                  <a:gd name="T179" fmla="*/ 5760 w 5760"/>
                  <a:gd name="T180" fmla="*/ 700 h 70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760" h="700">
                    <a:moveTo>
                      <a:pt x="0" y="0"/>
                    </a:moveTo>
                    <a:lnTo>
                      <a:pt x="0" y="0"/>
                    </a:lnTo>
                    <a:lnTo>
                      <a:pt x="32" y="17"/>
                    </a:lnTo>
                    <a:lnTo>
                      <a:pt x="72" y="38"/>
                    </a:lnTo>
                    <a:lnTo>
                      <a:pt x="128" y="64"/>
                    </a:lnTo>
                    <a:lnTo>
                      <a:pt x="197" y="96"/>
                    </a:lnTo>
                    <a:lnTo>
                      <a:pt x="281" y="134"/>
                    </a:lnTo>
                    <a:lnTo>
                      <a:pt x="378" y="175"/>
                    </a:lnTo>
                    <a:lnTo>
                      <a:pt x="490" y="219"/>
                    </a:lnTo>
                    <a:lnTo>
                      <a:pt x="613" y="266"/>
                    </a:lnTo>
                    <a:lnTo>
                      <a:pt x="679" y="290"/>
                    </a:lnTo>
                    <a:lnTo>
                      <a:pt x="748" y="314"/>
                    </a:lnTo>
                    <a:lnTo>
                      <a:pt x="820" y="339"/>
                    </a:lnTo>
                    <a:lnTo>
                      <a:pt x="895" y="363"/>
                    </a:lnTo>
                    <a:lnTo>
                      <a:pt x="973" y="387"/>
                    </a:lnTo>
                    <a:lnTo>
                      <a:pt x="1053" y="412"/>
                    </a:lnTo>
                    <a:lnTo>
                      <a:pt x="1136" y="436"/>
                    </a:lnTo>
                    <a:lnTo>
                      <a:pt x="1221" y="458"/>
                    </a:lnTo>
                    <a:lnTo>
                      <a:pt x="1310" y="482"/>
                    </a:lnTo>
                    <a:lnTo>
                      <a:pt x="1400" y="504"/>
                    </a:lnTo>
                    <a:lnTo>
                      <a:pt x="1494" y="526"/>
                    </a:lnTo>
                    <a:lnTo>
                      <a:pt x="1588" y="547"/>
                    </a:lnTo>
                    <a:lnTo>
                      <a:pt x="1686" y="568"/>
                    </a:lnTo>
                    <a:lnTo>
                      <a:pt x="1786" y="586"/>
                    </a:lnTo>
                    <a:lnTo>
                      <a:pt x="1888" y="604"/>
                    </a:lnTo>
                    <a:lnTo>
                      <a:pt x="1991" y="621"/>
                    </a:lnTo>
                    <a:lnTo>
                      <a:pt x="2097" y="636"/>
                    </a:lnTo>
                    <a:lnTo>
                      <a:pt x="2206" y="651"/>
                    </a:lnTo>
                    <a:lnTo>
                      <a:pt x="2315" y="664"/>
                    </a:lnTo>
                    <a:lnTo>
                      <a:pt x="2427" y="674"/>
                    </a:lnTo>
                    <a:lnTo>
                      <a:pt x="2541" y="683"/>
                    </a:lnTo>
                    <a:lnTo>
                      <a:pt x="2656" y="691"/>
                    </a:lnTo>
                    <a:lnTo>
                      <a:pt x="2772" y="695"/>
                    </a:lnTo>
                    <a:lnTo>
                      <a:pt x="2890" y="699"/>
                    </a:lnTo>
                    <a:lnTo>
                      <a:pt x="3010" y="700"/>
                    </a:lnTo>
                    <a:lnTo>
                      <a:pt x="3132" y="699"/>
                    </a:lnTo>
                    <a:lnTo>
                      <a:pt x="3254" y="695"/>
                    </a:lnTo>
                    <a:lnTo>
                      <a:pt x="3378" y="690"/>
                    </a:lnTo>
                    <a:lnTo>
                      <a:pt x="3503" y="681"/>
                    </a:lnTo>
                    <a:lnTo>
                      <a:pt x="3630" y="670"/>
                    </a:lnTo>
                    <a:lnTo>
                      <a:pt x="3756" y="656"/>
                    </a:lnTo>
                    <a:lnTo>
                      <a:pt x="3821" y="648"/>
                    </a:lnTo>
                    <a:lnTo>
                      <a:pt x="3885" y="638"/>
                    </a:lnTo>
                    <a:lnTo>
                      <a:pt x="3950" y="629"/>
                    </a:lnTo>
                    <a:lnTo>
                      <a:pt x="4015" y="619"/>
                    </a:lnTo>
                    <a:lnTo>
                      <a:pt x="4080" y="608"/>
                    </a:lnTo>
                    <a:lnTo>
                      <a:pt x="4145" y="596"/>
                    </a:lnTo>
                    <a:lnTo>
                      <a:pt x="4211" y="583"/>
                    </a:lnTo>
                    <a:lnTo>
                      <a:pt x="4277" y="569"/>
                    </a:lnTo>
                    <a:lnTo>
                      <a:pt x="4343" y="555"/>
                    </a:lnTo>
                    <a:lnTo>
                      <a:pt x="4409" y="539"/>
                    </a:lnTo>
                    <a:lnTo>
                      <a:pt x="4475" y="523"/>
                    </a:lnTo>
                    <a:lnTo>
                      <a:pt x="4541" y="506"/>
                    </a:lnTo>
                    <a:lnTo>
                      <a:pt x="4608" y="489"/>
                    </a:lnTo>
                    <a:lnTo>
                      <a:pt x="4674" y="470"/>
                    </a:lnTo>
                    <a:lnTo>
                      <a:pt x="4742" y="450"/>
                    </a:lnTo>
                    <a:lnTo>
                      <a:pt x="4809" y="430"/>
                    </a:lnTo>
                    <a:lnTo>
                      <a:pt x="4876" y="408"/>
                    </a:lnTo>
                    <a:lnTo>
                      <a:pt x="4943" y="386"/>
                    </a:lnTo>
                    <a:lnTo>
                      <a:pt x="5012" y="363"/>
                    </a:lnTo>
                    <a:lnTo>
                      <a:pt x="5079" y="338"/>
                    </a:lnTo>
                    <a:lnTo>
                      <a:pt x="5146" y="313"/>
                    </a:lnTo>
                    <a:lnTo>
                      <a:pt x="5214" y="286"/>
                    </a:lnTo>
                    <a:lnTo>
                      <a:pt x="5283" y="259"/>
                    </a:lnTo>
                    <a:lnTo>
                      <a:pt x="5350" y="231"/>
                    </a:lnTo>
                    <a:lnTo>
                      <a:pt x="5418" y="201"/>
                    </a:lnTo>
                    <a:lnTo>
                      <a:pt x="5487" y="170"/>
                    </a:lnTo>
                    <a:lnTo>
                      <a:pt x="5555" y="138"/>
                    </a:lnTo>
                    <a:lnTo>
                      <a:pt x="5623" y="106"/>
                    </a:lnTo>
                    <a:lnTo>
                      <a:pt x="5692" y="72"/>
                    </a:lnTo>
                    <a:lnTo>
                      <a:pt x="5760" y="37"/>
                    </a:lnTo>
                    <a:lnTo>
                      <a:pt x="5725" y="44"/>
                    </a:lnTo>
                    <a:lnTo>
                      <a:pt x="5623" y="63"/>
                    </a:lnTo>
                    <a:lnTo>
                      <a:pt x="5549" y="77"/>
                    </a:lnTo>
                    <a:lnTo>
                      <a:pt x="5460" y="92"/>
                    </a:lnTo>
                    <a:lnTo>
                      <a:pt x="5358" y="109"/>
                    </a:lnTo>
                    <a:lnTo>
                      <a:pt x="5242" y="127"/>
                    </a:lnTo>
                    <a:lnTo>
                      <a:pt x="5112" y="145"/>
                    </a:lnTo>
                    <a:lnTo>
                      <a:pt x="4971" y="164"/>
                    </a:lnTo>
                    <a:lnTo>
                      <a:pt x="4818" y="184"/>
                    </a:lnTo>
                    <a:lnTo>
                      <a:pt x="4653" y="203"/>
                    </a:lnTo>
                    <a:lnTo>
                      <a:pt x="4478" y="223"/>
                    </a:lnTo>
                    <a:lnTo>
                      <a:pt x="4294" y="241"/>
                    </a:lnTo>
                    <a:lnTo>
                      <a:pt x="4100" y="257"/>
                    </a:lnTo>
                    <a:lnTo>
                      <a:pt x="3898" y="272"/>
                    </a:lnTo>
                    <a:lnTo>
                      <a:pt x="3688" y="285"/>
                    </a:lnTo>
                    <a:lnTo>
                      <a:pt x="3579" y="291"/>
                    </a:lnTo>
                    <a:lnTo>
                      <a:pt x="3470" y="296"/>
                    </a:lnTo>
                    <a:lnTo>
                      <a:pt x="3358" y="300"/>
                    </a:lnTo>
                    <a:lnTo>
                      <a:pt x="3246" y="303"/>
                    </a:lnTo>
                    <a:lnTo>
                      <a:pt x="3132" y="307"/>
                    </a:lnTo>
                    <a:lnTo>
                      <a:pt x="3016" y="309"/>
                    </a:lnTo>
                    <a:lnTo>
                      <a:pt x="2898" y="310"/>
                    </a:lnTo>
                    <a:lnTo>
                      <a:pt x="2780" y="310"/>
                    </a:lnTo>
                    <a:lnTo>
                      <a:pt x="2660" y="309"/>
                    </a:lnTo>
                    <a:lnTo>
                      <a:pt x="2539" y="308"/>
                    </a:lnTo>
                    <a:lnTo>
                      <a:pt x="2417" y="306"/>
                    </a:lnTo>
                    <a:lnTo>
                      <a:pt x="2294" y="302"/>
                    </a:lnTo>
                    <a:lnTo>
                      <a:pt x="2170" y="297"/>
                    </a:lnTo>
                    <a:lnTo>
                      <a:pt x="2045" y="291"/>
                    </a:lnTo>
                    <a:lnTo>
                      <a:pt x="1920" y="284"/>
                    </a:lnTo>
                    <a:lnTo>
                      <a:pt x="1793" y="275"/>
                    </a:lnTo>
                    <a:lnTo>
                      <a:pt x="1667" y="266"/>
                    </a:lnTo>
                    <a:lnTo>
                      <a:pt x="1539" y="254"/>
                    </a:lnTo>
                    <a:lnTo>
                      <a:pt x="1412" y="242"/>
                    </a:lnTo>
                    <a:lnTo>
                      <a:pt x="1284" y="228"/>
                    </a:lnTo>
                    <a:lnTo>
                      <a:pt x="1155" y="212"/>
                    </a:lnTo>
                    <a:lnTo>
                      <a:pt x="1026" y="196"/>
                    </a:lnTo>
                    <a:lnTo>
                      <a:pt x="898" y="177"/>
                    </a:lnTo>
                    <a:lnTo>
                      <a:pt x="769" y="158"/>
                    </a:lnTo>
                    <a:lnTo>
                      <a:pt x="640" y="136"/>
                    </a:lnTo>
                    <a:lnTo>
                      <a:pt x="512" y="112"/>
                    </a:lnTo>
                    <a:lnTo>
                      <a:pt x="383" y="87"/>
                    </a:lnTo>
                    <a:lnTo>
                      <a:pt x="255" y="60"/>
                    </a:lnTo>
                    <a:lnTo>
                      <a:pt x="128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7" name="iŝļiďè">
              <a:extLst>
                <a:ext uri="{FF2B5EF4-FFF2-40B4-BE49-F238E27FC236}">
                  <a16:creationId xmlns:a16="http://schemas.microsoft.com/office/drawing/2014/main" id="{9B35C3C5-DA9A-4180-89C4-6AEAD0488F90}"/>
                </a:ext>
              </a:extLst>
            </p:cNvPr>
            <p:cNvSpPr/>
            <p:nvPr/>
          </p:nvSpPr>
          <p:spPr>
            <a:xfrm>
              <a:off x="1125569" y="1568363"/>
              <a:ext cx="1358900" cy="1358900"/>
            </a:xfrm>
            <a:prstGeom prst="ellipse">
              <a:avLst/>
            </a:prstGeom>
            <a:blipFill>
              <a:blip r:embed="rId3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8" name="íṩ1íďè">
              <a:extLst>
                <a:ext uri="{FF2B5EF4-FFF2-40B4-BE49-F238E27FC236}">
                  <a16:creationId xmlns:a16="http://schemas.microsoft.com/office/drawing/2014/main" id="{F4B2DCC8-90F3-41B8-ADEF-3DBC39713B43}"/>
                </a:ext>
              </a:extLst>
            </p:cNvPr>
            <p:cNvSpPr/>
            <p:nvPr/>
          </p:nvSpPr>
          <p:spPr>
            <a:xfrm>
              <a:off x="4010851" y="2118846"/>
              <a:ext cx="1358900" cy="1358900"/>
            </a:xfrm>
            <a:prstGeom prst="ellipse">
              <a:avLst/>
            </a:prstGeom>
            <a:blipFill>
              <a:blip r:embed="rId4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9" name="îṡľiḓê">
              <a:extLst>
                <a:ext uri="{FF2B5EF4-FFF2-40B4-BE49-F238E27FC236}">
                  <a16:creationId xmlns:a16="http://schemas.microsoft.com/office/drawing/2014/main" id="{E8113B50-DA93-40E7-AC11-CAF6BA1F619D}"/>
                </a:ext>
              </a:extLst>
            </p:cNvPr>
            <p:cNvSpPr/>
            <p:nvPr/>
          </p:nvSpPr>
          <p:spPr>
            <a:xfrm>
              <a:off x="6825293" y="2118846"/>
              <a:ext cx="1358900" cy="1358900"/>
            </a:xfrm>
            <a:prstGeom prst="ellipse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0" name="iSḷîḓe">
              <a:extLst>
                <a:ext uri="{FF2B5EF4-FFF2-40B4-BE49-F238E27FC236}">
                  <a16:creationId xmlns:a16="http://schemas.microsoft.com/office/drawing/2014/main" id="{52856230-9685-404D-9DEA-30080653E9F5}"/>
                </a:ext>
              </a:extLst>
            </p:cNvPr>
            <p:cNvSpPr/>
            <p:nvPr/>
          </p:nvSpPr>
          <p:spPr>
            <a:xfrm>
              <a:off x="9639735" y="1568363"/>
              <a:ext cx="1358900" cy="1358900"/>
            </a:xfrm>
            <a:prstGeom prst="ellipse">
              <a:avLst/>
            </a:prstGeom>
            <a:blipFill>
              <a:blip r:embed="rId6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38100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1" name="íş1ïḑê">
              <a:extLst>
                <a:ext uri="{FF2B5EF4-FFF2-40B4-BE49-F238E27FC236}">
                  <a16:creationId xmlns:a16="http://schemas.microsoft.com/office/drawing/2014/main" id="{0C8BA7E4-9019-4193-A924-C3A578EFF055}"/>
                </a:ext>
              </a:extLst>
            </p:cNvPr>
            <p:cNvSpPr txBox="1"/>
            <p:nvPr/>
          </p:nvSpPr>
          <p:spPr bwMode="auto">
            <a:xfrm>
              <a:off x="918758" y="1130300"/>
              <a:ext cx="1772522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The employee nam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2" name="ïṣľîḍê">
              <a:extLst>
                <a:ext uri="{FF2B5EF4-FFF2-40B4-BE49-F238E27FC236}">
                  <a16:creationId xmlns:a16="http://schemas.microsoft.com/office/drawing/2014/main" id="{E8BD8012-0C20-48A4-BF3C-D728C928EC21}"/>
                </a:ext>
              </a:extLst>
            </p:cNvPr>
            <p:cNvSpPr txBox="1"/>
            <p:nvPr/>
          </p:nvSpPr>
          <p:spPr bwMode="auto">
            <a:xfrm>
              <a:off x="3804040" y="1680783"/>
              <a:ext cx="1772522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The employee nam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3" name="ïṣḻíḍé">
              <a:extLst>
                <a:ext uri="{FF2B5EF4-FFF2-40B4-BE49-F238E27FC236}">
                  <a16:creationId xmlns:a16="http://schemas.microsoft.com/office/drawing/2014/main" id="{275526FC-0813-42BC-BBF8-280BB3076898}"/>
                </a:ext>
              </a:extLst>
            </p:cNvPr>
            <p:cNvSpPr txBox="1"/>
            <p:nvPr/>
          </p:nvSpPr>
          <p:spPr bwMode="auto">
            <a:xfrm>
              <a:off x="6618482" y="1680783"/>
              <a:ext cx="1772522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The employee nam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44" name="íṣḻiďè">
              <a:extLst>
                <a:ext uri="{FF2B5EF4-FFF2-40B4-BE49-F238E27FC236}">
                  <a16:creationId xmlns:a16="http://schemas.microsoft.com/office/drawing/2014/main" id="{D8670DC4-C380-461E-AE9D-1AD9E7CCEC9E}"/>
                </a:ext>
              </a:extLst>
            </p:cNvPr>
            <p:cNvSpPr txBox="1"/>
            <p:nvPr/>
          </p:nvSpPr>
          <p:spPr bwMode="auto">
            <a:xfrm>
              <a:off x="9432924" y="1130300"/>
              <a:ext cx="1772522" cy="380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The employee nam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7" name="iš1îdé">
            <a:extLst>
              <a:ext uri="{FF2B5EF4-FFF2-40B4-BE49-F238E27FC236}">
                <a16:creationId xmlns:a16="http://schemas.microsoft.com/office/drawing/2014/main" id="{38440428-AAFD-4889-BAAE-66760002BB92}"/>
              </a:ext>
            </a:extLst>
          </p:cNvPr>
          <p:cNvGrpSpPr/>
          <p:nvPr/>
        </p:nvGrpSpPr>
        <p:grpSpPr>
          <a:xfrm>
            <a:off x="672432" y="1706565"/>
            <a:ext cx="10858500" cy="1501805"/>
            <a:chOff x="660400" y="1419060"/>
            <a:chExt cx="10858500" cy="1501805"/>
          </a:xfrm>
        </p:grpSpPr>
        <p:sp>
          <p:nvSpPr>
            <p:cNvPr id="48" name="ïṩḷîďé">
              <a:extLst>
                <a:ext uri="{FF2B5EF4-FFF2-40B4-BE49-F238E27FC236}">
                  <a16:creationId xmlns:a16="http://schemas.microsoft.com/office/drawing/2014/main" id="{FE2BDB61-8581-451A-92D3-00439740612F}"/>
                </a:ext>
              </a:extLst>
            </p:cNvPr>
            <p:cNvSpPr txBox="1"/>
            <p:nvPr/>
          </p:nvSpPr>
          <p:spPr>
            <a:xfrm>
              <a:off x="660400" y="2238794"/>
              <a:ext cx="10858500" cy="68207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r>
                <a:rPr lang="en-US" altLang="zh-CN" sz="1100" dirty="0">
                  <a:solidFill>
                    <a:schemeClr val="bg1"/>
                  </a:solidFill>
                  <a:cs typeface="+mn-ea"/>
                  <a:sym typeface="+mn-lt"/>
                </a:rPr>
                <a:t>......</a:t>
              </a:r>
            </a:p>
          </p:txBody>
        </p:sp>
        <p:sp>
          <p:nvSpPr>
            <p:cNvPr id="49" name="îś1iḓè">
              <a:extLst>
                <a:ext uri="{FF2B5EF4-FFF2-40B4-BE49-F238E27FC236}">
                  <a16:creationId xmlns:a16="http://schemas.microsoft.com/office/drawing/2014/main" id="{2B127488-FA1B-4253-9F0A-6F37408824B3}"/>
                </a:ext>
              </a:extLst>
            </p:cNvPr>
            <p:cNvSpPr txBox="1"/>
            <p:nvPr/>
          </p:nvSpPr>
          <p:spPr>
            <a:xfrm>
              <a:off x="660400" y="1419060"/>
              <a:ext cx="10858500" cy="8197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zh-CN" alt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Enter your title text here</a:t>
              </a:r>
              <a:endParaRPr 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188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7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2" y="517512"/>
            <a:ext cx="50008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The course of development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4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1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42" name="ïŝ1îďê">
            <a:extLst>
              <a:ext uri="{FF2B5EF4-FFF2-40B4-BE49-F238E27FC236}">
                <a16:creationId xmlns:a16="http://schemas.microsoft.com/office/drawing/2014/main" id="{62D5CEC2-0A4B-4DB1-8BA6-9D123872C460}"/>
              </a:ext>
            </a:extLst>
          </p:cNvPr>
          <p:cNvSpPr/>
          <p:nvPr/>
        </p:nvSpPr>
        <p:spPr>
          <a:xfrm>
            <a:off x="660400" y="3704064"/>
            <a:ext cx="10858500" cy="176448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25400" cap="flat" cmpd="sng">
            <a:noFill/>
            <a:prstDash val="solid"/>
            <a:miter/>
            <a:headEnd type="none" w="med" len="med"/>
            <a:tailEnd type="none" w="med" len="med"/>
          </a:ln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43" name="ïṩ1íḓe">
            <a:extLst>
              <a:ext uri="{FF2B5EF4-FFF2-40B4-BE49-F238E27FC236}">
                <a16:creationId xmlns:a16="http://schemas.microsoft.com/office/drawing/2014/main" id="{653775C4-A1C5-4E03-9C91-462D25B6BE46}"/>
              </a:ext>
            </a:extLst>
          </p:cNvPr>
          <p:cNvGrpSpPr/>
          <p:nvPr/>
        </p:nvGrpSpPr>
        <p:grpSpPr>
          <a:xfrm>
            <a:off x="660400" y="1981980"/>
            <a:ext cx="2590941" cy="2418113"/>
            <a:chOff x="660400" y="1780904"/>
            <a:chExt cx="2590941" cy="2418113"/>
          </a:xfrm>
        </p:grpSpPr>
        <p:grpSp>
          <p:nvGrpSpPr>
            <p:cNvPr id="62" name="ísľîḑè">
              <a:extLst>
                <a:ext uri="{FF2B5EF4-FFF2-40B4-BE49-F238E27FC236}">
                  <a16:creationId xmlns:a16="http://schemas.microsoft.com/office/drawing/2014/main" id="{14EB9A9E-D664-44DD-BBAF-E0D44BC8B168}"/>
                </a:ext>
              </a:extLst>
            </p:cNvPr>
            <p:cNvGrpSpPr/>
            <p:nvPr/>
          </p:nvGrpSpPr>
          <p:grpSpPr>
            <a:xfrm>
              <a:off x="1763011" y="1780904"/>
              <a:ext cx="1488330" cy="1130982"/>
              <a:chOff x="10015898" y="3973221"/>
              <a:chExt cx="1503002" cy="1130982"/>
            </a:xfrm>
          </p:grpSpPr>
          <p:sp>
            <p:nvSpPr>
              <p:cNvPr id="65" name="i$1ïḓe">
                <a:extLst>
                  <a:ext uri="{FF2B5EF4-FFF2-40B4-BE49-F238E27FC236}">
                    <a16:creationId xmlns:a16="http://schemas.microsoft.com/office/drawing/2014/main" id="{6EEC94B0-A0CC-471F-92C1-4B285621D5A2}"/>
                  </a:ext>
                </a:extLst>
              </p:cNvPr>
              <p:cNvSpPr/>
              <p:nvPr/>
            </p:nvSpPr>
            <p:spPr>
              <a:xfrm>
                <a:off x="10015899" y="3973221"/>
                <a:ext cx="1503001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zh-CN" altLang="en-US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Enter the title</a:t>
                </a:r>
                <a:endParaRPr lang="id-ID" altLang="zh-CN" sz="14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6" name="íṧlîďe">
                <a:extLst>
                  <a:ext uri="{FF2B5EF4-FFF2-40B4-BE49-F238E27FC236}">
                    <a16:creationId xmlns:a16="http://schemas.microsoft.com/office/drawing/2014/main" id="{DE66A258-D0C5-4E4A-B6DC-2006D36CC8DA}"/>
                  </a:ext>
                </a:extLst>
              </p:cNvPr>
              <p:cNvSpPr/>
              <p:nvPr/>
            </p:nvSpPr>
            <p:spPr bwMode="auto">
              <a:xfrm>
                <a:off x="10015898" y="4398391"/>
                <a:ext cx="1503001" cy="705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Please enter your text message here, please be concise</a:t>
                </a:r>
                <a:endParaRPr lang="en-US" altLang="zh-CN" sz="10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63" name="iṡḷïďé">
              <a:extLst>
                <a:ext uri="{FF2B5EF4-FFF2-40B4-BE49-F238E27FC236}">
                  <a16:creationId xmlns:a16="http://schemas.microsoft.com/office/drawing/2014/main" id="{719CBB1C-2C31-46B5-B6D6-AD86021299CF}"/>
                </a:ext>
              </a:extLst>
            </p:cNvPr>
            <p:cNvSpPr/>
            <p:nvPr/>
          </p:nvSpPr>
          <p:spPr>
            <a:xfrm flipH="1">
              <a:off x="836151" y="1915374"/>
              <a:ext cx="864108" cy="684077"/>
            </a:xfrm>
            <a:prstGeom prst="wedgeRectCallout">
              <a:avLst>
                <a:gd name="adj1" fmla="val -3931"/>
                <a:gd name="adj2" fmla="val 76424"/>
              </a:avLst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600" i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</a:p>
          </p:txBody>
        </p:sp>
        <p:sp>
          <p:nvSpPr>
            <p:cNvPr id="64" name="íş1îďê">
              <a:extLst>
                <a:ext uri="{FF2B5EF4-FFF2-40B4-BE49-F238E27FC236}">
                  <a16:creationId xmlns:a16="http://schemas.microsoft.com/office/drawing/2014/main" id="{9FCE133D-E7B4-4296-83B3-520BDA0E1DCB}"/>
                </a:ext>
              </a:extLst>
            </p:cNvPr>
            <p:cNvSpPr/>
            <p:nvPr/>
          </p:nvSpPr>
          <p:spPr>
            <a:xfrm>
              <a:off x="660400" y="2983407"/>
              <a:ext cx="1215610" cy="1215610"/>
            </a:xfrm>
            <a:prstGeom prst="ellipse">
              <a:avLst/>
            </a:prstGeom>
            <a:blipFill>
              <a:blip r:embed="rId3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4" name="íṧļïdé">
            <a:extLst>
              <a:ext uri="{FF2B5EF4-FFF2-40B4-BE49-F238E27FC236}">
                <a16:creationId xmlns:a16="http://schemas.microsoft.com/office/drawing/2014/main" id="{987CE71B-F36D-426D-8226-C2E35A8726B5}"/>
              </a:ext>
            </a:extLst>
          </p:cNvPr>
          <p:cNvGrpSpPr/>
          <p:nvPr/>
        </p:nvGrpSpPr>
        <p:grpSpPr>
          <a:xfrm>
            <a:off x="6172106" y="1981980"/>
            <a:ext cx="2590941" cy="2418113"/>
            <a:chOff x="4794180" y="1780904"/>
            <a:chExt cx="2590941" cy="2418113"/>
          </a:xfrm>
        </p:grpSpPr>
        <p:grpSp>
          <p:nvGrpSpPr>
            <p:cNvPr id="57" name="íśļídè">
              <a:extLst>
                <a:ext uri="{FF2B5EF4-FFF2-40B4-BE49-F238E27FC236}">
                  <a16:creationId xmlns:a16="http://schemas.microsoft.com/office/drawing/2014/main" id="{9E892FCA-9FD4-4CF6-9964-8DC2FB918738}"/>
                </a:ext>
              </a:extLst>
            </p:cNvPr>
            <p:cNvGrpSpPr/>
            <p:nvPr/>
          </p:nvGrpSpPr>
          <p:grpSpPr>
            <a:xfrm>
              <a:off x="5896792" y="1780904"/>
              <a:ext cx="1488329" cy="1130982"/>
              <a:chOff x="10015899" y="3973221"/>
              <a:chExt cx="1503001" cy="1130982"/>
            </a:xfrm>
          </p:grpSpPr>
          <p:sp>
            <p:nvSpPr>
              <p:cNvPr id="60" name="îSliḑê">
                <a:extLst>
                  <a:ext uri="{FF2B5EF4-FFF2-40B4-BE49-F238E27FC236}">
                    <a16:creationId xmlns:a16="http://schemas.microsoft.com/office/drawing/2014/main" id="{F74CD7B7-336E-4A84-BC28-AE2C5C08C216}"/>
                  </a:ext>
                </a:extLst>
              </p:cNvPr>
              <p:cNvSpPr/>
              <p:nvPr/>
            </p:nvSpPr>
            <p:spPr>
              <a:xfrm>
                <a:off x="10015899" y="3973221"/>
                <a:ext cx="1503001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zh-CN" altLang="en-US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Enter the title</a:t>
                </a:r>
                <a:endParaRPr lang="id-ID" altLang="zh-CN" sz="14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1" name="íŝḷîďè">
                <a:extLst>
                  <a:ext uri="{FF2B5EF4-FFF2-40B4-BE49-F238E27FC236}">
                    <a16:creationId xmlns:a16="http://schemas.microsoft.com/office/drawing/2014/main" id="{141C00A5-74E0-4659-A829-7DDB91A1BF83}"/>
                  </a:ext>
                </a:extLst>
              </p:cNvPr>
              <p:cNvSpPr/>
              <p:nvPr/>
            </p:nvSpPr>
            <p:spPr bwMode="auto">
              <a:xfrm>
                <a:off x="10015899" y="4398391"/>
                <a:ext cx="1503001" cy="705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Please enter your text message here, please be concise</a:t>
                </a:r>
                <a:endParaRPr lang="en-US" altLang="zh-CN" sz="10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58" name="îṧļíḍê">
              <a:extLst>
                <a:ext uri="{FF2B5EF4-FFF2-40B4-BE49-F238E27FC236}">
                  <a16:creationId xmlns:a16="http://schemas.microsoft.com/office/drawing/2014/main" id="{7D8F38D2-B561-4705-A2B5-D087A3FAACD5}"/>
                </a:ext>
              </a:extLst>
            </p:cNvPr>
            <p:cNvSpPr/>
            <p:nvPr/>
          </p:nvSpPr>
          <p:spPr>
            <a:xfrm flipH="1">
              <a:off x="4969931" y="1915374"/>
              <a:ext cx="864108" cy="684077"/>
            </a:xfrm>
            <a:prstGeom prst="wedgeRectCallout">
              <a:avLst>
                <a:gd name="adj1" fmla="val -3931"/>
                <a:gd name="adj2" fmla="val 76424"/>
              </a:avLst>
            </a:prstGeom>
            <a:solidFill>
              <a:schemeClr val="accent1"/>
            </a:solidFill>
            <a:ln w="19050" cap="flat" cmpd="sng" algn="ctr">
              <a:solidFill>
                <a:schemeClr val="accent1">
                  <a:lumMod val="20000"/>
                  <a:lumOff val="80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600" i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</a:p>
          </p:txBody>
        </p:sp>
        <p:sp>
          <p:nvSpPr>
            <p:cNvPr id="59" name="ïṡļïḓê">
              <a:extLst>
                <a:ext uri="{FF2B5EF4-FFF2-40B4-BE49-F238E27FC236}">
                  <a16:creationId xmlns:a16="http://schemas.microsoft.com/office/drawing/2014/main" id="{A3A9AF66-6047-4853-B826-FA9DBE52CB43}"/>
                </a:ext>
              </a:extLst>
            </p:cNvPr>
            <p:cNvSpPr/>
            <p:nvPr/>
          </p:nvSpPr>
          <p:spPr>
            <a:xfrm>
              <a:off x="4794180" y="2983407"/>
              <a:ext cx="1215610" cy="1215610"/>
            </a:xfrm>
            <a:prstGeom prst="ellipse">
              <a:avLst/>
            </a:prstGeom>
            <a:blipFill>
              <a:blip r:embed="rId4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5" name="ïṡḻiḋe">
            <a:extLst>
              <a:ext uri="{FF2B5EF4-FFF2-40B4-BE49-F238E27FC236}">
                <a16:creationId xmlns:a16="http://schemas.microsoft.com/office/drawing/2014/main" id="{AE93445E-C5BB-4E81-8589-2E6A9F82C03F}"/>
              </a:ext>
            </a:extLst>
          </p:cNvPr>
          <p:cNvGrpSpPr/>
          <p:nvPr/>
        </p:nvGrpSpPr>
        <p:grpSpPr>
          <a:xfrm>
            <a:off x="3416253" y="3266458"/>
            <a:ext cx="2590941" cy="2516728"/>
            <a:chOff x="2727290" y="3065382"/>
            <a:chExt cx="2590941" cy="2516728"/>
          </a:xfrm>
        </p:grpSpPr>
        <p:sp>
          <p:nvSpPr>
            <p:cNvPr id="52" name="íšḷîḋê">
              <a:extLst>
                <a:ext uri="{FF2B5EF4-FFF2-40B4-BE49-F238E27FC236}">
                  <a16:creationId xmlns:a16="http://schemas.microsoft.com/office/drawing/2014/main" id="{5DD89D42-5FA3-4457-BA59-CCE346692FDE}"/>
                </a:ext>
              </a:extLst>
            </p:cNvPr>
            <p:cNvSpPr/>
            <p:nvPr/>
          </p:nvSpPr>
          <p:spPr>
            <a:xfrm>
              <a:off x="2903041" y="4623242"/>
              <a:ext cx="864108" cy="684077"/>
            </a:xfrm>
            <a:prstGeom prst="wedgeRectCallout">
              <a:avLst>
                <a:gd name="adj1" fmla="val -3867"/>
                <a:gd name="adj2" fmla="val -76984"/>
              </a:avLst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600" i="1" dirty="0">
                  <a:solidFill>
                    <a:schemeClr val="tx1"/>
                  </a:solidFill>
                  <a:cs typeface="+mn-ea"/>
                  <a:sym typeface="+mn-lt"/>
                </a:rPr>
                <a:t>20XX</a:t>
              </a:r>
            </a:p>
          </p:txBody>
        </p:sp>
        <p:grpSp>
          <p:nvGrpSpPr>
            <p:cNvPr id="53" name="îşľíḋè">
              <a:extLst>
                <a:ext uri="{FF2B5EF4-FFF2-40B4-BE49-F238E27FC236}">
                  <a16:creationId xmlns:a16="http://schemas.microsoft.com/office/drawing/2014/main" id="{B6DF802D-80E2-4818-9902-99D497EBEC1E}"/>
                </a:ext>
              </a:extLst>
            </p:cNvPr>
            <p:cNvGrpSpPr/>
            <p:nvPr/>
          </p:nvGrpSpPr>
          <p:grpSpPr>
            <a:xfrm>
              <a:off x="3829902" y="4451128"/>
              <a:ext cx="1488329" cy="1130982"/>
              <a:chOff x="10015899" y="3973221"/>
              <a:chExt cx="1503001" cy="1130982"/>
            </a:xfrm>
          </p:grpSpPr>
          <p:sp>
            <p:nvSpPr>
              <p:cNvPr id="55" name="ïṥľíḋé">
                <a:extLst>
                  <a:ext uri="{FF2B5EF4-FFF2-40B4-BE49-F238E27FC236}">
                    <a16:creationId xmlns:a16="http://schemas.microsoft.com/office/drawing/2014/main" id="{022EF423-DAE3-4856-A64D-A36A26ADD3C7}"/>
                  </a:ext>
                </a:extLst>
              </p:cNvPr>
              <p:cNvSpPr/>
              <p:nvPr/>
            </p:nvSpPr>
            <p:spPr>
              <a:xfrm>
                <a:off x="10015899" y="3973221"/>
                <a:ext cx="1503001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zh-CN" altLang="en-US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Enter the title</a:t>
                </a:r>
                <a:endParaRPr lang="id-ID" altLang="zh-CN" sz="14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6" name="ï$líḋè">
                <a:extLst>
                  <a:ext uri="{FF2B5EF4-FFF2-40B4-BE49-F238E27FC236}">
                    <a16:creationId xmlns:a16="http://schemas.microsoft.com/office/drawing/2014/main" id="{BA6930A3-FE78-4DFF-8426-780C573C75D1}"/>
                  </a:ext>
                </a:extLst>
              </p:cNvPr>
              <p:cNvSpPr/>
              <p:nvPr/>
            </p:nvSpPr>
            <p:spPr bwMode="auto">
              <a:xfrm>
                <a:off x="10015899" y="4398391"/>
                <a:ext cx="1503001" cy="705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Please enter your text message here, please be concise</a:t>
                </a:r>
                <a:endParaRPr lang="en-US" altLang="zh-CN" sz="10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54" name="íṥľíḍe">
              <a:extLst>
                <a:ext uri="{FF2B5EF4-FFF2-40B4-BE49-F238E27FC236}">
                  <a16:creationId xmlns:a16="http://schemas.microsoft.com/office/drawing/2014/main" id="{9DB251AA-FA76-4655-A1FB-C59DC1657E53}"/>
                </a:ext>
              </a:extLst>
            </p:cNvPr>
            <p:cNvSpPr/>
            <p:nvPr/>
          </p:nvSpPr>
          <p:spPr>
            <a:xfrm>
              <a:off x="2727290" y="3065382"/>
              <a:ext cx="1215610" cy="1215610"/>
            </a:xfrm>
            <a:prstGeom prst="ellipse">
              <a:avLst/>
            </a:prstGeom>
            <a:blipFill>
              <a:blip r:embed="rId5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6" name="íšḻiḋé">
            <a:extLst>
              <a:ext uri="{FF2B5EF4-FFF2-40B4-BE49-F238E27FC236}">
                <a16:creationId xmlns:a16="http://schemas.microsoft.com/office/drawing/2014/main" id="{DDF78E41-BFDF-419B-9568-C50C1330CD98}"/>
              </a:ext>
            </a:extLst>
          </p:cNvPr>
          <p:cNvGrpSpPr/>
          <p:nvPr/>
        </p:nvGrpSpPr>
        <p:grpSpPr>
          <a:xfrm>
            <a:off x="8927959" y="3266458"/>
            <a:ext cx="2590941" cy="2516728"/>
            <a:chOff x="6861070" y="3065382"/>
            <a:chExt cx="2590941" cy="2516728"/>
          </a:xfrm>
        </p:grpSpPr>
        <p:sp>
          <p:nvSpPr>
            <p:cNvPr id="47" name="ïşļiďè">
              <a:extLst>
                <a:ext uri="{FF2B5EF4-FFF2-40B4-BE49-F238E27FC236}">
                  <a16:creationId xmlns:a16="http://schemas.microsoft.com/office/drawing/2014/main" id="{CC4E067C-0C4E-40C4-8D2E-8431E37C3099}"/>
                </a:ext>
              </a:extLst>
            </p:cNvPr>
            <p:cNvSpPr/>
            <p:nvPr/>
          </p:nvSpPr>
          <p:spPr>
            <a:xfrm>
              <a:off x="7036821" y="4623242"/>
              <a:ext cx="864108" cy="684077"/>
            </a:xfrm>
            <a:prstGeom prst="wedgeRectCallout">
              <a:avLst>
                <a:gd name="adj1" fmla="val -3867"/>
                <a:gd name="adj2" fmla="val -76984"/>
              </a:avLst>
            </a:prstGeom>
            <a:solidFill>
              <a:schemeClr val="bg1">
                <a:lumMod val="95000"/>
              </a:schemeClr>
            </a:solidFill>
            <a:ln w="1905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600" i="1" dirty="0">
                  <a:solidFill>
                    <a:schemeClr val="tx1"/>
                  </a:solidFill>
                  <a:cs typeface="+mn-ea"/>
                  <a:sym typeface="+mn-lt"/>
                </a:rPr>
                <a:t>20XX</a:t>
              </a:r>
            </a:p>
          </p:txBody>
        </p:sp>
        <p:grpSp>
          <p:nvGrpSpPr>
            <p:cNvPr id="48" name="íŝliḍê">
              <a:extLst>
                <a:ext uri="{FF2B5EF4-FFF2-40B4-BE49-F238E27FC236}">
                  <a16:creationId xmlns:a16="http://schemas.microsoft.com/office/drawing/2014/main" id="{159D0085-1A07-42DB-BD08-1C6591058BB7}"/>
                </a:ext>
              </a:extLst>
            </p:cNvPr>
            <p:cNvGrpSpPr/>
            <p:nvPr/>
          </p:nvGrpSpPr>
          <p:grpSpPr>
            <a:xfrm>
              <a:off x="7963682" y="4451128"/>
              <a:ext cx="1488329" cy="1130982"/>
              <a:chOff x="10015899" y="3973221"/>
              <a:chExt cx="1503001" cy="1130982"/>
            </a:xfrm>
          </p:grpSpPr>
          <p:sp>
            <p:nvSpPr>
              <p:cNvPr id="50" name="iŝlîḑê">
                <a:extLst>
                  <a:ext uri="{FF2B5EF4-FFF2-40B4-BE49-F238E27FC236}">
                    <a16:creationId xmlns:a16="http://schemas.microsoft.com/office/drawing/2014/main" id="{E9FF9EC3-9D46-40A9-A684-7ECEACC9701B}"/>
                  </a:ext>
                </a:extLst>
              </p:cNvPr>
              <p:cNvSpPr/>
              <p:nvPr/>
            </p:nvSpPr>
            <p:spPr>
              <a:xfrm>
                <a:off x="10015899" y="3973221"/>
                <a:ext cx="1503001" cy="425170"/>
              </a:xfrm>
              <a:prstGeom prst="rect">
                <a:avLst/>
              </a:prstGeom>
              <a:noFill/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r>
                  <a:rPr lang="zh-CN" altLang="en-US" sz="14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Enter the title</a:t>
                </a:r>
                <a:endParaRPr lang="id-ID" altLang="zh-CN" sz="14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1" name="iṧľïḑè">
                <a:extLst>
                  <a:ext uri="{FF2B5EF4-FFF2-40B4-BE49-F238E27FC236}">
                    <a16:creationId xmlns:a16="http://schemas.microsoft.com/office/drawing/2014/main" id="{F18A5B1D-5A1B-4D8F-8E95-392FA8E6235F}"/>
                  </a:ext>
                </a:extLst>
              </p:cNvPr>
              <p:cNvSpPr/>
              <p:nvPr/>
            </p:nvSpPr>
            <p:spPr bwMode="auto">
              <a:xfrm>
                <a:off x="10015899" y="4398391"/>
                <a:ext cx="1503001" cy="7058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 fontScale="925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</a:pPr>
                <a:r>
                  <a:rPr lang="zh-CN" altLang="en-US" sz="1000" dirty="0">
                    <a:solidFill>
                      <a:schemeClr val="bg1"/>
                    </a:solidFill>
                    <a:cs typeface="+mn-ea"/>
                    <a:sym typeface="+mn-lt"/>
                  </a:rPr>
                  <a:t>Please enter your text message here, please be concise</a:t>
                </a:r>
                <a:endParaRPr lang="en-US" altLang="zh-CN" sz="10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49" name="iśļïḑe">
              <a:extLst>
                <a:ext uri="{FF2B5EF4-FFF2-40B4-BE49-F238E27FC236}">
                  <a16:creationId xmlns:a16="http://schemas.microsoft.com/office/drawing/2014/main" id="{4768841F-41F1-4F2C-B401-7AA85FD800AF}"/>
                </a:ext>
              </a:extLst>
            </p:cNvPr>
            <p:cNvSpPr/>
            <p:nvPr/>
          </p:nvSpPr>
          <p:spPr>
            <a:xfrm>
              <a:off x="6861070" y="3065382"/>
              <a:ext cx="1215610" cy="1215610"/>
            </a:xfrm>
            <a:prstGeom prst="ellipse">
              <a:avLst/>
            </a:prstGeom>
            <a:blipFill>
              <a:blip r:embed="rId6" cstate="screen">
                <a:grayscl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  <a:ln w="28575" cap="flat" cmpd="sng" algn="ctr">
              <a:solidFill>
                <a:schemeClr val="bg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4931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7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75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75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7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5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25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4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lîḑ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Sḷide">
            <a:extLst>
              <a:ext uri="{FF2B5EF4-FFF2-40B4-BE49-F238E27FC236}">
                <a16:creationId xmlns:a16="http://schemas.microsoft.com/office/drawing/2014/main" id="{7CC342E6-4C32-4FFD-A835-D816829C46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0" y="1"/>
            <a:ext cx="12192000" cy="6858000"/>
          </a:xfrm>
          <a:prstGeom prst="rect">
            <a:avLst/>
          </a:prstGeom>
        </p:spPr>
      </p:pic>
      <p:pic>
        <p:nvPicPr>
          <p:cNvPr id="13" name="íṣľïḍê" descr="线条01">
            <a:extLst>
              <a:ext uri="{FF2B5EF4-FFF2-40B4-BE49-F238E27FC236}">
                <a16:creationId xmlns:a16="http://schemas.microsoft.com/office/drawing/2014/main" id="{EE83D4AD-F9E7-4254-A18A-738ADFA9F5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 rot="20981405" flipH="1">
            <a:off x="75420" y="3750315"/>
            <a:ext cx="12400280" cy="2290586"/>
          </a:xfrm>
          <a:prstGeom prst="rect">
            <a:avLst/>
          </a:prstGeom>
        </p:spPr>
      </p:pic>
      <p:sp>
        <p:nvSpPr>
          <p:cNvPr id="2" name="矩形 1">
            <a:extLst>
              <a:ext uri="{FF2B5EF4-FFF2-40B4-BE49-F238E27FC236}">
                <a16:creationId xmlns:a16="http://schemas.microsoft.com/office/drawing/2014/main" id="{B94B5A03-1BF6-4C6C-BCBE-11A3D9AE0E8D}"/>
              </a:ext>
            </a:extLst>
          </p:cNvPr>
          <p:cNvSpPr/>
          <p:nvPr/>
        </p:nvSpPr>
        <p:spPr>
          <a:xfrm>
            <a:off x="660400" y="2559894"/>
            <a:ext cx="5939446" cy="1107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zh-CN" altLang="en-US" sz="6600" dirty="0">
                <a:solidFill>
                  <a:schemeClr val="bg1"/>
                </a:solidFill>
                <a:cs typeface="+mn-ea"/>
                <a:sym typeface="+mn-lt"/>
              </a:rPr>
              <a:t>Main business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A95E5F1E-2DFE-4287-BE18-C20E598811C6}"/>
              </a:ext>
            </a:extLst>
          </p:cNvPr>
          <p:cNvGrpSpPr/>
          <p:nvPr/>
        </p:nvGrpSpPr>
        <p:grpSpPr>
          <a:xfrm>
            <a:off x="660400" y="1872802"/>
            <a:ext cx="2946009" cy="524319"/>
            <a:chOff x="8297840" y="1448997"/>
            <a:chExt cx="2946009" cy="524319"/>
          </a:xfrm>
        </p:grpSpPr>
        <p:grpSp>
          <p:nvGrpSpPr>
            <p:cNvPr id="7" name="îsḻîḋé">
              <a:extLst>
                <a:ext uri="{FF2B5EF4-FFF2-40B4-BE49-F238E27FC236}">
                  <a16:creationId xmlns:a16="http://schemas.microsoft.com/office/drawing/2014/main" id="{028279EA-1E72-496F-8332-7D1D1429339A}"/>
                </a:ext>
              </a:extLst>
            </p:cNvPr>
            <p:cNvGrpSpPr/>
            <p:nvPr/>
          </p:nvGrpSpPr>
          <p:grpSpPr>
            <a:xfrm>
              <a:off x="8420670" y="1448997"/>
              <a:ext cx="2727644" cy="524319"/>
              <a:chOff x="5623208" y="2201818"/>
              <a:chExt cx="5820229" cy="524319"/>
            </a:xfrm>
          </p:grpSpPr>
          <p:cxnSp>
            <p:nvCxnSpPr>
              <p:cNvPr id="9" name="í$lïdê">
                <a:extLst>
                  <a:ext uri="{FF2B5EF4-FFF2-40B4-BE49-F238E27FC236}">
                    <a16:creationId xmlns:a16="http://schemas.microsoft.com/office/drawing/2014/main" id="{47EB845A-59CD-49C4-9129-F683DDFA39A3}"/>
                  </a:ext>
                </a:extLst>
              </p:cNvPr>
              <p:cNvCxnSpPr/>
              <p:nvPr/>
            </p:nvCxnSpPr>
            <p:spPr>
              <a:xfrm>
                <a:off x="5623208" y="2201818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11" name="iṩľïḑe">
                <a:extLst>
                  <a:ext uri="{FF2B5EF4-FFF2-40B4-BE49-F238E27FC236}">
                    <a16:creationId xmlns:a16="http://schemas.microsoft.com/office/drawing/2014/main" id="{F2805856-A9A3-4F88-80EB-B48364862826}"/>
                  </a:ext>
                </a:extLst>
              </p:cNvPr>
              <p:cNvCxnSpPr/>
              <p:nvPr/>
            </p:nvCxnSpPr>
            <p:spPr>
              <a:xfrm>
                <a:off x="5623208" y="2726137"/>
                <a:ext cx="5820229" cy="0"/>
              </a:xfrm>
              <a:prstGeom prst="line">
                <a:avLst/>
              </a:prstGeom>
              <a:noFill/>
              <a:ln w="6350" cap="flat" cmpd="sng" algn="ctr">
                <a:solidFill>
                  <a:srgbClr val="FFFFFF">
                    <a:alpha val="15000"/>
                  </a:srgbClr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5B957F02-E25E-42FA-903E-E81B68845813}"/>
                </a:ext>
              </a:extLst>
            </p:cNvPr>
            <p:cNvSpPr/>
            <p:nvPr/>
          </p:nvSpPr>
          <p:spPr>
            <a:xfrm>
              <a:off x="8297840" y="1540138"/>
              <a:ext cx="294600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altLang="zh-CN" spc="300" dirty="0">
                  <a:solidFill>
                    <a:schemeClr val="bg1"/>
                  </a:solidFill>
                  <a:cs typeface="+mn-ea"/>
                  <a:sym typeface="+mn-lt"/>
                </a:rPr>
                <a:t>COMPANY PROFILE</a:t>
              </a:r>
            </a:p>
          </p:txBody>
        </p:sp>
      </p:grpSp>
      <p:sp>
        <p:nvSpPr>
          <p:cNvPr id="14" name="副标题 4">
            <a:extLst>
              <a:ext uri="{FF2B5EF4-FFF2-40B4-BE49-F238E27FC236}">
                <a16:creationId xmlns:a16="http://schemas.microsoft.com/office/drawing/2014/main" id="{E70F7116-6290-441E-8A31-42ED65F0C9F2}"/>
              </a:ext>
            </a:extLst>
          </p:cNvPr>
          <p:cNvSpPr txBox="1">
            <a:spLocks/>
          </p:cNvSpPr>
          <p:nvPr/>
        </p:nvSpPr>
        <p:spPr>
          <a:xfrm>
            <a:off x="660400" y="3928165"/>
            <a:ext cx="7001491" cy="558799"/>
          </a:xfrm>
          <a:prstGeom prst="rect">
            <a:avLst/>
          </a:prstGeom>
        </p:spPr>
        <p:txBody>
          <a:bodyPr>
            <a:noAutofit/>
          </a:bodyPr>
          <a:lstStyle>
            <a:lvl1pPr marL="228589" indent="-228589" algn="l" defTabSz="91435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76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294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120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298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Theme color makes PPT more convenient to </a:t>
            </a:r>
            <a:r>
              <a:rPr lang="en-US" altLang="zh-CN" sz="1200" dirty="0" err="1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change. Adjust</a:t>
            </a:r>
            <a:r>
              <a:rPr lang="en-US" altLang="zh-CN" sz="1200" dirty="0">
                <a:solidFill>
                  <a:schemeClr val="accent2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 the spacing to adapt to Chinese typesetting, use the reference line in PPT.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10150B1D-1430-48F6-975A-9CE4E7DCACA1}"/>
              </a:ext>
            </a:extLst>
          </p:cNvPr>
          <p:cNvSpPr txBox="1"/>
          <p:nvPr/>
        </p:nvSpPr>
        <p:spPr>
          <a:xfrm>
            <a:off x="7949315" y="5426214"/>
            <a:ext cx="35695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altLang="zh-CN" sz="4000" dirty="0">
                <a:solidFill>
                  <a:schemeClr val="accent1">
                    <a:lumMod val="20000"/>
                    <a:lumOff val="80000"/>
                  </a:schemeClr>
                </a:solidFill>
                <a:cs typeface="+mn-ea"/>
                <a:sym typeface="+mn-lt"/>
              </a:rPr>
              <a:t>PART 02</a:t>
            </a:r>
            <a:endParaRPr lang="zh-CN" altLang="en-US" sz="4000" dirty="0">
              <a:solidFill>
                <a:schemeClr val="accent1">
                  <a:lumMod val="20000"/>
                  <a:lumOff val="80000"/>
                </a:schemeClr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8654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7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75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250"/>
                            </p:stCondLst>
                            <p:childTnLst>
                              <p:par>
                                <p:cTn id="26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4" grpId="0" build="p"/>
      <p:bldP spid="1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 descr="线条02">
            <a:extLst>
              <a:ext uri="{FF2B5EF4-FFF2-40B4-BE49-F238E27FC236}">
                <a16:creationId xmlns:a16="http://schemas.microsoft.com/office/drawing/2014/main" id="{906915C2-A143-42E1-91FF-5708BEA8F9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rot="10800000">
            <a:off x="0" y="-8645"/>
            <a:ext cx="4249216" cy="1464466"/>
          </a:xfrm>
          <a:prstGeom prst="rect">
            <a:avLst/>
          </a:prstGeom>
        </p:spPr>
      </p:pic>
      <p:sp>
        <p:nvSpPr>
          <p:cNvPr id="3" name="矩形 2">
            <a:extLst>
              <a:ext uri="{FF2B5EF4-FFF2-40B4-BE49-F238E27FC236}">
                <a16:creationId xmlns:a16="http://schemas.microsoft.com/office/drawing/2014/main" id="{3B7ED902-198C-405F-81B6-CAA58BC83AE1}"/>
              </a:ext>
            </a:extLst>
          </p:cNvPr>
          <p:cNvSpPr/>
          <p:nvPr/>
        </p:nvSpPr>
        <p:spPr>
          <a:xfrm>
            <a:off x="1006353" y="517512"/>
            <a:ext cx="300905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CN" altLang="en-US" sz="2800" dirty="0">
                <a:solidFill>
                  <a:srgbClr val="FFFFFF"/>
                </a:solidFill>
                <a:cs typeface="+mn-ea"/>
                <a:sym typeface="+mn-lt"/>
              </a:rPr>
              <a:t>Main business</a:t>
            </a: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60928101-576B-4355-9370-B24A49531E36}"/>
              </a:ext>
            </a:extLst>
          </p:cNvPr>
          <p:cNvSpPr/>
          <p:nvPr/>
        </p:nvSpPr>
        <p:spPr>
          <a:xfrm>
            <a:off x="1859875" y="232404"/>
            <a:ext cx="115281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altLang="zh-CN" dirty="0">
                <a:solidFill>
                  <a:srgbClr val="0A2161">
                    <a:lumMod val="20000"/>
                    <a:lumOff val="80000"/>
                  </a:srgbClr>
                </a:solidFill>
                <a:cs typeface="+mn-ea"/>
                <a:sym typeface="+mn-lt"/>
              </a:rPr>
              <a:t>PART 02</a:t>
            </a:r>
            <a:endParaRPr lang="zh-CN" altLang="en-US" dirty="0">
              <a:solidFill>
                <a:srgbClr val="0A2161">
                  <a:lumMod val="20000"/>
                  <a:lumOff val="80000"/>
                </a:srgbClr>
              </a:solidFill>
              <a:cs typeface="+mn-ea"/>
              <a:sym typeface="+mn-lt"/>
            </a:endParaRPr>
          </a:p>
        </p:txBody>
      </p:sp>
      <p:sp>
        <p:nvSpPr>
          <p:cNvPr id="20" name="îşliďè">
            <a:extLst>
              <a:ext uri="{FF2B5EF4-FFF2-40B4-BE49-F238E27FC236}">
                <a16:creationId xmlns:a16="http://schemas.microsoft.com/office/drawing/2014/main" id="{61CAD01F-BE39-4738-81C5-8B9F64B4B79C}"/>
              </a:ext>
            </a:extLst>
          </p:cNvPr>
          <p:cNvSpPr txBox="1"/>
          <p:nvPr/>
        </p:nvSpPr>
        <p:spPr>
          <a:xfrm>
            <a:off x="7616092" y="1880720"/>
            <a:ext cx="3454400" cy="8197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Enter the company name</a:t>
            </a:r>
            <a:endParaRPr 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1436E57D-FECD-4697-A918-47FBCB747CC9}"/>
              </a:ext>
            </a:extLst>
          </p:cNvPr>
          <p:cNvGrpSpPr/>
          <p:nvPr/>
        </p:nvGrpSpPr>
        <p:grpSpPr>
          <a:xfrm>
            <a:off x="7740650" y="2854068"/>
            <a:ext cx="528630" cy="0"/>
            <a:chOff x="7740650" y="2721718"/>
            <a:chExt cx="528630" cy="0"/>
          </a:xfrm>
        </p:grpSpPr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A76CA43E-1552-476C-BA8A-9E771824CE4F}"/>
                </a:ext>
              </a:extLst>
            </p:cNvPr>
            <p:cNvCxnSpPr/>
            <p:nvPr/>
          </p:nvCxnSpPr>
          <p:spPr>
            <a:xfrm>
              <a:off x="7740650" y="2721718"/>
              <a:ext cx="360000" cy="0"/>
            </a:xfrm>
            <a:prstGeom prst="line">
              <a:avLst/>
            </a:prstGeom>
            <a:ln w="57150" cap="rnd">
              <a:solidFill>
                <a:schemeClr val="accent1">
                  <a:lumMod val="20000"/>
                  <a:lumOff val="8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4DB9640A-CBD5-4916-AFB5-68E2E7CA5621}"/>
                </a:ext>
              </a:extLst>
            </p:cNvPr>
            <p:cNvCxnSpPr/>
            <p:nvPr/>
          </p:nvCxnSpPr>
          <p:spPr>
            <a:xfrm>
              <a:off x="8197848" y="2721718"/>
              <a:ext cx="0" cy="0"/>
            </a:xfrm>
            <a:prstGeom prst="line">
              <a:avLst/>
            </a:prstGeom>
            <a:ln w="57150" cap="rnd">
              <a:solidFill>
                <a:schemeClr val="accent1">
                  <a:lumMod val="20000"/>
                  <a:lumOff val="8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AB771625-EB15-4967-BCD4-C79E579D6C9B}"/>
                </a:ext>
              </a:extLst>
            </p:cNvPr>
            <p:cNvCxnSpPr/>
            <p:nvPr/>
          </p:nvCxnSpPr>
          <p:spPr>
            <a:xfrm>
              <a:off x="8269280" y="2721718"/>
              <a:ext cx="0" cy="0"/>
            </a:xfrm>
            <a:prstGeom prst="line">
              <a:avLst/>
            </a:prstGeom>
            <a:ln w="57150" cap="rnd">
              <a:solidFill>
                <a:schemeClr val="accent1">
                  <a:lumMod val="20000"/>
                  <a:lumOff val="8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ïsļíďe">
            <a:extLst>
              <a:ext uri="{FF2B5EF4-FFF2-40B4-BE49-F238E27FC236}">
                <a16:creationId xmlns:a16="http://schemas.microsoft.com/office/drawing/2014/main" id="{6E419A68-B67B-4555-8B57-33F31342BEC3}"/>
              </a:ext>
            </a:extLst>
          </p:cNvPr>
          <p:cNvSpPr/>
          <p:nvPr/>
        </p:nvSpPr>
        <p:spPr>
          <a:xfrm>
            <a:off x="660400" y="2051292"/>
            <a:ext cx="6399822" cy="3426516"/>
          </a:xfrm>
          <a:prstGeom prst="rect">
            <a:avLst/>
          </a:prstGeom>
          <a:blipFill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38100">
            <a:noFill/>
            <a:round/>
            <a:headEnd/>
            <a:tailEnd/>
          </a:ln>
          <a:effectLst>
            <a:outerShdw dist="38100" dir="2700000" sx="101000" sy="101000" algn="tl" rotWithShape="0">
              <a:prstClr val="black">
                <a:alpha val="10000"/>
              </a:prstClr>
            </a:outerShdw>
          </a:effectLst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6" name="íŝḻîḍê">
            <a:extLst>
              <a:ext uri="{FF2B5EF4-FFF2-40B4-BE49-F238E27FC236}">
                <a16:creationId xmlns:a16="http://schemas.microsoft.com/office/drawing/2014/main" id="{F5ACEBBF-C834-4C79-817C-08B8FEB175F7}"/>
              </a:ext>
            </a:extLst>
          </p:cNvPr>
          <p:cNvGrpSpPr/>
          <p:nvPr/>
        </p:nvGrpSpPr>
        <p:grpSpPr>
          <a:xfrm>
            <a:off x="8374007" y="3156400"/>
            <a:ext cx="4589358" cy="937742"/>
            <a:chOff x="8214783" y="1313453"/>
            <a:chExt cx="3304117" cy="937742"/>
          </a:xfrm>
        </p:grpSpPr>
        <p:sp>
          <p:nvSpPr>
            <p:cNvPr id="27" name="î$ļiḍê">
              <a:extLst>
                <a:ext uri="{FF2B5EF4-FFF2-40B4-BE49-F238E27FC236}">
                  <a16:creationId xmlns:a16="http://schemas.microsoft.com/office/drawing/2014/main" id="{DE99B4AE-978D-494A-ABB4-B6C964470DE7}"/>
                </a:ext>
              </a:extLst>
            </p:cNvPr>
            <p:cNvSpPr/>
            <p:nvPr/>
          </p:nvSpPr>
          <p:spPr bwMode="auto">
            <a:xfrm>
              <a:off x="8214783" y="1720764"/>
              <a:ext cx="2265315" cy="53043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8" name="íṧḻiḋe">
              <a:extLst>
                <a:ext uri="{FF2B5EF4-FFF2-40B4-BE49-F238E27FC236}">
                  <a16:creationId xmlns:a16="http://schemas.microsoft.com/office/drawing/2014/main" id="{8A0BF55D-D466-40AE-95BE-752702615480}"/>
                </a:ext>
              </a:extLst>
            </p:cNvPr>
            <p:cNvSpPr txBox="1"/>
            <p:nvPr/>
          </p:nvSpPr>
          <p:spPr bwMode="auto">
            <a:xfrm>
              <a:off x="8214784" y="1313453"/>
              <a:ext cx="3304116" cy="40730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spcBef>
                  <a:spcPct val="0"/>
                </a:spcBef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9" name="ïṩḻiḓê">
            <a:extLst>
              <a:ext uri="{FF2B5EF4-FFF2-40B4-BE49-F238E27FC236}">
                <a16:creationId xmlns:a16="http://schemas.microsoft.com/office/drawing/2014/main" id="{F7A4BCC3-42E2-4213-AB48-40B4AF682C66}"/>
              </a:ext>
            </a:extLst>
          </p:cNvPr>
          <p:cNvGrpSpPr/>
          <p:nvPr/>
        </p:nvGrpSpPr>
        <p:grpSpPr>
          <a:xfrm>
            <a:off x="7714524" y="3383567"/>
            <a:ext cx="483408" cy="483408"/>
            <a:chOff x="9552190" y="1130302"/>
            <a:chExt cx="629302" cy="629302"/>
          </a:xfrm>
        </p:grpSpPr>
        <p:sp>
          <p:nvSpPr>
            <p:cNvPr id="30" name="íşľïḍê">
              <a:extLst>
                <a:ext uri="{FF2B5EF4-FFF2-40B4-BE49-F238E27FC236}">
                  <a16:creationId xmlns:a16="http://schemas.microsoft.com/office/drawing/2014/main" id="{77D7D3A2-BB02-4E09-8162-69EA0C5AD887}"/>
                </a:ext>
              </a:extLst>
            </p:cNvPr>
            <p:cNvSpPr/>
            <p:nvPr/>
          </p:nvSpPr>
          <p:spPr>
            <a:xfrm>
              <a:off x="9552190" y="1130302"/>
              <a:ext cx="629302" cy="629302"/>
            </a:xfrm>
            <a:prstGeom prst="ellipse">
              <a:avLst/>
            </a:prstGeom>
            <a:solidFill>
              <a:schemeClr val="accent1"/>
            </a:solidFill>
            <a:ln w="12700" cap="rnd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ïṡlídê">
              <a:extLst>
                <a:ext uri="{FF2B5EF4-FFF2-40B4-BE49-F238E27FC236}">
                  <a16:creationId xmlns:a16="http://schemas.microsoft.com/office/drawing/2014/main" id="{95E3B63F-2A16-422F-B88C-39BB999F6AA3}"/>
                </a:ext>
              </a:extLst>
            </p:cNvPr>
            <p:cNvSpPr/>
            <p:nvPr/>
          </p:nvSpPr>
          <p:spPr>
            <a:xfrm>
              <a:off x="9747065" y="1283394"/>
              <a:ext cx="239550" cy="323117"/>
            </a:xfrm>
            <a:custGeom>
              <a:avLst/>
              <a:gdLst>
                <a:gd name="connsiteX0" fmla="*/ 363366 w 449447"/>
                <a:gd name="connsiteY0" fmla="*/ 179144 h 606236"/>
                <a:gd name="connsiteX1" fmla="*/ 377720 w 449447"/>
                <a:gd name="connsiteY1" fmla="*/ 197780 h 606236"/>
                <a:gd name="connsiteX2" fmla="*/ 376285 w 449447"/>
                <a:gd name="connsiteY2" fmla="*/ 202081 h 606236"/>
                <a:gd name="connsiteX3" fmla="*/ 215517 w 449447"/>
                <a:gd name="connsiteY3" fmla="*/ 424280 h 606236"/>
                <a:gd name="connsiteX4" fmla="*/ 212646 w 449447"/>
                <a:gd name="connsiteY4" fmla="*/ 427147 h 606236"/>
                <a:gd name="connsiteX5" fmla="*/ 211211 w 449447"/>
                <a:gd name="connsiteY5" fmla="*/ 427147 h 606236"/>
                <a:gd name="connsiteX6" fmla="*/ 208340 w 449447"/>
                <a:gd name="connsiteY6" fmla="*/ 425714 h 606236"/>
                <a:gd name="connsiteX7" fmla="*/ 90635 w 449447"/>
                <a:gd name="connsiteY7" fmla="*/ 306729 h 606236"/>
                <a:gd name="connsiteX8" fmla="*/ 126521 w 449447"/>
                <a:gd name="connsiteY8" fmla="*/ 276625 h 606236"/>
                <a:gd name="connsiteX9" fmla="*/ 191115 w 449447"/>
                <a:gd name="connsiteY9" fmla="*/ 326799 h 606236"/>
                <a:gd name="connsiteX10" fmla="*/ 363366 w 449447"/>
                <a:gd name="connsiteY10" fmla="*/ 179144 h 606236"/>
                <a:gd name="connsiteX11" fmla="*/ 224006 w 449447"/>
                <a:gd name="connsiteY11" fmla="*/ 65927 h 606236"/>
                <a:gd name="connsiteX12" fmla="*/ 218262 w 449447"/>
                <a:gd name="connsiteY12" fmla="*/ 70226 h 606236"/>
                <a:gd name="connsiteX13" fmla="*/ 56001 w 449447"/>
                <a:gd name="connsiteY13" fmla="*/ 123254 h 606236"/>
                <a:gd name="connsiteX14" fmla="*/ 48822 w 449447"/>
                <a:gd name="connsiteY14" fmla="*/ 130420 h 606236"/>
                <a:gd name="connsiteX15" fmla="*/ 48822 w 449447"/>
                <a:gd name="connsiteY15" fmla="*/ 365462 h 606236"/>
                <a:gd name="connsiteX16" fmla="*/ 221134 w 449447"/>
                <a:gd name="connsiteY16" fmla="*/ 538877 h 606236"/>
                <a:gd name="connsiteX17" fmla="*/ 224006 w 449447"/>
                <a:gd name="connsiteY17" fmla="*/ 540310 h 606236"/>
                <a:gd name="connsiteX18" fmla="*/ 226877 w 449447"/>
                <a:gd name="connsiteY18" fmla="*/ 538877 h 606236"/>
                <a:gd name="connsiteX19" fmla="*/ 400625 w 449447"/>
                <a:gd name="connsiteY19" fmla="*/ 365462 h 606236"/>
                <a:gd name="connsiteX20" fmla="*/ 400625 w 449447"/>
                <a:gd name="connsiteY20" fmla="*/ 130420 h 606236"/>
                <a:gd name="connsiteX21" fmla="*/ 393446 w 449447"/>
                <a:gd name="connsiteY21" fmla="*/ 123254 h 606236"/>
                <a:gd name="connsiteX22" fmla="*/ 231185 w 449447"/>
                <a:gd name="connsiteY22" fmla="*/ 70226 h 606236"/>
                <a:gd name="connsiteX23" fmla="*/ 224006 w 449447"/>
                <a:gd name="connsiteY23" fmla="*/ 65927 h 606236"/>
                <a:gd name="connsiteX24" fmla="*/ 224006 w 449447"/>
                <a:gd name="connsiteY24" fmla="*/ 0 h 606236"/>
                <a:gd name="connsiteX25" fmla="*/ 232621 w 449447"/>
                <a:gd name="connsiteY25" fmla="*/ 5733 h 606236"/>
                <a:gd name="connsiteX26" fmla="*/ 440831 w 449447"/>
                <a:gd name="connsiteY26" fmla="*/ 73093 h 606236"/>
                <a:gd name="connsiteX27" fmla="*/ 449447 w 449447"/>
                <a:gd name="connsiteY27" fmla="*/ 81692 h 606236"/>
                <a:gd name="connsiteX28" fmla="*/ 449447 w 449447"/>
                <a:gd name="connsiteY28" fmla="*/ 384093 h 606236"/>
                <a:gd name="connsiteX29" fmla="*/ 228313 w 449447"/>
                <a:gd name="connsiteY29" fmla="*/ 604803 h 606236"/>
                <a:gd name="connsiteX30" fmla="*/ 224006 w 449447"/>
                <a:gd name="connsiteY30" fmla="*/ 606236 h 606236"/>
                <a:gd name="connsiteX31" fmla="*/ 221134 w 449447"/>
                <a:gd name="connsiteY31" fmla="*/ 604803 h 606236"/>
                <a:gd name="connsiteX32" fmla="*/ 0 w 449447"/>
                <a:gd name="connsiteY32" fmla="*/ 384093 h 606236"/>
                <a:gd name="connsiteX33" fmla="*/ 0 w 449447"/>
                <a:gd name="connsiteY33" fmla="*/ 81692 h 606236"/>
                <a:gd name="connsiteX34" fmla="*/ 8616 w 449447"/>
                <a:gd name="connsiteY34" fmla="*/ 73093 h 606236"/>
                <a:gd name="connsiteX35" fmla="*/ 216826 w 449447"/>
                <a:gd name="connsiteY35" fmla="*/ 5733 h 606236"/>
                <a:gd name="connsiteX36" fmla="*/ 224006 w 449447"/>
                <a:gd name="connsiteY36" fmla="*/ 0 h 60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9447" h="606236">
                  <a:moveTo>
                    <a:pt x="363366" y="179144"/>
                  </a:moveTo>
                  <a:cubicBezTo>
                    <a:pt x="364801" y="177710"/>
                    <a:pt x="377720" y="197780"/>
                    <a:pt x="377720" y="197780"/>
                  </a:cubicBezTo>
                  <a:cubicBezTo>
                    <a:pt x="377720" y="199213"/>
                    <a:pt x="377720" y="200647"/>
                    <a:pt x="376285" y="202081"/>
                  </a:cubicBezTo>
                  <a:cubicBezTo>
                    <a:pt x="297336" y="275191"/>
                    <a:pt x="234178" y="376973"/>
                    <a:pt x="215517" y="424280"/>
                  </a:cubicBezTo>
                  <a:cubicBezTo>
                    <a:pt x="215517" y="425714"/>
                    <a:pt x="214082" y="427147"/>
                    <a:pt x="212646" y="427147"/>
                  </a:cubicBezTo>
                  <a:cubicBezTo>
                    <a:pt x="211211" y="427147"/>
                    <a:pt x="211211" y="427147"/>
                    <a:pt x="211211" y="427147"/>
                  </a:cubicBezTo>
                  <a:cubicBezTo>
                    <a:pt x="209776" y="427147"/>
                    <a:pt x="208340" y="427147"/>
                    <a:pt x="208340" y="425714"/>
                  </a:cubicBezTo>
                  <a:lnTo>
                    <a:pt x="90635" y="306729"/>
                  </a:lnTo>
                  <a:cubicBezTo>
                    <a:pt x="89200" y="306729"/>
                    <a:pt x="125086" y="275191"/>
                    <a:pt x="126521" y="276625"/>
                  </a:cubicBezTo>
                  <a:lnTo>
                    <a:pt x="191115" y="326799"/>
                  </a:lnTo>
                  <a:cubicBezTo>
                    <a:pt x="216953" y="296695"/>
                    <a:pt x="278676" y="230751"/>
                    <a:pt x="363366" y="179144"/>
                  </a:cubicBezTo>
                  <a:close/>
                  <a:moveTo>
                    <a:pt x="224006" y="65927"/>
                  </a:moveTo>
                  <a:cubicBezTo>
                    <a:pt x="221134" y="65927"/>
                    <a:pt x="219698" y="67360"/>
                    <a:pt x="218262" y="70226"/>
                  </a:cubicBezTo>
                  <a:cubicBezTo>
                    <a:pt x="218262" y="70226"/>
                    <a:pt x="193851" y="123254"/>
                    <a:pt x="56001" y="123254"/>
                  </a:cubicBezTo>
                  <a:cubicBezTo>
                    <a:pt x="51694" y="123254"/>
                    <a:pt x="48822" y="126120"/>
                    <a:pt x="48822" y="130420"/>
                  </a:cubicBezTo>
                  <a:lnTo>
                    <a:pt x="48822" y="365462"/>
                  </a:lnTo>
                  <a:cubicBezTo>
                    <a:pt x="48822" y="462918"/>
                    <a:pt x="213954" y="536010"/>
                    <a:pt x="221134" y="538877"/>
                  </a:cubicBezTo>
                  <a:cubicBezTo>
                    <a:pt x="222570" y="540310"/>
                    <a:pt x="224006" y="540310"/>
                    <a:pt x="224006" y="540310"/>
                  </a:cubicBezTo>
                  <a:cubicBezTo>
                    <a:pt x="225441" y="540310"/>
                    <a:pt x="226877" y="540310"/>
                    <a:pt x="226877" y="538877"/>
                  </a:cubicBezTo>
                  <a:cubicBezTo>
                    <a:pt x="234057" y="536010"/>
                    <a:pt x="400625" y="462918"/>
                    <a:pt x="400625" y="365462"/>
                  </a:cubicBezTo>
                  <a:lnTo>
                    <a:pt x="400625" y="130420"/>
                  </a:lnTo>
                  <a:cubicBezTo>
                    <a:pt x="400625" y="126120"/>
                    <a:pt x="397753" y="123254"/>
                    <a:pt x="393446" y="123254"/>
                  </a:cubicBezTo>
                  <a:cubicBezTo>
                    <a:pt x="254160" y="123254"/>
                    <a:pt x="231185" y="70226"/>
                    <a:pt x="231185" y="70226"/>
                  </a:cubicBezTo>
                  <a:cubicBezTo>
                    <a:pt x="229749" y="67360"/>
                    <a:pt x="226877" y="65927"/>
                    <a:pt x="224006" y="65927"/>
                  </a:cubicBezTo>
                  <a:close/>
                  <a:moveTo>
                    <a:pt x="224006" y="0"/>
                  </a:moveTo>
                  <a:cubicBezTo>
                    <a:pt x="228313" y="0"/>
                    <a:pt x="231185" y="2867"/>
                    <a:pt x="232621" y="5733"/>
                  </a:cubicBezTo>
                  <a:cubicBezTo>
                    <a:pt x="232621" y="5733"/>
                    <a:pt x="262776" y="73093"/>
                    <a:pt x="440831" y="73093"/>
                  </a:cubicBezTo>
                  <a:cubicBezTo>
                    <a:pt x="445139" y="73093"/>
                    <a:pt x="449447" y="77392"/>
                    <a:pt x="449447" y="81692"/>
                  </a:cubicBezTo>
                  <a:lnTo>
                    <a:pt x="449447" y="384093"/>
                  </a:lnTo>
                  <a:cubicBezTo>
                    <a:pt x="449447" y="507347"/>
                    <a:pt x="236929" y="600503"/>
                    <a:pt x="228313" y="604803"/>
                  </a:cubicBezTo>
                  <a:cubicBezTo>
                    <a:pt x="226877" y="604803"/>
                    <a:pt x="225441" y="606236"/>
                    <a:pt x="224006" y="606236"/>
                  </a:cubicBezTo>
                  <a:cubicBezTo>
                    <a:pt x="222570" y="606236"/>
                    <a:pt x="222570" y="604803"/>
                    <a:pt x="221134" y="604803"/>
                  </a:cubicBezTo>
                  <a:cubicBezTo>
                    <a:pt x="212518" y="600503"/>
                    <a:pt x="0" y="507347"/>
                    <a:pt x="0" y="384093"/>
                  </a:cubicBezTo>
                  <a:lnTo>
                    <a:pt x="0" y="81692"/>
                  </a:lnTo>
                  <a:cubicBezTo>
                    <a:pt x="0" y="77392"/>
                    <a:pt x="2872" y="73093"/>
                    <a:pt x="8616" y="73093"/>
                  </a:cubicBezTo>
                  <a:cubicBezTo>
                    <a:pt x="185235" y="73093"/>
                    <a:pt x="215390" y="5733"/>
                    <a:pt x="216826" y="5733"/>
                  </a:cubicBezTo>
                  <a:cubicBezTo>
                    <a:pt x="218262" y="2867"/>
                    <a:pt x="221134" y="0"/>
                    <a:pt x="224006" y="0"/>
                  </a:cubicBezTo>
                  <a:close/>
                </a:path>
              </a:pathLst>
            </a:custGeom>
            <a:solidFill>
              <a:schemeClr val="bg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2" name="íš1ïďè">
            <a:extLst>
              <a:ext uri="{FF2B5EF4-FFF2-40B4-BE49-F238E27FC236}">
                <a16:creationId xmlns:a16="http://schemas.microsoft.com/office/drawing/2014/main" id="{750DE700-5EF4-4928-90D6-CAA8C73C8D1E}"/>
              </a:ext>
            </a:extLst>
          </p:cNvPr>
          <p:cNvGrpSpPr/>
          <p:nvPr/>
        </p:nvGrpSpPr>
        <p:grpSpPr>
          <a:xfrm>
            <a:off x="8374007" y="4234386"/>
            <a:ext cx="4589358" cy="937742"/>
            <a:chOff x="8214783" y="1313453"/>
            <a:chExt cx="3304117" cy="937742"/>
          </a:xfrm>
        </p:grpSpPr>
        <p:sp>
          <p:nvSpPr>
            <p:cNvPr id="33" name="ïṩľíďè">
              <a:extLst>
                <a:ext uri="{FF2B5EF4-FFF2-40B4-BE49-F238E27FC236}">
                  <a16:creationId xmlns:a16="http://schemas.microsoft.com/office/drawing/2014/main" id="{76A6D936-F0D3-4327-AF32-C3694BB73C92}"/>
                </a:ext>
              </a:extLst>
            </p:cNvPr>
            <p:cNvSpPr/>
            <p:nvPr/>
          </p:nvSpPr>
          <p:spPr bwMode="auto">
            <a:xfrm>
              <a:off x="8214783" y="1720764"/>
              <a:ext cx="2265315" cy="53043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lnSpc>
                  <a:spcPct val="120000"/>
                </a:lnSpc>
                <a:spcBef>
                  <a:spcPct val="0"/>
                </a:spcBef>
              </a:pPr>
              <a:r>
                <a:rPr lang="zh-CN" altLang="en-US" sz="1100" dirty="0">
                  <a:solidFill>
                    <a:schemeClr val="bg1"/>
                  </a:solidFill>
                  <a:cs typeface="+mn-ea"/>
                  <a:sym typeface="+mn-lt"/>
                </a:rPr>
                <a:t>Enter your text message here, be concise, and be careful to check for spelling errors</a:t>
              </a:r>
              <a:endParaRPr lang="en-US" altLang="zh-CN" sz="1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4" name="î$1iḋé">
              <a:extLst>
                <a:ext uri="{FF2B5EF4-FFF2-40B4-BE49-F238E27FC236}">
                  <a16:creationId xmlns:a16="http://schemas.microsoft.com/office/drawing/2014/main" id="{E5FC8C2C-2D9F-4A3A-8726-AD9EABEFF9A2}"/>
                </a:ext>
              </a:extLst>
            </p:cNvPr>
            <p:cNvSpPr txBox="1"/>
            <p:nvPr/>
          </p:nvSpPr>
          <p:spPr bwMode="auto">
            <a:xfrm>
              <a:off x="8214784" y="1313453"/>
              <a:ext cx="3304116" cy="40730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>
                <a:spcBef>
                  <a:spcPct val="0"/>
                </a:spcBef>
              </a:pPr>
              <a:r>
                <a:rPr lang="zh-CN" altLang="en-US" sz="1400" b="1" dirty="0">
                  <a:solidFill>
                    <a:schemeClr val="bg1"/>
                  </a:solidFill>
                  <a:cs typeface="+mn-ea"/>
                  <a:sym typeface="+mn-lt"/>
                </a:rPr>
                <a:t>Enter the title</a:t>
              </a:r>
              <a:endParaRPr lang="en-US" altLang="zh-CN" sz="14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5" name="îṡḻíḋè">
            <a:extLst>
              <a:ext uri="{FF2B5EF4-FFF2-40B4-BE49-F238E27FC236}">
                <a16:creationId xmlns:a16="http://schemas.microsoft.com/office/drawing/2014/main" id="{C7D98655-BF10-4140-8AE7-AB00A9B6FDBF}"/>
              </a:ext>
            </a:extLst>
          </p:cNvPr>
          <p:cNvGrpSpPr/>
          <p:nvPr/>
        </p:nvGrpSpPr>
        <p:grpSpPr>
          <a:xfrm>
            <a:off x="7714524" y="4461553"/>
            <a:ext cx="483408" cy="483408"/>
            <a:chOff x="9552190" y="1130302"/>
            <a:chExt cx="629302" cy="629302"/>
          </a:xfrm>
        </p:grpSpPr>
        <p:sp>
          <p:nvSpPr>
            <p:cNvPr id="36" name="îśḻíḍé">
              <a:extLst>
                <a:ext uri="{FF2B5EF4-FFF2-40B4-BE49-F238E27FC236}">
                  <a16:creationId xmlns:a16="http://schemas.microsoft.com/office/drawing/2014/main" id="{B3936D1A-C1C0-4AC7-A9E5-28616A670689}"/>
                </a:ext>
              </a:extLst>
            </p:cNvPr>
            <p:cNvSpPr/>
            <p:nvPr/>
          </p:nvSpPr>
          <p:spPr>
            <a:xfrm>
              <a:off x="9552190" y="1130302"/>
              <a:ext cx="629302" cy="629302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2700" cap="rnd">
              <a:solidFill>
                <a:schemeClr val="accent1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7" name="ïṥľiḑê">
              <a:extLst>
                <a:ext uri="{FF2B5EF4-FFF2-40B4-BE49-F238E27FC236}">
                  <a16:creationId xmlns:a16="http://schemas.microsoft.com/office/drawing/2014/main" id="{EDD1B712-2D4B-4E20-B981-2D01D0861DD7}"/>
                </a:ext>
              </a:extLst>
            </p:cNvPr>
            <p:cNvSpPr/>
            <p:nvPr/>
          </p:nvSpPr>
          <p:spPr>
            <a:xfrm>
              <a:off x="9747065" y="1283394"/>
              <a:ext cx="239550" cy="323117"/>
            </a:xfrm>
            <a:custGeom>
              <a:avLst/>
              <a:gdLst>
                <a:gd name="connsiteX0" fmla="*/ 363366 w 449447"/>
                <a:gd name="connsiteY0" fmla="*/ 179144 h 606236"/>
                <a:gd name="connsiteX1" fmla="*/ 377720 w 449447"/>
                <a:gd name="connsiteY1" fmla="*/ 197780 h 606236"/>
                <a:gd name="connsiteX2" fmla="*/ 376285 w 449447"/>
                <a:gd name="connsiteY2" fmla="*/ 202081 h 606236"/>
                <a:gd name="connsiteX3" fmla="*/ 215517 w 449447"/>
                <a:gd name="connsiteY3" fmla="*/ 424280 h 606236"/>
                <a:gd name="connsiteX4" fmla="*/ 212646 w 449447"/>
                <a:gd name="connsiteY4" fmla="*/ 427147 h 606236"/>
                <a:gd name="connsiteX5" fmla="*/ 211211 w 449447"/>
                <a:gd name="connsiteY5" fmla="*/ 427147 h 606236"/>
                <a:gd name="connsiteX6" fmla="*/ 208340 w 449447"/>
                <a:gd name="connsiteY6" fmla="*/ 425714 h 606236"/>
                <a:gd name="connsiteX7" fmla="*/ 90635 w 449447"/>
                <a:gd name="connsiteY7" fmla="*/ 306729 h 606236"/>
                <a:gd name="connsiteX8" fmla="*/ 126521 w 449447"/>
                <a:gd name="connsiteY8" fmla="*/ 276625 h 606236"/>
                <a:gd name="connsiteX9" fmla="*/ 191115 w 449447"/>
                <a:gd name="connsiteY9" fmla="*/ 326799 h 606236"/>
                <a:gd name="connsiteX10" fmla="*/ 363366 w 449447"/>
                <a:gd name="connsiteY10" fmla="*/ 179144 h 606236"/>
                <a:gd name="connsiteX11" fmla="*/ 224006 w 449447"/>
                <a:gd name="connsiteY11" fmla="*/ 65927 h 606236"/>
                <a:gd name="connsiteX12" fmla="*/ 218262 w 449447"/>
                <a:gd name="connsiteY12" fmla="*/ 70226 h 606236"/>
                <a:gd name="connsiteX13" fmla="*/ 56001 w 449447"/>
                <a:gd name="connsiteY13" fmla="*/ 123254 h 606236"/>
                <a:gd name="connsiteX14" fmla="*/ 48822 w 449447"/>
                <a:gd name="connsiteY14" fmla="*/ 130420 h 606236"/>
                <a:gd name="connsiteX15" fmla="*/ 48822 w 449447"/>
                <a:gd name="connsiteY15" fmla="*/ 365462 h 606236"/>
                <a:gd name="connsiteX16" fmla="*/ 221134 w 449447"/>
                <a:gd name="connsiteY16" fmla="*/ 538877 h 606236"/>
                <a:gd name="connsiteX17" fmla="*/ 224006 w 449447"/>
                <a:gd name="connsiteY17" fmla="*/ 540310 h 606236"/>
                <a:gd name="connsiteX18" fmla="*/ 226877 w 449447"/>
                <a:gd name="connsiteY18" fmla="*/ 538877 h 606236"/>
                <a:gd name="connsiteX19" fmla="*/ 400625 w 449447"/>
                <a:gd name="connsiteY19" fmla="*/ 365462 h 606236"/>
                <a:gd name="connsiteX20" fmla="*/ 400625 w 449447"/>
                <a:gd name="connsiteY20" fmla="*/ 130420 h 606236"/>
                <a:gd name="connsiteX21" fmla="*/ 393446 w 449447"/>
                <a:gd name="connsiteY21" fmla="*/ 123254 h 606236"/>
                <a:gd name="connsiteX22" fmla="*/ 231185 w 449447"/>
                <a:gd name="connsiteY22" fmla="*/ 70226 h 606236"/>
                <a:gd name="connsiteX23" fmla="*/ 224006 w 449447"/>
                <a:gd name="connsiteY23" fmla="*/ 65927 h 606236"/>
                <a:gd name="connsiteX24" fmla="*/ 224006 w 449447"/>
                <a:gd name="connsiteY24" fmla="*/ 0 h 606236"/>
                <a:gd name="connsiteX25" fmla="*/ 232621 w 449447"/>
                <a:gd name="connsiteY25" fmla="*/ 5733 h 606236"/>
                <a:gd name="connsiteX26" fmla="*/ 440831 w 449447"/>
                <a:gd name="connsiteY26" fmla="*/ 73093 h 606236"/>
                <a:gd name="connsiteX27" fmla="*/ 449447 w 449447"/>
                <a:gd name="connsiteY27" fmla="*/ 81692 h 606236"/>
                <a:gd name="connsiteX28" fmla="*/ 449447 w 449447"/>
                <a:gd name="connsiteY28" fmla="*/ 384093 h 606236"/>
                <a:gd name="connsiteX29" fmla="*/ 228313 w 449447"/>
                <a:gd name="connsiteY29" fmla="*/ 604803 h 606236"/>
                <a:gd name="connsiteX30" fmla="*/ 224006 w 449447"/>
                <a:gd name="connsiteY30" fmla="*/ 606236 h 606236"/>
                <a:gd name="connsiteX31" fmla="*/ 221134 w 449447"/>
                <a:gd name="connsiteY31" fmla="*/ 604803 h 606236"/>
                <a:gd name="connsiteX32" fmla="*/ 0 w 449447"/>
                <a:gd name="connsiteY32" fmla="*/ 384093 h 606236"/>
                <a:gd name="connsiteX33" fmla="*/ 0 w 449447"/>
                <a:gd name="connsiteY33" fmla="*/ 81692 h 606236"/>
                <a:gd name="connsiteX34" fmla="*/ 8616 w 449447"/>
                <a:gd name="connsiteY34" fmla="*/ 73093 h 606236"/>
                <a:gd name="connsiteX35" fmla="*/ 216826 w 449447"/>
                <a:gd name="connsiteY35" fmla="*/ 5733 h 606236"/>
                <a:gd name="connsiteX36" fmla="*/ 224006 w 449447"/>
                <a:gd name="connsiteY36" fmla="*/ 0 h 606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49447" h="606236">
                  <a:moveTo>
                    <a:pt x="363366" y="179144"/>
                  </a:moveTo>
                  <a:cubicBezTo>
                    <a:pt x="364801" y="177710"/>
                    <a:pt x="377720" y="197780"/>
                    <a:pt x="377720" y="197780"/>
                  </a:cubicBezTo>
                  <a:cubicBezTo>
                    <a:pt x="377720" y="199213"/>
                    <a:pt x="377720" y="200647"/>
                    <a:pt x="376285" y="202081"/>
                  </a:cubicBezTo>
                  <a:cubicBezTo>
                    <a:pt x="297336" y="275191"/>
                    <a:pt x="234178" y="376973"/>
                    <a:pt x="215517" y="424280"/>
                  </a:cubicBezTo>
                  <a:cubicBezTo>
                    <a:pt x="215517" y="425714"/>
                    <a:pt x="214082" y="427147"/>
                    <a:pt x="212646" y="427147"/>
                  </a:cubicBezTo>
                  <a:cubicBezTo>
                    <a:pt x="211211" y="427147"/>
                    <a:pt x="211211" y="427147"/>
                    <a:pt x="211211" y="427147"/>
                  </a:cubicBezTo>
                  <a:cubicBezTo>
                    <a:pt x="209776" y="427147"/>
                    <a:pt x="208340" y="427147"/>
                    <a:pt x="208340" y="425714"/>
                  </a:cubicBezTo>
                  <a:lnTo>
                    <a:pt x="90635" y="306729"/>
                  </a:lnTo>
                  <a:cubicBezTo>
                    <a:pt x="89200" y="306729"/>
                    <a:pt x="125086" y="275191"/>
                    <a:pt x="126521" y="276625"/>
                  </a:cubicBezTo>
                  <a:lnTo>
                    <a:pt x="191115" y="326799"/>
                  </a:lnTo>
                  <a:cubicBezTo>
                    <a:pt x="216953" y="296695"/>
                    <a:pt x="278676" y="230751"/>
                    <a:pt x="363366" y="179144"/>
                  </a:cubicBezTo>
                  <a:close/>
                  <a:moveTo>
                    <a:pt x="224006" y="65927"/>
                  </a:moveTo>
                  <a:cubicBezTo>
                    <a:pt x="221134" y="65927"/>
                    <a:pt x="219698" y="67360"/>
                    <a:pt x="218262" y="70226"/>
                  </a:cubicBezTo>
                  <a:cubicBezTo>
                    <a:pt x="218262" y="70226"/>
                    <a:pt x="193851" y="123254"/>
                    <a:pt x="56001" y="123254"/>
                  </a:cubicBezTo>
                  <a:cubicBezTo>
                    <a:pt x="51694" y="123254"/>
                    <a:pt x="48822" y="126120"/>
                    <a:pt x="48822" y="130420"/>
                  </a:cubicBezTo>
                  <a:lnTo>
                    <a:pt x="48822" y="365462"/>
                  </a:lnTo>
                  <a:cubicBezTo>
                    <a:pt x="48822" y="462918"/>
                    <a:pt x="213954" y="536010"/>
                    <a:pt x="221134" y="538877"/>
                  </a:cubicBezTo>
                  <a:cubicBezTo>
                    <a:pt x="222570" y="540310"/>
                    <a:pt x="224006" y="540310"/>
                    <a:pt x="224006" y="540310"/>
                  </a:cubicBezTo>
                  <a:cubicBezTo>
                    <a:pt x="225441" y="540310"/>
                    <a:pt x="226877" y="540310"/>
                    <a:pt x="226877" y="538877"/>
                  </a:cubicBezTo>
                  <a:cubicBezTo>
                    <a:pt x="234057" y="536010"/>
                    <a:pt x="400625" y="462918"/>
                    <a:pt x="400625" y="365462"/>
                  </a:cubicBezTo>
                  <a:lnTo>
                    <a:pt x="400625" y="130420"/>
                  </a:lnTo>
                  <a:cubicBezTo>
                    <a:pt x="400625" y="126120"/>
                    <a:pt x="397753" y="123254"/>
                    <a:pt x="393446" y="123254"/>
                  </a:cubicBezTo>
                  <a:cubicBezTo>
                    <a:pt x="254160" y="123254"/>
                    <a:pt x="231185" y="70226"/>
                    <a:pt x="231185" y="70226"/>
                  </a:cubicBezTo>
                  <a:cubicBezTo>
                    <a:pt x="229749" y="67360"/>
                    <a:pt x="226877" y="65927"/>
                    <a:pt x="224006" y="65927"/>
                  </a:cubicBezTo>
                  <a:close/>
                  <a:moveTo>
                    <a:pt x="224006" y="0"/>
                  </a:moveTo>
                  <a:cubicBezTo>
                    <a:pt x="228313" y="0"/>
                    <a:pt x="231185" y="2867"/>
                    <a:pt x="232621" y="5733"/>
                  </a:cubicBezTo>
                  <a:cubicBezTo>
                    <a:pt x="232621" y="5733"/>
                    <a:pt x="262776" y="73093"/>
                    <a:pt x="440831" y="73093"/>
                  </a:cubicBezTo>
                  <a:cubicBezTo>
                    <a:pt x="445139" y="73093"/>
                    <a:pt x="449447" y="77392"/>
                    <a:pt x="449447" y="81692"/>
                  </a:cubicBezTo>
                  <a:lnTo>
                    <a:pt x="449447" y="384093"/>
                  </a:lnTo>
                  <a:cubicBezTo>
                    <a:pt x="449447" y="507347"/>
                    <a:pt x="236929" y="600503"/>
                    <a:pt x="228313" y="604803"/>
                  </a:cubicBezTo>
                  <a:cubicBezTo>
                    <a:pt x="226877" y="604803"/>
                    <a:pt x="225441" y="606236"/>
                    <a:pt x="224006" y="606236"/>
                  </a:cubicBezTo>
                  <a:cubicBezTo>
                    <a:pt x="222570" y="606236"/>
                    <a:pt x="222570" y="604803"/>
                    <a:pt x="221134" y="604803"/>
                  </a:cubicBezTo>
                  <a:cubicBezTo>
                    <a:pt x="212518" y="600503"/>
                    <a:pt x="0" y="507347"/>
                    <a:pt x="0" y="384093"/>
                  </a:cubicBezTo>
                  <a:lnTo>
                    <a:pt x="0" y="81692"/>
                  </a:lnTo>
                  <a:cubicBezTo>
                    <a:pt x="0" y="77392"/>
                    <a:pt x="2872" y="73093"/>
                    <a:pt x="8616" y="73093"/>
                  </a:cubicBezTo>
                  <a:cubicBezTo>
                    <a:pt x="185235" y="73093"/>
                    <a:pt x="215390" y="5733"/>
                    <a:pt x="216826" y="5733"/>
                  </a:cubicBezTo>
                  <a:cubicBezTo>
                    <a:pt x="218262" y="2867"/>
                    <a:pt x="221134" y="0"/>
                    <a:pt x="224006" y="0"/>
                  </a:cubicBezTo>
                  <a:close/>
                </a:path>
              </a:pathLst>
            </a:custGeom>
            <a:solidFill>
              <a:schemeClr val="accent1"/>
            </a:solidFill>
            <a:ln w="12700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5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914354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5854CC33-4CD3-467E-9D97-A8AB3942431F}"/>
              </a:ext>
            </a:extLst>
          </p:cNvPr>
          <p:cNvCxnSpPr>
            <a:cxnSpLocks/>
          </p:cNvCxnSpPr>
          <p:nvPr/>
        </p:nvCxnSpPr>
        <p:spPr>
          <a:xfrm>
            <a:off x="8469519" y="4164264"/>
            <a:ext cx="305096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07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 advTm="0">
        <p14:flip dir="r"/>
      </p:transition>
    </mc:Choice>
    <mc:Fallback xmlns:a14="http://schemas.microsoft.com/office/drawing/2010/main" xmlns:a16="http://schemas.microsoft.com/office/drawing/2014/main" xmlns=""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50"/>
                            </p:stCondLst>
                            <p:childTnLst>
                              <p:par>
                                <p:cTn id="19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25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4500"/>
                            </p:stCondLst>
                            <p:childTnLst>
                              <p:par>
                                <p:cTn id="34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250"/>
                            </p:stCondLst>
                            <p:childTnLst>
                              <p:par>
                                <p:cTn id="38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0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6000"/>
                            </p:stCondLst>
                            <p:childTnLst>
                              <p:par>
                                <p:cTn id="4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6750"/>
                            </p:stCondLst>
                            <p:childTnLst>
                              <p:par>
                                <p:cTn id="46" presetID="16" presetClass="entr" presetSubtype="4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8" dur="7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75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20" grpId="0"/>
      <p:bldP spid="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THINKCELLUNDODONOTDELETE" val="0"/>
  <p:tag name="ISLIDE.THEME" val="89fb2ad7-883b-4aec-8960-997d5cbe8a3e"/>
  <p:tag name="ISLIDE.GUIDESSETTING" val="{&quot;Id&quot;:null,&quot;Name&quot;:&quot;正常&quot;,&quot;HeaderHeight&quot;:15.0,&quot;FooterHeight&quot;:9.0,&quot;SideMargin&quot;:5.5,&quot;TopMargin&quot;:0.0,&quot;BottomMargin&quot;:0.0,&quot;IntervalMargin&quot;:1.5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15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www.jpppt.com">
  <a:themeElements>
    <a:clrScheme name="中国电科蓝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A2161"/>
      </a:accent1>
      <a:accent2>
        <a:srgbClr val="3771B2"/>
      </a:accent2>
      <a:accent3>
        <a:srgbClr val="101849"/>
      </a:accent3>
      <a:accent4>
        <a:srgbClr val="32457B"/>
      </a:accent4>
      <a:accent5>
        <a:srgbClr val="2F2D60"/>
      </a:accent5>
      <a:accent6>
        <a:srgbClr val="768394"/>
      </a:accent6>
      <a:hlink>
        <a:srgbClr val="4276AA"/>
      </a:hlink>
      <a:folHlink>
        <a:srgbClr val="BFBFBF"/>
      </a:folHlink>
    </a:clrScheme>
    <a:fontScheme name="txajcobo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www.freeppt7.com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A2161"/>
    </a:accent1>
    <a:accent2>
      <a:srgbClr val="3771B2"/>
    </a:accent2>
    <a:accent3>
      <a:srgbClr val="101849"/>
    </a:accent3>
    <a:accent4>
      <a:srgbClr val="32457B"/>
    </a:accent4>
    <a:accent5>
      <a:srgbClr val="2F2D6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A2161"/>
    </a:accent1>
    <a:accent2>
      <a:srgbClr val="3771B2"/>
    </a:accent2>
    <a:accent3>
      <a:srgbClr val="101849"/>
    </a:accent3>
    <a:accent4>
      <a:srgbClr val="32457B"/>
    </a:accent4>
    <a:accent5>
      <a:srgbClr val="2F2D6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中国电科蓝">
    <a:dk1>
      <a:srgbClr val="000000"/>
    </a:dk1>
    <a:lt1>
      <a:srgbClr val="FFFFFF"/>
    </a:lt1>
    <a:dk2>
      <a:srgbClr val="768394"/>
    </a:dk2>
    <a:lt2>
      <a:srgbClr val="F0F0F0"/>
    </a:lt2>
    <a:accent1>
      <a:srgbClr val="0A2161"/>
    </a:accent1>
    <a:accent2>
      <a:srgbClr val="3771B2"/>
    </a:accent2>
    <a:accent3>
      <a:srgbClr val="101849"/>
    </a:accent3>
    <a:accent4>
      <a:srgbClr val="32457B"/>
    </a:accent4>
    <a:accent5>
      <a:srgbClr val="2F2D60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A2161"/>
    </a:accent1>
    <a:accent2>
      <a:srgbClr val="3771B2"/>
    </a:accent2>
    <a:accent3>
      <a:srgbClr val="101849"/>
    </a:accent3>
    <a:accent4>
      <a:srgbClr val="32457B"/>
    </a:accent4>
    <a:accent5>
      <a:srgbClr val="2F2D60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82</TotalTime>
  <Words>1540</Words>
  <Application>Microsoft Office PowerPoint</Application>
  <PresentationFormat>宽屏</PresentationFormat>
  <Paragraphs>249</Paragraphs>
  <Slides>25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32" baseType="lpstr">
      <vt:lpstr>等线</vt:lpstr>
      <vt:lpstr>微软雅黑</vt:lpstr>
      <vt:lpstr>Arial</vt:lpstr>
      <vt:lpstr>Calibri</vt:lpstr>
      <vt:lpstr>www.jpppt.com</vt:lpstr>
      <vt:lpstr>www.freeppt7.com</vt:lpstr>
      <vt:lpstr>think-cell Slide</vt:lpstr>
      <vt:lpstr>Fine PPT Templates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www.jpppt.com</Manager>
  <Company>www.jpppt.com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s</dc:title>
  <dc:creator>www.jpppt.com</dc:creator>
  <cp:keywords>www.freeppt7.com</cp:keywords>
  <dc:description>www.jpppt.com</dc:description>
  <cp:lastModifiedBy>之灵</cp:lastModifiedBy>
  <cp:revision>58</cp:revision>
  <cp:lastPrinted>2019-12-02T16:00:00Z</cp:lastPrinted>
  <dcterms:created xsi:type="dcterms:W3CDTF">2019-12-02T16:00:00Z</dcterms:created>
  <dcterms:modified xsi:type="dcterms:W3CDTF">2021-08-18T14:35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